
<file path=[Content_Types].xml><?xml version="1.0" encoding="utf-8"?>
<Types xmlns="http://schemas.openxmlformats.org/package/2006/content-types">
  <Default Extension="emf" ContentType="image/x-emf"/>
  <Default Extension="jpeg" ContentType="image/jpeg"/>
  <Default Extension="jpg" ContentType="image/jpeg"/>
  <Default Extension="m4a" ContentType="audio/mp4"/>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1"/>
  </p:sldMasterIdLst>
  <p:notesMasterIdLst>
    <p:notesMasterId r:id="rId22"/>
  </p:notesMasterIdLst>
  <p:handoutMasterIdLst>
    <p:handoutMasterId r:id="rId23"/>
  </p:handoutMasterIdLst>
  <p:sldIdLst>
    <p:sldId id="1231" r:id="rId2"/>
    <p:sldId id="1217" r:id="rId3"/>
    <p:sldId id="1201" r:id="rId4"/>
    <p:sldId id="1134" r:id="rId5"/>
    <p:sldId id="1141" r:id="rId6"/>
    <p:sldId id="1192" r:id="rId7"/>
    <p:sldId id="1216" r:id="rId8"/>
    <p:sldId id="1223" r:id="rId9"/>
    <p:sldId id="1205" r:id="rId10"/>
    <p:sldId id="1228" r:id="rId11"/>
    <p:sldId id="1229" r:id="rId12"/>
    <p:sldId id="1230" r:id="rId13"/>
    <p:sldId id="1209" r:id="rId14"/>
    <p:sldId id="1226" r:id="rId15"/>
    <p:sldId id="1222" r:id="rId16"/>
    <p:sldId id="1225" r:id="rId17"/>
    <p:sldId id="1188" r:id="rId18"/>
    <p:sldId id="1219" r:id="rId19"/>
    <p:sldId id="1227" r:id="rId20"/>
    <p:sldId id="1082" r:id="rId21"/>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Lato Light" panose="020F0502020204030203" pitchFamily="34" charset="0"/>
        <a:ea typeface="+mn-ea"/>
        <a:cs typeface="+mn-cs"/>
      </a:defRPr>
    </a:lvl1pPr>
    <a:lvl2pPr marL="457200" algn="l" rtl="0" eaLnBrk="0" fontAlgn="base" hangingPunct="0">
      <a:spcBef>
        <a:spcPct val="0"/>
      </a:spcBef>
      <a:spcAft>
        <a:spcPct val="0"/>
      </a:spcAft>
      <a:defRPr kern="1200">
        <a:solidFill>
          <a:schemeClr val="tx1"/>
        </a:solidFill>
        <a:latin typeface="Lato Light" panose="020F0502020204030203" pitchFamily="34" charset="0"/>
        <a:ea typeface="+mn-ea"/>
        <a:cs typeface="+mn-cs"/>
      </a:defRPr>
    </a:lvl2pPr>
    <a:lvl3pPr marL="914400" algn="l" rtl="0" eaLnBrk="0" fontAlgn="base" hangingPunct="0">
      <a:spcBef>
        <a:spcPct val="0"/>
      </a:spcBef>
      <a:spcAft>
        <a:spcPct val="0"/>
      </a:spcAft>
      <a:defRPr kern="1200">
        <a:solidFill>
          <a:schemeClr val="tx1"/>
        </a:solidFill>
        <a:latin typeface="Lato Light" panose="020F0502020204030203" pitchFamily="34" charset="0"/>
        <a:ea typeface="+mn-ea"/>
        <a:cs typeface="+mn-cs"/>
      </a:defRPr>
    </a:lvl3pPr>
    <a:lvl4pPr marL="1371600" algn="l" rtl="0" eaLnBrk="0" fontAlgn="base" hangingPunct="0">
      <a:spcBef>
        <a:spcPct val="0"/>
      </a:spcBef>
      <a:spcAft>
        <a:spcPct val="0"/>
      </a:spcAft>
      <a:defRPr kern="1200">
        <a:solidFill>
          <a:schemeClr val="tx1"/>
        </a:solidFill>
        <a:latin typeface="Lato Light" panose="020F0502020204030203" pitchFamily="34" charset="0"/>
        <a:ea typeface="+mn-ea"/>
        <a:cs typeface="+mn-cs"/>
      </a:defRPr>
    </a:lvl4pPr>
    <a:lvl5pPr marL="1828800" algn="l" rtl="0" eaLnBrk="0" fontAlgn="base" hangingPunct="0">
      <a:spcBef>
        <a:spcPct val="0"/>
      </a:spcBef>
      <a:spcAft>
        <a:spcPct val="0"/>
      </a:spcAft>
      <a:defRPr kern="1200">
        <a:solidFill>
          <a:schemeClr val="tx1"/>
        </a:solidFill>
        <a:latin typeface="Lato Light" panose="020F0502020204030203" pitchFamily="34" charset="0"/>
        <a:ea typeface="+mn-ea"/>
        <a:cs typeface="+mn-cs"/>
      </a:defRPr>
    </a:lvl5pPr>
    <a:lvl6pPr marL="2286000" algn="l" defTabSz="914400" rtl="0" eaLnBrk="1" latinLnBrk="0" hangingPunct="1">
      <a:defRPr kern="1200">
        <a:solidFill>
          <a:schemeClr val="tx1"/>
        </a:solidFill>
        <a:latin typeface="Lato Light" panose="020F0502020204030203" pitchFamily="34" charset="0"/>
        <a:ea typeface="+mn-ea"/>
        <a:cs typeface="+mn-cs"/>
      </a:defRPr>
    </a:lvl6pPr>
    <a:lvl7pPr marL="2743200" algn="l" defTabSz="914400" rtl="0" eaLnBrk="1" latinLnBrk="0" hangingPunct="1">
      <a:defRPr kern="1200">
        <a:solidFill>
          <a:schemeClr val="tx1"/>
        </a:solidFill>
        <a:latin typeface="Lato Light" panose="020F0502020204030203" pitchFamily="34" charset="0"/>
        <a:ea typeface="+mn-ea"/>
        <a:cs typeface="+mn-cs"/>
      </a:defRPr>
    </a:lvl7pPr>
    <a:lvl8pPr marL="3200400" algn="l" defTabSz="914400" rtl="0" eaLnBrk="1" latinLnBrk="0" hangingPunct="1">
      <a:defRPr kern="1200">
        <a:solidFill>
          <a:schemeClr val="tx1"/>
        </a:solidFill>
        <a:latin typeface="Lato Light" panose="020F0502020204030203" pitchFamily="34" charset="0"/>
        <a:ea typeface="+mn-ea"/>
        <a:cs typeface="+mn-cs"/>
      </a:defRPr>
    </a:lvl8pPr>
    <a:lvl9pPr marL="3657600" algn="l" defTabSz="914400" rtl="0" eaLnBrk="1" latinLnBrk="0" hangingPunct="1">
      <a:defRPr kern="1200">
        <a:solidFill>
          <a:schemeClr val="tx1"/>
        </a:solidFill>
        <a:latin typeface="Lato Light" panose="020F0502020204030203" pitchFamily="34" charset="0"/>
        <a:ea typeface="+mn-ea"/>
        <a:cs typeface="+mn-cs"/>
      </a:defRPr>
    </a:lvl9pPr>
  </p:defaultTextStyle>
  <p:extLst>
    <p:ext uri="{521415D9-36F7-43E2-AB2F-B90AF26B5E84}">
      <p14:sectionLst xmlns:p14="http://schemas.microsoft.com/office/powerpoint/2010/main">
        <p14:section name="Varsayılan Bölüm" id="{28E80A1F-A10C-4966-AF2E-80E96551A682}">
          <p14:sldIdLst>
            <p14:sldId id="1231"/>
            <p14:sldId id="1217"/>
            <p14:sldId id="1201"/>
            <p14:sldId id="1134"/>
            <p14:sldId id="1141"/>
            <p14:sldId id="1192"/>
            <p14:sldId id="1216"/>
            <p14:sldId id="1223"/>
            <p14:sldId id="1205"/>
            <p14:sldId id="1228"/>
            <p14:sldId id="1229"/>
            <p14:sldId id="1230"/>
            <p14:sldId id="1209"/>
            <p14:sldId id="1226"/>
            <p14:sldId id="1222"/>
            <p14:sldId id="1225"/>
            <p14:sldId id="1188"/>
            <p14:sldId id="1219"/>
            <p14:sldId id="1227"/>
            <p14:sldId id="1082"/>
          </p14:sldIdLst>
        </p14:section>
      </p14:sectionLst>
    </p:ext>
    <p:ext uri="{EFAFB233-063F-42B5-8137-9DF3F51BA10A}">
      <p15:sldGuideLst xmlns:p15="http://schemas.microsoft.com/office/powerpoint/2012/main">
        <p15:guide id="1" orient="horz" pos="2136">
          <p15:clr>
            <a:srgbClr val="A4A3A4"/>
          </p15:clr>
        </p15:guide>
        <p15:guide id="2" pos="3840">
          <p15:clr>
            <a:srgbClr val="A4A3A4"/>
          </p15:clr>
        </p15:guide>
        <p15:guide id="3" pos="7224">
          <p15:clr>
            <a:srgbClr val="A4A3A4"/>
          </p15:clr>
        </p15:guide>
        <p15:guide id="4" pos="504">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edat Sıtkı" initial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EAED"/>
    <a:srgbClr val="C3E2D0"/>
    <a:srgbClr val="D1D3D5"/>
    <a:srgbClr val="FFFFFF"/>
    <a:srgbClr val="FFBC8F"/>
    <a:srgbClr val="2580B7"/>
    <a:srgbClr val="36538B"/>
    <a:srgbClr val="EAE0C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Orta Stil 2 - Vurgu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Orta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Orta Stil 2 - Vurgu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Orta Stil 2 - Vurgu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D7AC3CCA-C797-4891-BE02-D94E43425B78}" styleName="Orta Stil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6" d="100"/>
          <a:sy n="96" d="100"/>
        </p:scale>
        <p:origin x="72" y="96"/>
      </p:cViewPr>
      <p:guideLst>
        <p:guide orient="horz" pos="2136"/>
        <p:guide pos="3840"/>
        <p:guide pos="7224"/>
        <p:guide pos="504"/>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16007CC-4754-ED7E-E717-86B3C9C326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D79BADCE-166F-330B-2EDD-7DBD9A6D55A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mn-lt"/>
              </a:defRPr>
            </a:lvl1pPr>
          </a:lstStyle>
          <a:p>
            <a:pPr>
              <a:defRPr/>
            </a:pPr>
            <a:fld id="{C8FD9C50-5A5A-4D58-B738-83E9FC2AF818}" type="datetimeFigureOut">
              <a:rPr lang="en-US"/>
              <a:pPr>
                <a:defRPr/>
              </a:pPr>
              <a:t>10/23/2025</a:t>
            </a:fld>
            <a:endParaRPr lang="en-US"/>
          </a:p>
        </p:txBody>
      </p:sp>
      <p:sp>
        <p:nvSpPr>
          <p:cNvPr id="4" name="Footer Placeholder 3">
            <a:extLst>
              <a:ext uri="{FF2B5EF4-FFF2-40B4-BE49-F238E27FC236}">
                <a16:creationId xmlns:a16="http://schemas.microsoft.com/office/drawing/2014/main" id="{5D2805A4-074E-0D0E-9A56-85AF8DFD5A3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5" name="Slide Number Placeholder 4">
            <a:extLst>
              <a:ext uri="{FF2B5EF4-FFF2-40B4-BE49-F238E27FC236}">
                <a16:creationId xmlns:a16="http://schemas.microsoft.com/office/drawing/2014/main" id="{BB611B7C-FA97-DDE2-5B6F-A47594D6C788}"/>
              </a:ext>
            </a:extLst>
          </p:cNvPr>
          <p:cNvSpPr>
            <a:spLocks noGrp="1"/>
          </p:cNvSpPr>
          <p:nvPr>
            <p:ph type="sldNum" sz="quarter" idx="3"/>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anose="020F0502020204030204" pitchFamily="34" charset="0"/>
              </a:defRPr>
            </a:lvl1pPr>
          </a:lstStyle>
          <a:p>
            <a:pPr>
              <a:defRPr/>
            </a:pPr>
            <a:fld id="{BCD1BF9D-E9AC-4F99-9F98-209CCD83D768}" type="slidenum">
              <a:rPr lang="en-US" altLang="tr-TR"/>
              <a:pPr>
                <a:defRPr/>
              </a:pPr>
              <a:t>‹#›</a:t>
            </a:fld>
            <a:endParaRPr lang="en-US" altLang="tr-T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DBF52ED-9AD7-FE0E-7BA8-A8AC47E3B4E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1A6290CD-05F6-B292-F886-17F4EE4C74F8}"/>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mn-lt"/>
              </a:defRPr>
            </a:lvl1pPr>
          </a:lstStyle>
          <a:p>
            <a:pPr>
              <a:defRPr/>
            </a:pPr>
            <a:fld id="{5097F5B8-2B57-401C-945A-75BC6AC3E39D}" type="datetimeFigureOut">
              <a:rPr lang="en-US"/>
              <a:pPr>
                <a:defRPr/>
              </a:pPr>
              <a:t>10/22/2025</a:t>
            </a:fld>
            <a:endParaRPr lang="en-US"/>
          </a:p>
        </p:txBody>
      </p:sp>
      <p:sp>
        <p:nvSpPr>
          <p:cNvPr id="4" name="Slide Image Placeholder 3">
            <a:extLst>
              <a:ext uri="{FF2B5EF4-FFF2-40B4-BE49-F238E27FC236}">
                <a16:creationId xmlns:a16="http://schemas.microsoft.com/office/drawing/2014/main" id="{8E24E8D3-4B10-37B2-BC96-1D98488976E9}"/>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18F29EBA-DFEF-638A-CF0B-7DADD23BCFB6}"/>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74FE85D7-41F4-EEF6-70E1-AD2B1778DC5D}"/>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a:extLst>
              <a:ext uri="{FF2B5EF4-FFF2-40B4-BE49-F238E27FC236}">
                <a16:creationId xmlns:a16="http://schemas.microsoft.com/office/drawing/2014/main" id="{87AC4A27-1A52-A467-C61C-133F23FDE51B}"/>
              </a:ext>
            </a:extLst>
          </p:cNvPr>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anose="020F0502020204030204" pitchFamily="34" charset="0"/>
              </a:defRPr>
            </a:lvl1pPr>
          </a:lstStyle>
          <a:p>
            <a:pPr>
              <a:defRPr/>
            </a:pPr>
            <a:fld id="{EE4CEC64-1332-4476-9B53-6F71C4BB7A90}" type="slidenum">
              <a:rPr lang="en-US" altLang="tr-TR"/>
              <a:pPr>
                <a:defRPr/>
              </a:pPr>
              <a:t>‹#›</a:t>
            </a:fld>
            <a:endParaRPr lang="en-US" altLang="tr-TR"/>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a:extLst>
              <a:ext uri="{FF2B5EF4-FFF2-40B4-BE49-F238E27FC236}">
                <a16:creationId xmlns:a16="http://schemas.microsoft.com/office/drawing/2014/main" id="{5159EE63-6019-5132-F9FB-F8392AB1338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a:extLst>
              <a:ext uri="{FF2B5EF4-FFF2-40B4-BE49-F238E27FC236}">
                <a16:creationId xmlns:a16="http://schemas.microsoft.com/office/drawing/2014/main" id="{20168AF2-863C-9D10-D401-5372E318F4C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tr-TR" altLang="tr-TR"/>
          </a:p>
        </p:txBody>
      </p:sp>
      <p:sp>
        <p:nvSpPr>
          <p:cNvPr id="24580" name="Slide Number Placeholder 3">
            <a:extLst>
              <a:ext uri="{FF2B5EF4-FFF2-40B4-BE49-F238E27FC236}">
                <a16:creationId xmlns:a16="http://schemas.microsoft.com/office/drawing/2014/main" id="{E2911809-54C8-7EA9-7ED3-A3083A4F0C8F}"/>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Lato Light" panose="020F0502020204030203" pitchFamily="34" charset="0"/>
              </a:defRPr>
            </a:lvl1pPr>
            <a:lvl2pPr marL="742950" indent="-285750">
              <a:defRPr>
                <a:solidFill>
                  <a:schemeClr val="tx1"/>
                </a:solidFill>
                <a:latin typeface="Lato Light" panose="020F0502020204030203" pitchFamily="34" charset="0"/>
              </a:defRPr>
            </a:lvl2pPr>
            <a:lvl3pPr marL="1143000" indent="-228600">
              <a:defRPr>
                <a:solidFill>
                  <a:schemeClr val="tx1"/>
                </a:solidFill>
                <a:latin typeface="Lato Light" panose="020F0502020204030203" pitchFamily="34" charset="0"/>
              </a:defRPr>
            </a:lvl3pPr>
            <a:lvl4pPr marL="1600200" indent="-228600">
              <a:defRPr>
                <a:solidFill>
                  <a:schemeClr val="tx1"/>
                </a:solidFill>
                <a:latin typeface="Lato Light" panose="020F0502020204030203" pitchFamily="34" charset="0"/>
              </a:defRPr>
            </a:lvl4pPr>
            <a:lvl5pPr marL="2057400" indent="-228600">
              <a:defRPr>
                <a:solidFill>
                  <a:schemeClr val="tx1"/>
                </a:solidFill>
                <a:latin typeface="Lato Light" panose="020F0502020204030203" pitchFamily="34" charset="0"/>
              </a:defRPr>
            </a:lvl5pPr>
            <a:lvl6pPr marL="2514600" indent="-228600" eaLnBrk="0" fontAlgn="base" hangingPunct="0">
              <a:spcBef>
                <a:spcPct val="0"/>
              </a:spcBef>
              <a:spcAft>
                <a:spcPct val="0"/>
              </a:spcAft>
              <a:defRPr>
                <a:solidFill>
                  <a:schemeClr val="tx1"/>
                </a:solidFill>
                <a:latin typeface="Lato Light" panose="020F0502020204030203" pitchFamily="34" charset="0"/>
              </a:defRPr>
            </a:lvl6pPr>
            <a:lvl7pPr marL="2971800" indent="-228600" eaLnBrk="0" fontAlgn="base" hangingPunct="0">
              <a:spcBef>
                <a:spcPct val="0"/>
              </a:spcBef>
              <a:spcAft>
                <a:spcPct val="0"/>
              </a:spcAft>
              <a:defRPr>
                <a:solidFill>
                  <a:schemeClr val="tx1"/>
                </a:solidFill>
                <a:latin typeface="Lato Light" panose="020F0502020204030203" pitchFamily="34" charset="0"/>
              </a:defRPr>
            </a:lvl7pPr>
            <a:lvl8pPr marL="3429000" indent="-228600" eaLnBrk="0" fontAlgn="base" hangingPunct="0">
              <a:spcBef>
                <a:spcPct val="0"/>
              </a:spcBef>
              <a:spcAft>
                <a:spcPct val="0"/>
              </a:spcAft>
              <a:defRPr>
                <a:solidFill>
                  <a:schemeClr val="tx1"/>
                </a:solidFill>
                <a:latin typeface="Lato Light" panose="020F0502020204030203" pitchFamily="34" charset="0"/>
              </a:defRPr>
            </a:lvl8pPr>
            <a:lvl9pPr marL="3886200" indent="-228600" eaLnBrk="0" fontAlgn="base" hangingPunct="0">
              <a:spcBef>
                <a:spcPct val="0"/>
              </a:spcBef>
              <a:spcAft>
                <a:spcPct val="0"/>
              </a:spcAft>
              <a:defRPr>
                <a:solidFill>
                  <a:schemeClr val="tx1"/>
                </a:solidFill>
                <a:latin typeface="Lato Light" panose="020F0502020204030203" pitchFamily="34" charset="0"/>
              </a:defRPr>
            </a:lvl9pPr>
          </a:lstStyle>
          <a:p>
            <a:fld id="{3292EEDB-DD9D-4F9C-B4E7-C103D9EC577B}" type="slidenum">
              <a:rPr lang="en-US" altLang="tr-TR" smtClean="0">
                <a:latin typeface="Calibri" panose="020F0502020204030204" pitchFamily="34" charset="0"/>
              </a:rPr>
              <a:pPr/>
              <a:t>3</a:t>
            </a:fld>
            <a:endParaRPr lang="en-US" altLang="tr-TR">
              <a:latin typeface="Calibri" panose="020F050202020403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ayt Görüntüsü Yer Tutucusu 1">
            <a:extLst>
              <a:ext uri="{FF2B5EF4-FFF2-40B4-BE49-F238E27FC236}">
                <a16:creationId xmlns:a16="http://schemas.microsoft.com/office/drawing/2014/main" id="{59D623F0-ECF8-0727-5676-58B77F0C5FB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Not Yer Tutucusu 2">
            <a:extLst>
              <a:ext uri="{FF2B5EF4-FFF2-40B4-BE49-F238E27FC236}">
                <a16:creationId xmlns:a16="http://schemas.microsoft.com/office/drawing/2014/main" id="{B3403935-A85A-AE7C-8585-DE58FE3C6AB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tr-TR" altLang="tr-TR"/>
          </a:p>
        </p:txBody>
      </p:sp>
      <p:sp>
        <p:nvSpPr>
          <p:cNvPr id="32772" name="Slayt Numarası Yer Tutucusu 3">
            <a:extLst>
              <a:ext uri="{FF2B5EF4-FFF2-40B4-BE49-F238E27FC236}">
                <a16:creationId xmlns:a16="http://schemas.microsoft.com/office/drawing/2014/main" id="{D507D811-877B-CDAE-F756-59C0EEF53BEA}"/>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Lato Light" panose="020F0502020204030203" pitchFamily="34" charset="0"/>
              </a:defRPr>
            </a:lvl1pPr>
            <a:lvl2pPr marL="742950" indent="-285750">
              <a:defRPr>
                <a:solidFill>
                  <a:schemeClr val="tx1"/>
                </a:solidFill>
                <a:latin typeface="Lato Light" panose="020F0502020204030203" pitchFamily="34" charset="0"/>
              </a:defRPr>
            </a:lvl2pPr>
            <a:lvl3pPr marL="1143000" indent="-228600">
              <a:defRPr>
                <a:solidFill>
                  <a:schemeClr val="tx1"/>
                </a:solidFill>
                <a:latin typeface="Lato Light" panose="020F0502020204030203" pitchFamily="34" charset="0"/>
              </a:defRPr>
            </a:lvl3pPr>
            <a:lvl4pPr marL="1600200" indent="-228600">
              <a:defRPr>
                <a:solidFill>
                  <a:schemeClr val="tx1"/>
                </a:solidFill>
                <a:latin typeface="Lato Light" panose="020F0502020204030203" pitchFamily="34" charset="0"/>
              </a:defRPr>
            </a:lvl4pPr>
            <a:lvl5pPr marL="2057400" indent="-228600">
              <a:defRPr>
                <a:solidFill>
                  <a:schemeClr val="tx1"/>
                </a:solidFill>
                <a:latin typeface="Lato Light" panose="020F0502020204030203" pitchFamily="34" charset="0"/>
              </a:defRPr>
            </a:lvl5pPr>
            <a:lvl6pPr marL="2514600" indent="-228600" eaLnBrk="0" fontAlgn="base" hangingPunct="0">
              <a:spcBef>
                <a:spcPct val="0"/>
              </a:spcBef>
              <a:spcAft>
                <a:spcPct val="0"/>
              </a:spcAft>
              <a:defRPr>
                <a:solidFill>
                  <a:schemeClr val="tx1"/>
                </a:solidFill>
                <a:latin typeface="Lato Light" panose="020F0502020204030203" pitchFamily="34" charset="0"/>
              </a:defRPr>
            </a:lvl6pPr>
            <a:lvl7pPr marL="2971800" indent="-228600" eaLnBrk="0" fontAlgn="base" hangingPunct="0">
              <a:spcBef>
                <a:spcPct val="0"/>
              </a:spcBef>
              <a:spcAft>
                <a:spcPct val="0"/>
              </a:spcAft>
              <a:defRPr>
                <a:solidFill>
                  <a:schemeClr val="tx1"/>
                </a:solidFill>
                <a:latin typeface="Lato Light" panose="020F0502020204030203" pitchFamily="34" charset="0"/>
              </a:defRPr>
            </a:lvl7pPr>
            <a:lvl8pPr marL="3429000" indent="-228600" eaLnBrk="0" fontAlgn="base" hangingPunct="0">
              <a:spcBef>
                <a:spcPct val="0"/>
              </a:spcBef>
              <a:spcAft>
                <a:spcPct val="0"/>
              </a:spcAft>
              <a:defRPr>
                <a:solidFill>
                  <a:schemeClr val="tx1"/>
                </a:solidFill>
                <a:latin typeface="Lato Light" panose="020F0502020204030203" pitchFamily="34" charset="0"/>
              </a:defRPr>
            </a:lvl8pPr>
            <a:lvl9pPr marL="3886200" indent="-228600" eaLnBrk="0" fontAlgn="base" hangingPunct="0">
              <a:spcBef>
                <a:spcPct val="0"/>
              </a:spcBef>
              <a:spcAft>
                <a:spcPct val="0"/>
              </a:spcAft>
              <a:defRPr>
                <a:solidFill>
                  <a:schemeClr val="tx1"/>
                </a:solidFill>
                <a:latin typeface="Lato Light" panose="020F0502020204030203" pitchFamily="34" charset="0"/>
              </a:defRPr>
            </a:lvl9pPr>
          </a:lstStyle>
          <a:p>
            <a:fld id="{03323F51-912D-41CF-B906-EFEC9109A61E}" type="slidenum">
              <a:rPr lang="en-US" altLang="tr-TR" smtClean="0">
                <a:latin typeface="Calibri" panose="020F0502020204030204" pitchFamily="34" charset="0"/>
              </a:rPr>
              <a:pPr/>
              <a:t>10</a:t>
            </a:fld>
            <a:endParaRPr lang="en-US" altLang="tr-TR">
              <a:latin typeface="Calibri" panose="020F050202020403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ayt Görüntüsü Yer Tutucusu 1">
            <a:extLst>
              <a:ext uri="{FF2B5EF4-FFF2-40B4-BE49-F238E27FC236}">
                <a16:creationId xmlns:a16="http://schemas.microsoft.com/office/drawing/2014/main" id="{DD5AD01F-92E5-80B4-FC5A-62789EDE91D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Not Yer Tutucusu 2">
            <a:extLst>
              <a:ext uri="{FF2B5EF4-FFF2-40B4-BE49-F238E27FC236}">
                <a16:creationId xmlns:a16="http://schemas.microsoft.com/office/drawing/2014/main" id="{D317E8EB-9B57-528F-7FB3-6D90D568201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tr-TR" altLang="tr-TR"/>
          </a:p>
        </p:txBody>
      </p:sp>
      <p:sp>
        <p:nvSpPr>
          <p:cNvPr id="43012" name="Slayt Numarası Yer Tutucusu 3">
            <a:extLst>
              <a:ext uri="{FF2B5EF4-FFF2-40B4-BE49-F238E27FC236}">
                <a16:creationId xmlns:a16="http://schemas.microsoft.com/office/drawing/2014/main" id="{99C04E86-9634-C293-7313-B8B1E9E599E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Lato Light" panose="020F0502020204030203" pitchFamily="34" charset="0"/>
              </a:defRPr>
            </a:lvl1pPr>
            <a:lvl2pPr marL="742950" indent="-285750">
              <a:defRPr>
                <a:solidFill>
                  <a:schemeClr val="tx1"/>
                </a:solidFill>
                <a:latin typeface="Lato Light" panose="020F0502020204030203" pitchFamily="34" charset="0"/>
              </a:defRPr>
            </a:lvl2pPr>
            <a:lvl3pPr marL="1143000" indent="-228600">
              <a:defRPr>
                <a:solidFill>
                  <a:schemeClr val="tx1"/>
                </a:solidFill>
                <a:latin typeface="Lato Light" panose="020F0502020204030203" pitchFamily="34" charset="0"/>
              </a:defRPr>
            </a:lvl3pPr>
            <a:lvl4pPr marL="1600200" indent="-228600">
              <a:defRPr>
                <a:solidFill>
                  <a:schemeClr val="tx1"/>
                </a:solidFill>
                <a:latin typeface="Lato Light" panose="020F0502020204030203" pitchFamily="34" charset="0"/>
              </a:defRPr>
            </a:lvl4pPr>
            <a:lvl5pPr marL="2057400" indent="-228600">
              <a:defRPr>
                <a:solidFill>
                  <a:schemeClr val="tx1"/>
                </a:solidFill>
                <a:latin typeface="Lato Light" panose="020F0502020204030203" pitchFamily="34" charset="0"/>
              </a:defRPr>
            </a:lvl5pPr>
            <a:lvl6pPr marL="2514600" indent="-228600" eaLnBrk="0" fontAlgn="base" hangingPunct="0">
              <a:spcBef>
                <a:spcPct val="0"/>
              </a:spcBef>
              <a:spcAft>
                <a:spcPct val="0"/>
              </a:spcAft>
              <a:defRPr>
                <a:solidFill>
                  <a:schemeClr val="tx1"/>
                </a:solidFill>
                <a:latin typeface="Lato Light" panose="020F0502020204030203" pitchFamily="34" charset="0"/>
              </a:defRPr>
            </a:lvl6pPr>
            <a:lvl7pPr marL="2971800" indent="-228600" eaLnBrk="0" fontAlgn="base" hangingPunct="0">
              <a:spcBef>
                <a:spcPct val="0"/>
              </a:spcBef>
              <a:spcAft>
                <a:spcPct val="0"/>
              </a:spcAft>
              <a:defRPr>
                <a:solidFill>
                  <a:schemeClr val="tx1"/>
                </a:solidFill>
                <a:latin typeface="Lato Light" panose="020F0502020204030203" pitchFamily="34" charset="0"/>
              </a:defRPr>
            </a:lvl7pPr>
            <a:lvl8pPr marL="3429000" indent="-228600" eaLnBrk="0" fontAlgn="base" hangingPunct="0">
              <a:spcBef>
                <a:spcPct val="0"/>
              </a:spcBef>
              <a:spcAft>
                <a:spcPct val="0"/>
              </a:spcAft>
              <a:defRPr>
                <a:solidFill>
                  <a:schemeClr val="tx1"/>
                </a:solidFill>
                <a:latin typeface="Lato Light" panose="020F0502020204030203" pitchFamily="34" charset="0"/>
              </a:defRPr>
            </a:lvl8pPr>
            <a:lvl9pPr marL="3886200" indent="-228600" eaLnBrk="0" fontAlgn="base" hangingPunct="0">
              <a:spcBef>
                <a:spcPct val="0"/>
              </a:spcBef>
              <a:spcAft>
                <a:spcPct val="0"/>
              </a:spcAft>
              <a:defRPr>
                <a:solidFill>
                  <a:schemeClr val="tx1"/>
                </a:solidFill>
                <a:latin typeface="Lato Light" panose="020F0502020204030203" pitchFamily="34" charset="0"/>
              </a:defRPr>
            </a:lvl9pPr>
          </a:lstStyle>
          <a:p>
            <a:fld id="{3EBFBC27-FE51-4CAF-9D16-AC8E305FAB34}" type="slidenum">
              <a:rPr lang="en-US" altLang="tr-TR" smtClean="0">
                <a:latin typeface="Calibri" panose="020F0502020204030204" pitchFamily="34" charset="0"/>
              </a:rPr>
              <a:pPr/>
              <a:t>19</a:t>
            </a:fld>
            <a:endParaRPr lang="en-US" altLang="tr-TR">
              <a:latin typeface="Calibri" panose="020F050202020403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tr-TR"/>
              <a:t>Asıl başlık stili için tıklatın</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tr-TR"/>
              <a:t>Asıl alt başlık stilini düzenlemek için tıklayın</a:t>
            </a:r>
            <a:endParaRPr lang="en-US"/>
          </a:p>
        </p:txBody>
      </p:sp>
      <p:sp>
        <p:nvSpPr>
          <p:cNvPr id="4" name="Date Placeholder 3">
            <a:extLst>
              <a:ext uri="{FF2B5EF4-FFF2-40B4-BE49-F238E27FC236}">
                <a16:creationId xmlns:a16="http://schemas.microsoft.com/office/drawing/2014/main" id="{01FC9ED2-E6C6-CFA4-A50A-8B8C7D01882E}"/>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4BAF7744-8CF1-55F3-2A12-A8D6321069EB}"/>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F77AEE07-17A8-8632-2B88-C0BBB084100C}"/>
              </a:ext>
            </a:extLst>
          </p:cNvPr>
          <p:cNvSpPr>
            <a:spLocks noGrp="1"/>
          </p:cNvSpPr>
          <p:nvPr>
            <p:ph type="sldNum" sz="quarter" idx="12"/>
          </p:nvPr>
        </p:nvSpPr>
        <p:spPr/>
        <p:txBody>
          <a:bodyPr/>
          <a:lstStyle>
            <a:lvl1pPr>
              <a:defRPr/>
            </a:lvl1pPr>
          </a:lstStyle>
          <a:p>
            <a:pPr>
              <a:defRPr/>
            </a:pPr>
            <a:fld id="{70D2BD34-1474-4396-835F-987244FA9AB6}" type="slidenum">
              <a:rPr lang="en-US" altLang="tr-TR"/>
              <a:pPr>
                <a:defRPr/>
              </a:pPr>
              <a:t>‹#›</a:t>
            </a:fld>
            <a:endParaRPr lang="en-US" altLang="tr-TR"/>
          </a:p>
        </p:txBody>
      </p:sp>
    </p:spTree>
    <p:extLst>
      <p:ext uri="{BB962C8B-B14F-4D97-AF65-F5344CB8AC3E}">
        <p14:creationId xmlns:p14="http://schemas.microsoft.com/office/powerpoint/2010/main" val="40584268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2DDC49B7-25C1-0644-6ABE-58F8F7ECFEC2}"/>
              </a:ext>
            </a:extLst>
          </p:cNvPr>
          <p:cNvSpPr/>
          <p:nvPr/>
        </p:nvSpPr>
        <p:spPr>
          <a:xfrm>
            <a:off x="11350625" y="6361113"/>
            <a:ext cx="344488" cy="344487"/>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2"/>
              </a:solidFill>
            </a:endParaRPr>
          </a:p>
        </p:txBody>
      </p:sp>
      <p:grpSp>
        <p:nvGrpSpPr>
          <p:cNvPr id="3" name="Group 4">
            <a:extLst>
              <a:ext uri="{FF2B5EF4-FFF2-40B4-BE49-F238E27FC236}">
                <a16:creationId xmlns:a16="http://schemas.microsoft.com/office/drawing/2014/main" id="{CC85408B-ECAF-B876-E1DA-9171F6D351E7}"/>
              </a:ext>
            </a:extLst>
          </p:cNvPr>
          <p:cNvGrpSpPr>
            <a:grpSpLocks noChangeAspect="1"/>
          </p:cNvGrpSpPr>
          <p:nvPr/>
        </p:nvGrpSpPr>
        <p:grpSpPr bwMode="auto">
          <a:xfrm>
            <a:off x="527050" y="6389688"/>
            <a:ext cx="1039813" cy="284162"/>
            <a:chOff x="297" y="1187"/>
            <a:chExt cx="7085" cy="1944"/>
          </a:xfrm>
        </p:grpSpPr>
        <p:sp>
          <p:nvSpPr>
            <p:cNvPr id="4" name="Freeform 9">
              <a:extLst>
                <a:ext uri="{FF2B5EF4-FFF2-40B4-BE49-F238E27FC236}">
                  <a16:creationId xmlns:a16="http://schemas.microsoft.com/office/drawing/2014/main" id="{75364D9E-1925-DCFB-4847-38640E041E75}"/>
                </a:ext>
              </a:extLst>
            </p:cNvPr>
            <p:cNvSpPr>
              <a:spLocks noEditPoints="1"/>
            </p:cNvSpPr>
            <p:nvPr userDrawn="1"/>
          </p:nvSpPr>
          <p:spPr bwMode="auto">
            <a:xfrm>
              <a:off x="297" y="1189"/>
              <a:ext cx="1266" cy="1105"/>
            </a:xfrm>
            <a:custGeom>
              <a:avLst/>
              <a:gdLst>
                <a:gd name="T0" fmla="*/ 592814223 w 535"/>
                <a:gd name="T1" fmla="*/ 490470457 h 466"/>
                <a:gd name="T2" fmla="*/ 475447313 w 535"/>
                <a:gd name="T3" fmla="*/ 198813566 h 466"/>
                <a:gd name="T4" fmla="*/ 254086917 w 535"/>
                <a:gd name="T5" fmla="*/ 767261907 h 466"/>
                <a:gd name="T6" fmla="*/ 205935911 w 535"/>
                <a:gd name="T7" fmla="*/ 898255873 h 466"/>
                <a:gd name="T8" fmla="*/ 135177273 w 535"/>
                <a:gd name="T9" fmla="*/ 1082812292 h 466"/>
                <a:gd name="T10" fmla="*/ 135177273 w 535"/>
                <a:gd name="T11" fmla="*/ 1079972834 h 466"/>
                <a:gd name="T12" fmla="*/ 102568007 w 535"/>
                <a:gd name="T13" fmla="*/ 1104057219 h 466"/>
                <a:gd name="T14" fmla="*/ 25381052 w 535"/>
                <a:gd name="T15" fmla="*/ 1104057219 h 466"/>
                <a:gd name="T16" fmla="*/ 0 w 535"/>
                <a:gd name="T17" fmla="*/ 1087116478 h 466"/>
                <a:gd name="T18" fmla="*/ 2031267 w 535"/>
                <a:gd name="T19" fmla="*/ 1078264271 h 466"/>
                <a:gd name="T20" fmla="*/ 4806699 w 535"/>
                <a:gd name="T21" fmla="*/ 1068152912 h 466"/>
                <a:gd name="T22" fmla="*/ 423281075 w 535"/>
                <a:gd name="T23" fmla="*/ 19018883 h 466"/>
                <a:gd name="T24" fmla="*/ 425157884 w 535"/>
                <a:gd name="T25" fmla="*/ 16871626 h 466"/>
                <a:gd name="T26" fmla="*/ 423281075 w 535"/>
                <a:gd name="T27" fmla="*/ 19018883 h 466"/>
                <a:gd name="T28" fmla="*/ 430186005 w 535"/>
                <a:gd name="T29" fmla="*/ 7115093 h 466"/>
                <a:gd name="T30" fmla="*/ 453467932 w 535"/>
                <a:gd name="T31" fmla="*/ 0 h 466"/>
                <a:gd name="T32" fmla="*/ 500809590 w 535"/>
                <a:gd name="T33" fmla="*/ 0 h 466"/>
                <a:gd name="T34" fmla="*/ 522062318 w 535"/>
                <a:gd name="T35" fmla="*/ 7115093 h 466"/>
                <a:gd name="T36" fmla="*/ 528624526 w 535"/>
                <a:gd name="T37" fmla="*/ 19018883 h 466"/>
                <a:gd name="T38" fmla="*/ 530657417 w 535"/>
                <a:gd name="T39" fmla="*/ 19018883 h 466"/>
                <a:gd name="T40" fmla="*/ 532753721 w 535"/>
                <a:gd name="T41" fmla="*/ 23986629 h 466"/>
                <a:gd name="T42" fmla="*/ 530657417 w 535"/>
                <a:gd name="T43" fmla="*/ 21137875 h 466"/>
                <a:gd name="T44" fmla="*/ 656507488 w 535"/>
                <a:gd name="T45" fmla="*/ 336755356 h 466"/>
                <a:gd name="T46" fmla="*/ 592814223 w 535"/>
                <a:gd name="T47" fmla="*/ 490470457 h 466"/>
                <a:gd name="T48" fmla="*/ 1063415281 w 535"/>
                <a:gd name="T49" fmla="*/ 1007003229 h 466"/>
                <a:gd name="T50" fmla="*/ 1020096784 w 535"/>
                <a:gd name="T51" fmla="*/ 898255873 h 466"/>
                <a:gd name="T52" fmla="*/ 862287051 w 535"/>
                <a:gd name="T53" fmla="*/ 490470457 h 466"/>
                <a:gd name="T54" fmla="*/ 745075518 w 535"/>
                <a:gd name="T55" fmla="*/ 198813566 h 466"/>
                <a:gd name="T56" fmla="*/ 524093625 w 535"/>
                <a:gd name="T57" fmla="*/ 767261907 h 466"/>
                <a:gd name="T58" fmla="*/ 473909525 w 535"/>
                <a:gd name="T59" fmla="*/ 898255873 h 466"/>
                <a:gd name="T60" fmla="*/ 405184384 w 535"/>
                <a:gd name="T61" fmla="*/ 1082812292 h 466"/>
                <a:gd name="T62" fmla="*/ 405184384 w 535"/>
                <a:gd name="T63" fmla="*/ 1079972834 h 466"/>
                <a:gd name="T64" fmla="*/ 372851835 w 535"/>
                <a:gd name="T65" fmla="*/ 1104057219 h 466"/>
                <a:gd name="T66" fmla="*/ 295029932 w 535"/>
                <a:gd name="T67" fmla="*/ 1104057219 h 466"/>
                <a:gd name="T68" fmla="*/ 269628205 w 535"/>
                <a:gd name="T69" fmla="*/ 1087116478 h 466"/>
                <a:gd name="T70" fmla="*/ 272403609 w 535"/>
                <a:gd name="T71" fmla="*/ 1078264271 h 466"/>
                <a:gd name="T72" fmla="*/ 274527635 w 535"/>
                <a:gd name="T73" fmla="*/ 1068152912 h 466"/>
                <a:gd name="T74" fmla="*/ 693246507 w 535"/>
                <a:gd name="T75" fmla="*/ 19018883 h 466"/>
                <a:gd name="T76" fmla="*/ 694891188 w 535"/>
                <a:gd name="T77" fmla="*/ 16871626 h 466"/>
                <a:gd name="T78" fmla="*/ 693246507 w 535"/>
                <a:gd name="T79" fmla="*/ 19018883 h 466"/>
                <a:gd name="T80" fmla="*/ 699814170 w 535"/>
                <a:gd name="T81" fmla="*/ 7115093 h 466"/>
                <a:gd name="T82" fmla="*/ 722963600 w 535"/>
                <a:gd name="T83" fmla="*/ 0 h 466"/>
                <a:gd name="T84" fmla="*/ 770453496 w 535"/>
                <a:gd name="T85" fmla="*/ 0 h 466"/>
                <a:gd name="T86" fmla="*/ 791690909 w 535"/>
                <a:gd name="T87" fmla="*/ 7115093 h 466"/>
                <a:gd name="T88" fmla="*/ 798593889 w 535"/>
                <a:gd name="T89" fmla="*/ 19018883 h 466"/>
                <a:gd name="T90" fmla="*/ 800282813 w 535"/>
                <a:gd name="T91" fmla="*/ 19018883 h 466"/>
                <a:gd name="T92" fmla="*/ 800282813 w 535"/>
                <a:gd name="T93" fmla="*/ 23986629 h 466"/>
                <a:gd name="T94" fmla="*/ 800282813 w 535"/>
                <a:gd name="T95" fmla="*/ 21137875 h 466"/>
                <a:gd name="T96" fmla="*/ 1221874959 w 535"/>
                <a:gd name="T97" fmla="*/ 1068152912 h 466"/>
                <a:gd name="T98" fmla="*/ 1223907795 w 535"/>
                <a:gd name="T99" fmla="*/ 1073239556 h 466"/>
                <a:gd name="T100" fmla="*/ 1223907795 w 535"/>
                <a:gd name="T101" fmla="*/ 1087116478 h 466"/>
                <a:gd name="T102" fmla="*/ 1198604492 w 535"/>
                <a:gd name="T103" fmla="*/ 1104057219 h 466"/>
                <a:gd name="T104" fmla="*/ 1123315401 w 535"/>
                <a:gd name="T105" fmla="*/ 1104057219 h 466"/>
                <a:gd name="T106" fmla="*/ 1091504023 w 535"/>
                <a:gd name="T107" fmla="*/ 1082812292 h 466"/>
                <a:gd name="T108" fmla="*/ 1063415281 w 535"/>
                <a:gd name="T109" fmla="*/ 1007003229 h 4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35" h="466">
                  <a:moveTo>
                    <a:pt x="259" y="207"/>
                  </a:moveTo>
                  <a:cubicBezTo>
                    <a:pt x="208" y="84"/>
                    <a:pt x="208" y="84"/>
                    <a:pt x="208" y="84"/>
                  </a:cubicBezTo>
                  <a:cubicBezTo>
                    <a:pt x="111" y="324"/>
                    <a:pt x="111" y="324"/>
                    <a:pt x="111" y="324"/>
                  </a:cubicBezTo>
                  <a:cubicBezTo>
                    <a:pt x="90" y="379"/>
                    <a:pt x="90" y="379"/>
                    <a:pt x="90" y="379"/>
                  </a:cubicBezTo>
                  <a:cubicBezTo>
                    <a:pt x="59" y="457"/>
                    <a:pt x="59" y="457"/>
                    <a:pt x="59" y="457"/>
                  </a:cubicBezTo>
                  <a:cubicBezTo>
                    <a:pt x="59" y="456"/>
                    <a:pt x="59" y="456"/>
                    <a:pt x="59" y="456"/>
                  </a:cubicBezTo>
                  <a:cubicBezTo>
                    <a:pt x="56" y="462"/>
                    <a:pt x="51" y="466"/>
                    <a:pt x="45" y="466"/>
                  </a:cubicBezTo>
                  <a:cubicBezTo>
                    <a:pt x="11" y="466"/>
                    <a:pt x="11" y="466"/>
                    <a:pt x="11" y="466"/>
                  </a:cubicBezTo>
                  <a:cubicBezTo>
                    <a:pt x="4" y="466"/>
                    <a:pt x="0" y="464"/>
                    <a:pt x="0" y="459"/>
                  </a:cubicBezTo>
                  <a:cubicBezTo>
                    <a:pt x="0" y="458"/>
                    <a:pt x="0" y="457"/>
                    <a:pt x="1" y="455"/>
                  </a:cubicBezTo>
                  <a:cubicBezTo>
                    <a:pt x="2" y="451"/>
                    <a:pt x="2" y="451"/>
                    <a:pt x="2" y="451"/>
                  </a:cubicBezTo>
                  <a:cubicBezTo>
                    <a:pt x="185" y="8"/>
                    <a:pt x="185" y="8"/>
                    <a:pt x="185" y="8"/>
                  </a:cubicBezTo>
                  <a:cubicBezTo>
                    <a:pt x="185" y="8"/>
                    <a:pt x="185" y="7"/>
                    <a:pt x="186" y="7"/>
                  </a:cubicBezTo>
                  <a:cubicBezTo>
                    <a:pt x="185" y="8"/>
                    <a:pt x="185" y="8"/>
                    <a:pt x="185" y="8"/>
                  </a:cubicBezTo>
                  <a:cubicBezTo>
                    <a:pt x="188" y="3"/>
                    <a:pt x="188" y="3"/>
                    <a:pt x="188" y="3"/>
                  </a:cubicBezTo>
                  <a:cubicBezTo>
                    <a:pt x="190" y="1"/>
                    <a:pt x="193" y="0"/>
                    <a:pt x="198" y="0"/>
                  </a:cubicBezTo>
                  <a:cubicBezTo>
                    <a:pt x="219" y="0"/>
                    <a:pt x="219" y="0"/>
                    <a:pt x="219" y="0"/>
                  </a:cubicBezTo>
                  <a:cubicBezTo>
                    <a:pt x="224" y="0"/>
                    <a:pt x="227" y="1"/>
                    <a:pt x="228" y="3"/>
                  </a:cubicBezTo>
                  <a:cubicBezTo>
                    <a:pt x="231" y="8"/>
                    <a:pt x="231" y="8"/>
                    <a:pt x="231" y="8"/>
                  </a:cubicBezTo>
                  <a:cubicBezTo>
                    <a:pt x="231" y="8"/>
                    <a:pt x="231" y="8"/>
                    <a:pt x="232" y="8"/>
                  </a:cubicBezTo>
                  <a:cubicBezTo>
                    <a:pt x="233" y="10"/>
                    <a:pt x="233" y="10"/>
                    <a:pt x="233" y="10"/>
                  </a:cubicBezTo>
                  <a:cubicBezTo>
                    <a:pt x="232" y="9"/>
                    <a:pt x="232" y="9"/>
                    <a:pt x="232" y="9"/>
                  </a:cubicBezTo>
                  <a:cubicBezTo>
                    <a:pt x="287" y="142"/>
                    <a:pt x="287" y="142"/>
                    <a:pt x="287" y="142"/>
                  </a:cubicBezTo>
                  <a:lnTo>
                    <a:pt x="259" y="207"/>
                  </a:lnTo>
                  <a:close/>
                  <a:moveTo>
                    <a:pt x="465" y="425"/>
                  </a:moveTo>
                  <a:cubicBezTo>
                    <a:pt x="446" y="379"/>
                    <a:pt x="446" y="379"/>
                    <a:pt x="446" y="379"/>
                  </a:cubicBezTo>
                  <a:cubicBezTo>
                    <a:pt x="377" y="207"/>
                    <a:pt x="377" y="207"/>
                    <a:pt x="377" y="207"/>
                  </a:cubicBezTo>
                  <a:cubicBezTo>
                    <a:pt x="326" y="84"/>
                    <a:pt x="326" y="84"/>
                    <a:pt x="326" y="84"/>
                  </a:cubicBezTo>
                  <a:cubicBezTo>
                    <a:pt x="229" y="324"/>
                    <a:pt x="229" y="324"/>
                    <a:pt x="229" y="324"/>
                  </a:cubicBezTo>
                  <a:cubicBezTo>
                    <a:pt x="207" y="379"/>
                    <a:pt x="207" y="379"/>
                    <a:pt x="207" y="379"/>
                  </a:cubicBezTo>
                  <a:cubicBezTo>
                    <a:pt x="177" y="457"/>
                    <a:pt x="177" y="457"/>
                    <a:pt x="177" y="457"/>
                  </a:cubicBezTo>
                  <a:cubicBezTo>
                    <a:pt x="177" y="456"/>
                    <a:pt x="177" y="456"/>
                    <a:pt x="177" y="456"/>
                  </a:cubicBezTo>
                  <a:cubicBezTo>
                    <a:pt x="174" y="462"/>
                    <a:pt x="169" y="466"/>
                    <a:pt x="163" y="466"/>
                  </a:cubicBezTo>
                  <a:cubicBezTo>
                    <a:pt x="129" y="466"/>
                    <a:pt x="129" y="466"/>
                    <a:pt x="129" y="466"/>
                  </a:cubicBezTo>
                  <a:cubicBezTo>
                    <a:pt x="122" y="466"/>
                    <a:pt x="118" y="464"/>
                    <a:pt x="118" y="459"/>
                  </a:cubicBezTo>
                  <a:cubicBezTo>
                    <a:pt x="118" y="458"/>
                    <a:pt x="118" y="457"/>
                    <a:pt x="119" y="455"/>
                  </a:cubicBezTo>
                  <a:cubicBezTo>
                    <a:pt x="120" y="451"/>
                    <a:pt x="120" y="451"/>
                    <a:pt x="120" y="451"/>
                  </a:cubicBezTo>
                  <a:cubicBezTo>
                    <a:pt x="303" y="8"/>
                    <a:pt x="303" y="8"/>
                    <a:pt x="303" y="8"/>
                  </a:cubicBezTo>
                  <a:cubicBezTo>
                    <a:pt x="303" y="8"/>
                    <a:pt x="303" y="7"/>
                    <a:pt x="304" y="7"/>
                  </a:cubicBezTo>
                  <a:cubicBezTo>
                    <a:pt x="303" y="8"/>
                    <a:pt x="303" y="8"/>
                    <a:pt x="303" y="8"/>
                  </a:cubicBezTo>
                  <a:cubicBezTo>
                    <a:pt x="306" y="3"/>
                    <a:pt x="306" y="3"/>
                    <a:pt x="306" y="3"/>
                  </a:cubicBezTo>
                  <a:cubicBezTo>
                    <a:pt x="308" y="1"/>
                    <a:pt x="311" y="0"/>
                    <a:pt x="316" y="0"/>
                  </a:cubicBezTo>
                  <a:cubicBezTo>
                    <a:pt x="337" y="0"/>
                    <a:pt x="337" y="0"/>
                    <a:pt x="337" y="0"/>
                  </a:cubicBezTo>
                  <a:cubicBezTo>
                    <a:pt x="342" y="0"/>
                    <a:pt x="344" y="1"/>
                    <a:pt x="346" y="3"/>
                  </a:cubicBezTo>
                  <a:cubicBezTo>
                    <a:pt x="349" y="8"/>
                    <a:pt x="349" y="8"/>
                    <a:pt x="349" y="8"/>
                  </a:cubicBezTo>
                  <a:cubicBezTo>
                    <a:pt x="349" y="8"/>
                    <a:pt x="349" y="8"/>
                    <a:pt x="350" y="8"/>
                  </a:cubicBezTo>
                  <a:cubicBezTo>
                    <a:pt x="350" y="10"/>
                    <a:pt x="350" y="10"/>
                    <a:pt x="350" y="10"/>
                  </a:cubicBezTo>
                  <a:cubicBezTo>
                    <a:pt x="350" y="9"/>
                    <a:pt x="350" y="9"/>
                    <a:pt x="350" y="9"/>
                  </a:cubicBezTo>
                  <a:cubicBezTo>
                    <a:pt x="534" y="451"/>
                    <a:pt x="534" y="451"/>
                    <a:pt x="534" y="451"/>
                  </a:cubicBezTo>
                  <a:cubicBezTo>
                    <a:pt x="535" y="453"/>
                    <a:pt x="535" y="453"/>
                    <a:pt x="535" y="453"/>
                  </a:cubicBezTo>
                  <a:cubicBezTo>
                    <a:pt x="535" y="455"/>
                    <a:pt x="535" y="457"/>
                    <a:pt x="535" y="459"/>
                  </a:cubicBezTo>
                  <a:cubicBezTo>
                    <a:pt x="535" y="464"/>
                    <a:pt x="532" y="466"/>
                    <a:pt x="524" y="466"/>
                  </a:cubicBezTo>
                  <a:cubicBezTo>
                    <a:pt x="491" y="466"/>
                    <a:pt x="491" y="466"/>
                    <a:pt x="491" y="466"/>
                  </a:cubicBezTo>
                  <a:cubicBezTo>
                    <a:pt x="479" y="466"/>
                    <a:pt x="477" y="456"/>
                    <a:pt x="477" y="457"/>
                  </a:cubicBezTo>
                  <a:lnTo>
                    <a:pt x="465" y="425"/>
                  </a:lnTo>
                  <a:close/>
                </a:path>
              </a:pathLst>
            </a:custGeom>
            <a:solidFill>
              <a:srgbClr val="2580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 name="Freeform 6">
              <a:extLst>
                <a:ext uri="{FF2B5EF4-FFF2-40B4-BE49-F238E27FC236}">
                  <a16:creationId xmlns:a16="http://schemas.microsoft.com/office/drawing/2014/main" id="{6CD1A64B-2F4B-0941-F66B-6B0300D6E7D6}"/>
                </a:ext>
              </a:extLst>
            </p:cNvPr>
            <p:cNvSpPr>
              <a:spLocks noEditPoints="1"/>
            </p:cNvSpPr>
            <p:nvPr userDrawn="1"/>
          </p:nvSpPr>
          <p:spPr bwMode="auto">
            <a:xfrm>
              <a:off x="1456" y="1189"/>
              <a:ext cx="986" cy="1105"/>
            </a:xfrm>
            <a:custGeom>
              <a:avLst/>
              <a:gdLst>
                <a:gd name="T0" fmla="*/ 26658435 w 417"/>
                <a:gd name="T1" fmla="*/ 1104057219 h 466"/>
                <a:gd name="T2" fmla="*/ 0 w 417"/>
                <a:gd name="T3" fmla="*/ 1084997487 h 466"/>
                <a:gd name="T4" fmla="*/ 0 w 417"/>
                <a:gd name="T5" fmla="*/ 1071148297 h 466"/>
                <a:gd name="T6" fmla="*/ 2016564 w 417"/>
                <a:gd name="T7" fmla="*/ 1065967725 h 466"/>
                <a:gd name="T8" fmla="*/ 440005146 w 417"/>
                <a:gd name="T9" fmla="*/ 19018883 h 466"/>
                <a:gd name="T10" fmla="*/ 469546985 w 417"/>
                <a:gd name="T11" fmla="*/ 0 h 466"/>
                <a:gd name="T12" fmla="*/ 474377529 w 417"/>
                <a:gd name="T13" fmla="*/ 0 h 466"/>
                <a:gd name="T14" fmla="*/ 505945896 w 417"/>
                <a:gd name="T15" fmla="*/ 21137875 h 466"/>
                <a:gd name="T16" fmla="*/ 612172944 w 417"/>
                <a:gd name="T17" fmla="*/ 284828039 h 466"/>
                <a:gd name="T18" fmla="*/ 830540312 w 417"/>
                <a:gd name="T19" fmla="*/ 805128453 h 466"/>
                <a:gd name="T20" fmla="*/ 936767478 w 417"/>
                <a:gd name="T21" fmla="*/ 1065967725 h 466"/>
                <a:gd name="T22" fmla="*/ 936767478 w 417"/>
                <a:gd name="T23" fmla="*/ 1065967725 h 466"/>
                <a:gd name="T24" fmla="*/ 941198430 w 417"/>
                <a:gd name="T25" fmla="*/ 1084997487 h 466"/>
                <a:gd name="T26" fmla="*/ 914535082 w 417"/>
                <a:gd name="T27" fmla="*/ 1104057219 h 466"/>
                <a:gd name="T28" fmla="*/ 26658435 w 417"/>
                <a:gd name="T29" fmla="*/ 1104057219 h 466"/>
                <a:gd name="T30" fmla="*/ 173692259 w 417"/>
                <a:gd name="T31" fmla="*/ 974102843 h 466"/>
                <a:gd name="T32" fmla="*/ 332252753 w 417"/>
                <a:gd name="T33" fmla="*/ 974102843 h 466"/>
                <a:gd name="T34" fmla="*/ 767506131 w 417"/>
                <a:gd name="T35" fmla="*/ 974102843 h 466"/>
                <a:gd name="T36" fmla="*/ 471651445 w 417"/>
                <a:gd name="T37" fmla="*/ 238808028 h 466"/>
                <a:gd name="T38" fmla="*/ 173692259 w 417"/>
                <a:gd name="T39" fmla="*/ 974102843 h 4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17" h="466">
                  <a:moveTo>
                    <a:pt x="12" y="466"/>
                  </a:moveTo>
                  <a:cubicBezTo>
                    <a:pt x="4" y="466"/>
                    <a:pt x="0" y="463"/>
                    <a:pt x="0" y="458"/>
                  </a:cubicBezTo>
                  <a:cubicBezTo>
                    <a:pt x="0" y="455"/>
                    <a:pt x="0" y="453"/>
                    <a:pt x="0" y="452"/>
                  </a:cubicBezTo>
                  <a:cubicBezTo>
                    <a:pt x="1" y="450"/>
                    <a:pt x="1" y="450"/>
                    <a:pt x="1" y="450"/>
                  </a:cubicBezTo>
                  <a:cubicBezTo>
                    <a:pt x="195" y="8"/>
                    <a:pt x="195" y="8"/>
                    <a:pt x="195" y="8"/>
                  </a:cubicBezTo>
                  <a:cubicBezTo>
                    <a:pt x="196" y="5"/>
                    <a:pt x="197" y="0"/>
                    <a:pt x="208" y="0"/>
                  </a:cubicBezTo>
                  <a:cubicBezTo>
                    <a:pt x="210" y="0"/>
                    <a:pt x="210" y="0"/>
                    <a:pt x="210" y="0"/>
                  </a:cubicBezTo>
                  <a:cubicBezTo>
                    <a:pt x="222" y="0"/>
                    <a:pt x="222" y="7"/>
                    <a:pt x="224" y="9"/>
                  </a:cubicBezTo>
                  <a:cubicBezTo>
                    <a:pt x="239" y="46"/>
                    <a:pt x="255" y="83"/>
                    <a:pt x="271" y="120"/>
                  </a:cubicBezTo>
                  <a:cubicBezTo>
                    <a:pt x="368" y="340"/>
                    <a:pt x="368" y="340"/>
                    <a:pt x="368" y="340"/>
                  </a:cubicBezTo>
                  <a:cubicBezTo>
                    <a:pt x="384" y="377"/>
                    <a:pt x="400" y="414"/>
                    <a:pt x="415" y="450"/>
                  </a:cubicBezTo>
                  <a:cubicBezTo>
                    <a:pt x="415" y="450"/>
                    <a:pt x="415" y="450"/>
                    <a:pt x="415" y="450"/>
                  </a:cubicBezTo>
                  <a:cubicBezTo>
                    <a:pt x="417" y="458"/>
                    <a:pt x="417" y="458"/>
                    <a:pt x="417" y="458"/>
                  </a:cubicBezTo>
                  <a:cubicBezTo>
                    <a:pt x="417" y="463"/>
                    <a:pt x="413" y="466"/>
                    <a:pt x="405" y="466"/>
                  </a:cubicBezTo>
                  <a:lnTo>
                    <a:pt x="12" y="466"/>
                  </a:lnTo>
                  <a:close/>
                  <a:moveTo>
                    <a:pt x="77" y="411"/>
                  </a:moveTo>
                  <a:cubicBezTo>
                    <a:pt x="147" y="411"/>
                    <a:pt x="147" y="411"/>
                    <a:pt x="147" y="411"/>
                  </a:cubicBezTo>
                  <a:cubicBezTo>
                    <a:pt x="340" y="411"/>
                    <a:pt x="340" y="411"/>
                    <a:pt x="340" y="411"/>
                  </a:cubicBezTo>
                  <a:cubicBezTo>
                    <a:pt x="209" y="101"/>
                    <a:pt x="209" y="101"/>
                    <a:pt x="209" y="101"/>
                  </a:cubicBezTo>
                  <a:lnTo>
                    <a:pt x="77" y="411"/>
                  </a:lnTo>
                  <a:close/>
                </a:path>
              </a:pathLst>
            </a:custGeom>
            <a:solidFill>
              <a:srgbClr val="1993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 name="Freeform 7">
              <a:extLst>
                <a:ext uri="{FF2B5EF4-FFF2-40B4-BE49-F238E27FC236}">
                  <a16:creationId xmlns:a16="http://schemas.microsoft.com/office/drawing/2014/main" id="{5201F619-E652-81FC-C444-64CEDD151921}"/>
                </a:ext>
              </a:extLst>
            </p:cNvPr>
            <p:cNvSpPr>
              <a:spLocks noEditPoints="1"/>
            </p:cNvSpPr>
            <p:nvPr userDrawn="1"/>
          </p:nvSpPr>
          <p:spPr bwMode="auto">
            <a:xfrm>
              <a:off x="2501" y="1189"/>
              <a:ext cx="1594" cy="1942"/>
            </a:xfrm>
            <a:custGeom>
              <a:avLst/>
              <a:gdLst>
                <a:gd name="T0" fmla="*/ 1483443497 w 674"/>
                <a:gd name="T1" fmla="*/ 1714655374 h 819"/>
                <a:gd name="T2" fmla="*/ 1526729097 w 674"/>
                <a:gd name="T3" fmla="*/ 1761916426 h 819"/>
                <a:gd name="T4" fmla="*/ 1526729097 w 674"/>
                <a:gd name="T5" fmla="*/ 1892482889 h 819"/>
                <a:gd name="T6" fmla="*/ 1483443497 w 674"/>
                <a:gd name="T7" fmla="*/ 1939529634 h 819"/>
                <a:gd name="T8" fmla="*/ 45037621 w 674"/>
                <a:gd name="T9" fmla="*/ 1939529634 h 819"/>
                <a:gd name="T10" fmla="*/ 2021131 w 674"/>
                <a:gd name="T11" fmla="*/ 1892482889 h 819"/>
                <a:gd name="T12" fmla="*/ 2021131 w 674"/>
                <a:gd name="T13" fmla="*/ 1747816468 h 819"/>
                <a:gd name="T14" fmla="*/ 4779945 w 674"/>
                <a:gd name="T15" fmla="*/ 1718918526 h 819"/>
                <a:gd name="T16" fmla="*/ 1173181872 w 674"/>
                <a:gd name="T17" fmla="*/ 224874255 h 819"/>
                <a:gd name="T18" fmla="*/ 67999529 w 674"/>
                <a:gd name="T19" fmla="*/ 224874255 h 819"/>
                <a:gd name="T20" fmla="*/ 23082570 w 674"/>
                <a:gd name="T21" fmla="*/ 177827380 h 819"/>
                <a:gd name="T22" fmla="*/ 23082570 w 674"/>
                <a:gd name="T23" fmla="*/ 39995312 h 819"/>
                <a:gd name="T24" fmla="*/ 67999529 w 674"/>
                <a:gd name="T25" fmla="*/ 0 h 819"/>
                <a:gd name="T26" fmla="*/ 1415437178 w 674"/>
                <a:gd name="T27" fmla="*/ 0 h 819"/>
                <a:gd name="T28" fmla="*/ 1460854109 w 674"/>
                <a:gd name="T29" fmla="*/ 45085377 h 819"/>
                <a:gd name="T30" fmla="*/ 1460854109 w 674"/>
                <a:gd name="T31" fmla="*/ 191701471 h 819"/>
                <a:gd name="T32" fmla="*/ 1458729657 w 674"/>
                <a:gd name="T33" fmla="*/ 205471911 h 819"/>
                <a:gd name="T34" fmla="*/ 1451728403 w 674"/>
                <a:gd name="T35" fmla="*/ 224874255 h 819"/>
                <a:gd name="T36" fmla="*/ 1453837196 w 674"/>
                <a:gd name="T37" fmla="*/ 220773085 h 819"/>
                <a:gd name="T38" fmla="*/ 298805398 w 674"/>
                <a:gd name="T39" fmla="*/ 1714655374 h 819"/>
                <a:gd name="T40" fmla="*/ 892477599 w 674"/>
                <a:gd name="T41" fmla="*/ 1714655374 h 819"/>
                <a:gd name="T42" fmla="*/ 1483443497 w 674"/>
                <a:gd name="T43" fmla="*/ 1714655374 h 819"/>
                <a:gd name="T44" fmla="*/ 901071203 w 674"/>
                <a:gd name="T45" fmla="*/ 1338067130 h 819"/>
                <a:gd name="T46" fmla="*/ 1485464242 w 674"/>
                <a:gd name="T47" fmla="*/ 1338067130 h 819"/>
                <a:gd name="T48" fmla="*/ 1526729097 w 674"/>
                <a:gd name="T49" fmla="*/ 1380181100 h 819"/>
                <a:gd name="T50" fmla="*/ 1526729097 w 674"/>
                <a:gd name="T51" fmla="*/ 1518014804 h 819"/>
                <a:gd name="T52" fmla="*/ 1485464242 w 674"/>
                <a:gd name="T53" fmla="*/ 1565124966 h 819"/>
                <a:gd name="T54" fmla="*/ 899479284 w 674"/>
                <a:gd name="T55" fmla="*/ 1565124966 h 819"/>
                <a:gd name="T56" fmla="*/ 858051680 w 674"/>
                <a:gd name="T57" fmla="*/ 1525126678 h 819"/>
                <a:gd name="T58" fmla="*/ 858051680 w 674"/>
                <a:gd name="T59" fmla="*/ 1385323779 h 819"/>
                <a:gd name="T60" fmla="*/ 872788267 w 674"/>
                <a:gd name="T61" fmla="*/ 1354121744 h 819"/>
                <a:gd name="T62" fmla="*/ 901071203 w 674"/>
                <a:gd name="T63" fmla="*/ 1338067130 h 81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74" h="819">
                  <a:moveTo>
                    <a:pt x="655" y="724"/>
                  </a:moveTo>
                  <a:cubicBezTo>
                    <a:pt x="654" y="724"/>
                    <a:pt x="674" y="721"/>
                    <a:pt x="674" y="744"/>
                  </a:cubicBezTo>
                  <a:cubicBezTo>
                    <a:pt x="674" y="799"/>
                    <a:pt x="674" y="799"/>
                    <a:pt x="674" y="799"/>
                  </a:cubicBezTo>
                  <a:cubicBezTo>
                    <a:pt x="674" y="809"/>
                    <a:pt x="666" y="819"/>
                    <a:pt x="655" y="819"/>
                  </a:cubicBezTo>
                  <a:cubicBezTo>
                    <a:pt x="20" y="819"/>
                    <a:pt x="20" y="819"/>
                    <a:pt x="20" y="819"/>
                  </a:cubicBezTo>
                  <a:cubicBezTo>
                    <a:pt x="10" y="819"/>
                    <a:pt x="0" y="811"/>
                    <a:pt x="1" y="799"/>
                  </a:cubicBezTo>
                  <a:cubicBezTo>
                    <a:pt x="1" y="738"/>
                    <a:pt x="1" y="738"/>
                    <a:pt x="1" y="738"/>
                  </a:cubicBezTo>
                  <a:cubicBezTo>
                    <a:pt x="0" y="735"/>
                    <a:pt x="2" y="730"/>
                    <a:pt x="2" y="726"/>
                  </a:cubicBezTo>
                  <a:cubicBezTo>
                    <a:pt x="518" y="95"/>
                    <a:pt x="518" y="95"/>
                    <a:pt x="518" y="95"/>
                  </a:cubicBezTo>
                  <a:cubicBezTo>
                    <a:pt x="30" y="95"/>
                    <a:pt x="30" y="95"/>
                    <a:pt x="30" y="95"/>
                  </a:cubicBezTo>
                  <a:cubicBezTo>
                    <a:pt x="15" y="95"/>
                    <a:pt x="10" y="88"/>
                    <a:pt x="10" y="75"/>
                  </a:cubicBezTo>
                  <a:cubicBezTo>
                    <a:pt x="10" y="17"/>
                    <a:pt x="10" y="17"/>
                    <a:pt x="10" y="17"/>
                  </a:cubicBezTo>
                  <a:cubicBezTo>
                    <a:pt x="10" y="5"/>
                    <a:pt x="15" y="0"/>
                    <a:pt x="30" y="0"/>
                  </a:cubicBezTo>
                  <a:cubicBezTo>
                    <a:pt x="625" y="0"/>
                    <a:pt x="625" y="0"/>
                    <a:pt x="625" y="0"/>
                  </a:cubicBezTo>
                  <a:cubicBezTo>
                    <a:pt x="637" y="0"/>
                    <a:pt x="645" y="6"/>
                    <a:pt x="645" y="19"/>
                  </a:cubicBezTo>
                  <a:cubicBezTo>
                    <a:pt x="645" y="81"/>
                    <a:pt x="645" y="81"/>
                    <a:pt x="645" y="81"/>
                  </a:cubicBezTo>
                  <a:cubicBezTo>
                    <a:pt x="645" y="82"/>
                    <a:pt x="645" y="85"/>
                    <a:pt x="644" y="87"/>
                  </a:cubicBezTo>
                  <a:cubicBezTo>
                    <a:pt x="641" y="95"/>
                    <a:pt x="641" y="95"/>
                    <a:pt x="641" y="95"/>
                  </a:cubicBezTo>
                  <a:cubicBezTo>
                    <a:pt x="642" y="93"/>
                    <a:pt x="642" y="93"/>
                    <a:pt x="642" y="93"/>
                  </a:cubicBezTo>
                  <a:cubicBezTo>
                    <a:pt x="132" y="724"/>
                    <a:pt x="132" y="724"/>
                    <a:pt x="132" y="724"/>
                  </a:cubicBezTo>
                  <a:cubicBezTo>
                    <a:pt x="394" y="724"/>
                    <a:pt x="394" y="724"/>
                    <a:pt x="394" y="724"/>
                  </a:cubicBezTo>
                  <a:lnTo>
                    <a:pt x="655" y="724"/>
                  </a:lnTo>
                  <a:close/>
                  <a:moveTo>
                    <a:pt x="398" y="565"/>
                  </a:moveTo>
                  <a:cubicBezTo>
                    <a:pt x="656" y="565"/>
                    <a:pt x="656" y="565"/>
                    <a:pt x="656" y="565"/>
                  </a:cubicBezTo>
                  <a:cubicBezTo>
                    <a:pt x="666" y="565"/>
                    <a:pt x="674" y="573"/>
                    <a:pt x="674" y="583"/>
                  </a:cubicBezTo>
                  <a:cubicBezTo>
                    <a:pt x="674" y="641"/>
                    <a:pt x="674" y="641"/>
                    <a:pt x="674" y="641"/>
                  </a:cubicBezTo>
                  <a:cubicBezTo>
                    <a:pt x="674" y="652"/>
                    <a:pt x="666" y="661"/>
                    <a:pt x="656" y="661"/>
                  </a:cubicBezTo>
                  <a:cubicBezTo>
                    <a:pt x="397" y="661"/>
                    <a:pt x="397" y="661"/>
                    <a:pt x="397" y="661"/>
                  </a:cubicBezTo>
                  <a:cubicBezTo>
                    <a:pt x="386" y="661"/>
                    <a:pt x="379" y="654"/>
                    <a:pt x="379" y="644"/>
                  </a:cubicBezTo>
                  <a:cubicBezTo>
                    <a:pt x="379" y="585"/>
                    <a:pt x="379" y="585"/>
                    <a:pt x="379" y="585"/>
                  </a:cubicBezTo>
                  <a:cubicBezTo>
                    <a:pt x="380" y="580"/>
                    <a:pt x="382" y="576"/>
                    <a:pt x="385" y="572"/>
                  </a:cubicBezTo>
                  <a:cubicBezTo>
                    <a:pt x="385" y="572"/>
                    <a:pt x="386" y="565"/>
                    <a:pt x="398" y="565"/>
                  </a:cubicBezTo>
                  <a:close/>
                </a:path>
              </a:pathLst>
            </a:custGeom>
            <a:solidFill>
              <a:srgbClr val="9EBE5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 name="Freeform 8">
              <a:extLst>
                <a:ext uri="{FF2B5EF4-FFF2-40B4-BE49-F238E27FC236}">
                  <a16:creationId xmlns:a16="http://schemas.microsoft.com/office/drawing/2014/main" id="{C9BECE6E-FE9E-F56C-5EBB-770A9D546F3C}"/>
                </a:ext>
              </a:extLst>
            </p:cNvPr>
            <p:cNvSpPr>
              <a:spLocks noEditPoints="1"/>
            </p:cNvSpPr>
            <p:nvPr userDrawn="1"/>
          </p:nvSpPr>
          <p:spPr bwMode="auto">
            <a:xfrm>
              <a:off x="4133" y="1189"/>
              <a:ext cx="986" cy="1105"/>
            </a:xfrm>
            <a:custGeom>
              <a:avLst/>
              <a:gdLst>
                <a:gd name="T0" fmla="*/ 26658435 w 417"/>
                <a:gd name="T1" fmla="*/ 1104057219 h 466"/>
                <a:gd name="T2" fmla="*/ 2016564 w 417"/>
                <a:gd name="T3" fmla="*/ 1084997487 h 466"/>
                <a:gd name="T4" fmla="*/ 2016564 w 417"/>
                <a:gd name="T5" fmla="*/ 1071148297 h 466"/>
                <a:gd name="T6" fmla="*/ 4768183 w 417"/>
                <a:gd name="T7" fmla="*/ 1065967725 h 466"/>
                <a:gd name="T8" fmla="*/ 440005146 w 417"/>
                <a:gd name="T9" fmla="*/ 19018883 h 466"/>
                <a:gd name="T10" fmla="*/ 471651445 w 417"/>
                <a:gd name="T11" fmla="*/ 0 h 466"/>
                <a:gd name="T12" fmla="*/ 476419656 w 417"/>
                <a:gd name="T13" fmla="*/ 0 h 466"/>
                <a:gd name="T14" fmla="*/ 505945896 w 417"/>
                <a:gd name="T15" fmla="*/ 21137875 h 466"/>
                <a:gd name="T16" fmla="*/ 612172944 w 417"/>
                <a:gd name="T17" fmla="*/ 284828039 h 466"/>
                <a:gd name="T18" fmla="*/ 833293680 w 417"/>
                <a:gd name="T19" fmla="*/ 805128453 h 466"/>
                <a:gd name="T20" fmla="*/ 939517011 w 417"/>
                <a:gd name="T21" fmla="*/ 1065967725 h 466"/>
                <a:gd name="T22" fmla="*/ 936767478 w 417"/>
                <a:gd name="T23" fmla="*/ 1065967725 h 466"/>
                <a:gd name="T24" fmla="*/ 941198430 w 417"/>
                <a:gd name="T25" fmla="*/ 1084997487 h 466"/>
                <a:gd name="T26" fmla="*/ 916425650 w 417"/>
                <a:gd name="T27" fmla="*/ 1104057219 h 466"/>
                <a:gd name="T28" fmla="*/ 26658435 w 417"/>
                <a:gd name="T29" fmla="*/ 1104057219 h 466"/>
                <a:gd name="T30" fmla="*/ 173692259 w 417"/>
                <a:gd name="T31" fmla="*/ 974102843 h 466"/>
                <a:gd name="T32" fmla="*/ 332252753 w 417"/>
                <a:gd name="T33" fmla="*/ 974102843 h 466"/>
                <a:gd name="T34" fmla="*/ 767506131 w 417"/>
                <a:gd name="T35" fmla="*/ 974102843 h 466"/>
                <a:gd name="T36" fmla="*/ 471651445 w 417"/>
                <a:gd name="T37" fmla="*/ 238808028 h 466"/>
                <a:gd name="T38" fmla="*/ 173692259 w 417"/>
                <a:gd name="T39" fmla="*/ 974102843 h 4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17" h="466">
                  <a:moveTo>
                    <a:pt x="12" y="466"/>
                  </a:moveTo>
                  <a:cubicBezTo>
                    <a:pt x="4" y="466"/>
                    <a:pt x="0" y="463"/>
                    <a:pt x="1" y="458"/>
                  </a:cubicBezTo>
                  <a:cubicBezTo>
                    <a:pt x="0" y="455"/>
                    <a:pt x="0" y="453"/>
                    <a:pt x="1" y="452"/>
                  </a:cubicBezTo>
                  <a:cubicBezTo>
                    <a:pt x="2" y="450"/>
                    <a:pt x="2" y="450"/>
                    <a:pt x="2" y="450"/>
                  </a:cubicBezTo>
                  <a:cubicBezTo>
                    <a:pt x="195" y="8"/>
                    <a:pt x="195" y="8"/>
                    <a:pt x="195" y="8"/>
                  </a:cubicBezTo>
                  <a:cubicBezTo>
                    <a:pt x="197" y="5"/>
                    <a:pt x="198" y="0"/>
                    <a:pt x="209" y="0"/>
                  </a:cubicBezTo>
                  <a:cubicBezTo>
                    <a:pt x="211" y="0"/>
                    <a:pt x="211" y="0"/>
                    <a:pt x="211" y="0"/>
                  </a:cubicBezTo>
                  <a:cubicBezTo>
                    <a:pt x="222" y="0"/>
                    <a:pt x="223" y="7"/>
                    <a:pt x="224" y="9"/>
                  </a:cubicBezTo>
                  <a:cubicBezTo>
                    <a:pt x="239" y="46"/>
                    <a:pt x="255" y="83"/>
                    <a:pt x="271" y="120"/>
                  </a:cubicBezTo>
                  <a:cubicBezTo>
                    <a:pt x="369" y="340"/>
                    <a:pt x="369" y="340"/>
                    <a:pt x="369" y="340"/>
                  </a:cubicBezTo>
                  <a:cubicBezTo>
                    <a:pt x="385" y="377"/>
                    <a:pt x="401" y="414"/>
                    <a:pt x="416" y="450"/>
                  </a:cubicBezTo>
                  <a:cubicBezTo>
                    <a:pt x="415" y="450"/>
                    <a:pt x="415" y="450"/>
                    <a:pt x="415" y="450"/>
                  </a:cubicBezTo>
                  <a:cubicBezTo>
                    <a:pt x="417" y="458"/>
                    <a:pt x="417" y="458"/>
                    <a:pt x="417" y="458"/>
                  </a:cubicBezTo>
                  <a:cubicBezTo>
                    <a:pt x="417" y="463"/>
                    <a:pt x="414" y="466"/>
                    <a:pt x="406" y="466"/>
                  </a:cubicBezTo>
                  <a:lnTo>
                    <a:pt x="12" y="466"/>
                  </a:lnTo>
                  <a:close/>
                  <a:moveTo>
                    <a:pt x="77" y="411"/>
                  </a:moveTo>
                  <a:cubicBezTo>
                    <a:pt x="147" y="411"/>
                    <a:pt x="147" y="411"/>
                    <a:pt x="147" y="411"/>
                  </a:cubicBezTo>
                  <a:cubicBezTo>
                    <a:pt x="340" y="411"/>
                    <a:pt x="340" y="411"/>
                    <a:pt x="340" y="411"/>
                  </a:cubicBezTo>
                  <a:cubicBezTo>
                    <a:pt x="209" y="101"/>
                    <a:pt x="209" y="101"/>
                    <a:pt x="209" y="101"/>
                  </a:cubicBezTo>
                  <a:lnTo>
                    <a:pt x="77" y="411"/>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9" name="Freeform 9">
              <a:extLst>
                <a:ext uri="{FF2B5EF4-FFF2-40B4-BE49-F238E27FC236}">
                  <a16:creationId xmlns:a16="http://schemas.microsoft.com/office/drawing/2014/main" id="{0B8628CA-33E3-7D46-7FEC-777205FC3723}"/>
                </a:ext>
              </a:extLst>
            </p:cNvPr>
            <p:cNvSpPr>
              <a:spLocks noEditPoints="1"/>
            </p:cNvSpPr>
            <p:nvPr userDrawn="1"/>
          </p:nvSpPr>
          <p:spPr bwMode="auto">
            <a:xfrm>
              <a:off x="5259" y="1187"/>
              <a:ext cx="941" cy="1107"/>
            </a:xfrm>
            <a:custGeom>
              <a:avLst/>
              <a:gdLst>
                <a:gd name="T0" fmla="*/ 897379222 w 398"/>
                <a:gd name="T1" fmla="*/ 30594420 h 467"/>
                <a:gd name="T2" fmla="*/ 890358234 w 398"/>
                <a:gd name="T3" fmla="*/ 1076168270 h 467"/>
                <a:gd name="T4" fmla="*/ 863748004 w 398"/>
                <a:gd name="T5" fmla="*/ 1100058818 h 467"/>
                <a:gd name="T6" fmla="*/ 771485685 w 398"/>
                <a:gd name="T7" fmla="*/ 1100058818 h 467"/>
                <a:gd name="T8" fmla="*/ 125893508 w 398"/>
                <a:gd name="T9" fmla="*/ 184128005 h 467"/>
                <a:gd name="T10" fmla="*/ 122136901 w 398"/>
                <a:gd name="T11" fmla="*/ 754173992 h 467"/>
                <a:gd name="T12" fmla="*/ 376580847 w 398"/>
                <a:gd name="T13" fmla="*/ 754173992 h 467"/>
                <a:gd name="T14" fmla="*/ 398430025 w 398"/>
                <a:gd name="T15" fmla="*/ 777275989 h 467"/>
                <a:gd name="T16" fmla="*/ 398430025 w 398"/>
                <a:gd name="T17" fmla="*/ 854743724 h 467"/>
                <a:gd name="T18" fmla="*/ 376580847 w 398"/>
                <a:gd name="T19" fmla="*/ 883384289 h 467"/>
                <a:gd name="T20" fmla="*/ 24536535 w 398"/>
                <a:gd name="T21" fmla="*/ 878310296 h 467"/>
                <a:gd name="T22" fmla="*/ 23013058 w 398"/>
                <a:gd name="T23" fmla="*/ 878310296 h 467"/>
                <a:gd name="T24" fmla="*/ 0 w 398"/>
                <a:gd name="T25" fmla="*/ 859366371 h 467"/>
                <a:gd name="T26" fmla="*/ 6865536 w 398"/>
                <a:gd name="T27" fmla="*/ 25974653 h 467"/>
                <a:gd name="T28" fmla="*/ 31374522 w 398"/>
                <a:gd name="T29" fmla="*/ 2072546 h 467"/>
                <a:gd name="T30" fmla="*/ 125893508 w 398"/>
                <a:gd name="T31" fmla="*/ 2072546 h 467"/>
                <a:gd name="T32" fmla="*/ 148746381 w 398"/>
                <a:gd name="T33" fmla="*/ 13823806 h 467"/>
                <a:gd name="T34" fmla="*/ 768580627 w 398"/>
                <a:gd name="T35" fmla="*/ 885333514 h 467"/>
                <a:gd name="T36" fmla="*/ 775022528 w 398"/>
                <a:gd name="T37" fmla="*/ 23886284 h 467"/>
                <a:gd name="T38" fmla="*/ 798083455 w 398"/>
                <a:gd name="T39" fmla="*/ 7074865 h 467"/>
                <a:gd name="T40" fmla="*/ 870741434 w 398"/>
                <a:gd name="T41" fmla="*/ 7074865 h 467"/>
                <a:gd name="T42" fmla="*/ 888769892 w 398"/>
                <a:gd name="T43" fmla="*/ 13823806 h 467"/>
                <a:gd name="T44" fmla="*/ 897379222 w 398"/>
                <a:gd name="T45" fmla="*/ 30594420 h 467"/>
                <a:gd name="T46" fmla="*/ 502483131 w 398"/>
                <a:gd name="T47" fmla="*/ 967923553 h 467"/>
                <a:gd name="T48" fmla="*/ 525479561 w 398"/>
                <a:gd name="T49" fmla="*/ 991784983 h 467"/>
                <a:gd name="T50" fmla="*/ 525479561 w 398"/>
                <a:gd name="T51" fmla="*/ 1069462303 h 467"/>
                <a:gd name="T52" fmla="*/ 502483131 w 398"/>
                <a:gd name="T53" fmla="*/ 1097986322 h 467"/>
                <a:gd name="T54" fmla="*/ 23013058 w 398"/>
                <a:gd name="T55" fmla="*/ 1097986322 h 467"/>
                <a:gd name="T56" fmla="*/ 0 w 398"/>
                <a:gd name="T57" fmla="*/ 1074095937 h 467"/>
                <a:gd name="T58" fmla="*/ 0 w 398"/>
                <a:gd name="T59" fmla="*/ 993579494 h 467"/>
                <a:gd name="T60" fmla="*/ 24536535 w 398"/>
                <a:gd name="T61" fmla="*/ 967923553 h 467"/>
                <a:gd name="T62" fmla="*/ 264174943 w 398"/>
                <a:gd name="T63" fmla="*/ 967923553 h 467"/>
                <a:gd name="T64" fmla="*/ 502483131 w 398"/>
                <a:gd name="T65" fmla="*/ 967923553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98" h="467">
                  <a:moveTo>
                    <a:pt x="398" y="13"/>
                  </a:moveTo>
                  <a:cubicBezTo>
                    <a:pt x="395" y="457"/>
                    <a:pt x="395" y="457"/>
                    <a:pt x="395" y="457"/>
                  </a:cubicBezTo>
                  <a:cubicBezTo>
                    <a:pt x="395" y="464"/>
                    <a:pt x="390" y="467"/>
                    <a:pt x="383" y="467"/>
                  </a:cubicBezTo>
                  <a:cubicBezTo>
                    <a:pt x="342" y="467"/>
                    <a:pt x="342" y="467"/>
                    <a:pt x="342" y="467"/>
                  </a:cubicBezTo>
                  <a:cubicBezTo>
                    <a:pt x="56" y="78"/>
                    <a:pt x="56" y="78"/>
                    <a:pt x="56" y="78"/>
                  </a:cubicBezTo>
                  <a:cubicBezTo>
                    <a:pt x="54" y="320"/>
                    <a:pt x="54" y="320"/>
                    <a:pt x="54" y="320"/>
                  </a:cubicBezTo>
                  <a:cubicBezTo>
                    <a:pt x="167" y="320"/>
                    <a:pt x="167" y="320"/>
                    <a:pt x="167" y="320"/>
                  </a:cubicBezTo>
                  <a:cubicBezTo>
                    <a:pt x="173" y="320"/>
                    <a:pt x="177" y="324"/>
                    <a:pt x="177" y="330"/>
                  </a:cubicBezTo>
                  <a:cubicBezTo>
                    <a:pt x="177" y="363"/>
                    <a:pt x="177" y="363"/>
                    <a:pt x="177" y="363"/>
                  </a:cubicBezTo>
                  <a:cubicBezTo>
                    <a:pt x="177" y="369"/>
                    <a:pt x="173" y="375"/>
                    <a:pt x="167" y="375"/>
                  </a:cubicBezTo>
                  <a:cubicBezTo>
                    <a:pt x="11" y="373"/>
                    <a:pt x="11" y="373"/>
                    <a:pt x="11" y="373"/>
                  </a:cubicBezTo>
                  <a:cubicBezTo>
                    <a:pt x="10" y="373"/>
                    <a:pt x="10" y="373"/>
                    <a:pt x="10" y="373"/>
                  </a:cubicBezTo>
                  <a:cubicBezTo>
                    <a:pt x="4" y="373"/>
                    <a:pt x="1" y="370"/>
                    <a:pt x="0" y="365"/>
                  </a:cubicBezTo>
                  <a:cubicBezTo>
                    <a:pt x="3" y="11"/>
                    <a:pt x="3" y="11"/>
                    <a:pt x="3" y="11"/>
                  </a:cubicBezTo>
                  <a:cubicBezTo>
                    <a:pt x="3" y="5"/>
                    <a:pt x="7" y="0"/>
                    <a:pt x="14" y="1"/>
                  </a:cubicBezTo>
                  <a:cubicBezTo>
                    <a:pt x="56" y="1"/>
                    <a:pt x="56" y="1"/>
                    <a:pt x="56" y="1"/>
                  </a:cubicBezTo>
                  <a:cubicBezTo>
                    <a:pt x="60" y="1"/>
                    <a:pt x="64" y="3"/>
                    <a:pt x="66" y="6"/>
                  </a:cubicBezTo>
                  <a:cubicBezTo>
                    <a:pt x="341" y="376"/>
                    <a:pt x="341" y="376"/>
                    <a:pt x="341" y="376"/>
                  </a:cubicBezTo>
                  <a:cubicBezTo>
                    <a:pt x="344" y="10"/>
                    <a:pt x="344" y="10"/>
                    <a:pt x="344" y="10"/>
                  </a:cubicBezTo>
                  <a:cubicBezTo>
                    <a:pt x="345" y="5"/>
                    <a:pt x="349" y="3"/>
                    <a:pt x="354" y="3"/>
                  </a:cubicBezTo>
                  <a:cubicBezTo>
                    <a:pt x="386" y="3"/>
                    <a:pt x="386" y="3"/>
                    <a:pt x="386" y="3"/>
                  </a:cubicBezTo>
                  <a:cubicBezTo>
                    <a:pt x="389" y="3"/>
                    <a:pt x="391" y="4"/>
                    <a:pt x="394" y="6"/>
                  </a:cubicBezTo>
                  <a:cubicBezTo>
                    <a:pt x="396" y="7"/>
                    <a:pt x="398" y="10"/>
                    <a:pt x="398" y="13"/>
                  </a:cubicBezTo>
                  <a:close/>
                  <a:moveTo>
                    <a:pt x="223" y="411"/>
                  </a:moveTo>
                  <a:cubicBezTo>
                    <a:pt x="229" y="411"/>
                    <a:pt x="233" y="415"/>
                    <a:pt x="233" y="421"/>
                  </a:cubicBezTo>
                  <a:cubicBezTo>
                    <a:pt x="233" y="454"/>
                    <a:pt x="233" y="454"/>
                    <a:pt x="233" y="454"/>
                  </a:cubicBezTo>
                  <a:cubicBezTo>
                    <a:pt x="233" y="460"/>
                    <a:pt x="230" y="466"/>
                    <a:pt x="223" y="466"/>
                  </a:cubicBezTo>
                  <a:cubicBezTo>
                    <a:pt x="10" y="466"/>
                    <a:pt x="10" y="466"/>
                    <a:pt x="10" y="466"/>
                  </a:cubicBezTo>
                  <a:cubicBezTo>
                    <a:pt x="4" y="466"/>
                    <a:pt x="0" y="462"/>
                    <a:pt x="0" y="456"/>
                  </a:cubicBezTo>
                  <a:cubicBezTo>
                    <a:pt x="0" y="422"/>
                    <a:pt x="0" y="422"/>
                    <a:pt x="0" y="422"/>
                  </a:cubicBezTo>
                  <a:cubicBezTo>
                    <a:pt x="0" y="416"/>
                    <a:pt x="4" y="411"/>
                    <a:pt x="11" y="411"/>
                  </a:cubicBezTo>
                  <a:cubicBezTo>
                    <a:pt x="117" y="411"/>
                    <a:pt x="117" y="411"/>
                    <a:pt x="117" y="411"/>
                  </a:cubicBezTo>
                  <a:lnTo>
                    <a:pt x="223" y="411"/>
                  </a:lnTo>
                  <a:close/>
                </a:path>
              </a:pathLst>
            </a:custGeom>
            <a:solidFill>
              <a:srgbClr val="C03B2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0" name="Freeform 10">
              <a:extLst>
                <a:ext uri="{FF2B5EF4-FFF2-40B4-BE49-F238E27FC236}">
                  <a16:creationId xmlns:a16="http://schemas.microsoft.com/office/drawing/2014/main" id="{09446915-4A0C-2059-7F0B-BBD4E43FA78D}"/>
                </a:ext>
              </a:extLst>
            </p:cNvPr>
            <p:cNvSpPr>
              <a:spLocks noEditPoints="1"/>
            </p:cNvSpPr>
            <p:nvPr userDrawn="1"/>
          </p:nvSpPr>
          <p:spPr bwMode="auto">
            <a:xfrm>
              <a:off x="6280" y="1189"/>
              <a:ext cx="1102" cy="1105"/>
            </a:xfrm>
            <a:custGeom>
              <a:avLst/>
              <a:gdLst>
                <a:gd name="T0" fmla="*/ 154128366 w 466"/>
                <a:gd name="T1" fmla="*/ 943010351 h 466"/>
                <a:gd name="T2" fmla="*/ 0 w 466"/>
                <a:gd name="T3" fmla="*/ 552442640 h 466"/>
                <a:gd name="T4" fmla="*/ 154128366 w 466"/>
                <a:gd name="T5" fmla="*/ 163833771 h 466"/>
                <a:gd name="T6" fmla="*/ 527029454 w 466"/>
                <a:gd name="T7" fmla="*/ 0 h 466"/>
                <a:gd name="T8" fmla="*/ 900145882 w 466"/>
                <a:gd name="T9" fmla="*/ 163833771 h 466"/>
                <a:gd name="T10" fmla="*/ 1054209675 w 466"/>
                <a:gd name="T11" fmla="*/ 552442640 h 466"/>
                <a:gd name="T12" fmla="*/ 900145882 w 466"/>
                <a:gd name="T13" fmla="*/ 943010351 h 466"/>
                <a:gd name="T14" fmla="*/ 527029454 w 466"/>
                <a:gd name="T15" fmla="*/ 1104057219 h 466"/>
                <a:gd name="T16" fmla="*/ 154128366 w 466"/>
                <a:gd name="T17" fmla="*/ 943010351 h 466"/>
                <a:gd name="T18" fmla="*/ 237118879 w 466"/>
                <a:gd name="T19" fmla="*/ 248554821 h 466"/>
                <a:gd name="T20" fmla="*/ 117706387 w 466"/>
                <a:gd name="T21" fmla="*/ 552442640 h 466"/>
                <a:gd name="T22" fmla="*/ 237118879 w 466"/>
                <a:gd name="T23" fmla="*/ 855407497 h 466"/>
                <a:gd name="T24" fmla="*/ 527029454 w 466"/>
                <a:gd name="T25" fmla="*/ 983016883 h 466"/>
                <a:gd name="T26" fmla="*/ 817155276 w 466"/>
                <a:gd name="T27" fmla="*/ 855407497 h 466"/>
                <a:gd name="T28" fmla="*/ 938406617 w 466"/>
                <a:gd name="T29" fmla="*/ 552442640 h 466"/>
                <a:gd name="T30" fmla="*/ 817155276 w 466"/>
                <a:gd name="T31" fmla="*/ 248554821 h 466"/>
                <a:gd name="T32" fmla="*/ 527029454 w 466"/>
                <a:gd name="T33" fmla="*/ 121039414 h 466"/>
                <a:gd name="T34" fmla="*/ 237118879 w 466"/>
                <a:gd name="T35" fmla="*/ 248554821 h 4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6" h="466">
                  <a:moveTo>
                    <a:pt x="68" y="398"/>
                  </a:moveTo>
                  <a:cubicBezTo>
                    <a:pt x="24" y="354"/>
                    <a:pt x="2" y="299"/>
                    <a:pt x="0" y="233"/>
                  </a:cubicBezTo>
                  <a:cubicBezTo>
                    <a:pt x="2" y="167"/>
                    <a:pt x="24" y="112"/>
                    <a:pt x="68" y="69"/>
                  </a:cubicBezTo>
                  <a:cubicBezTo>
                    <a:pt x="112" y="24"/>
                    <a:pt x="167" y="2"/>
                    <a:pt x="233" y="0"/>
                  </a:cubicBezTo>
                  <a:cubicBezTo>
                    <a:pt x="299" y="2"/>
                    <a:pt x="354" y="24"/>
                    <a:pt x="398" y="69"/>
                  </a:cubicBezTo>
                  <a:cubicBezTo>
                    <a:pt x="442" y="112"/>
                    <a:pt x="465" y="167"/>
                    <a:pt x="466" y="233"/>
                  </a:cubicBezTo>
                  <a:cubicBezTo>
                    <a:pt x="465" y="299"/>
                    <a:pt x="442" y="354"/>
                    <a:pt x="398" y="398"/>
                  </a:cubicBezTo>
                  <a:cubicBezTo>
                    <a:pt x="354" y="441"/>
                    <a:pt x="299" y="464"/>
                    <a:pt x="233" y="466"/>
                  </a:cubicBezTo>
                  <a:cubicBezTo>
                    <a:pt x="167" y="464"/>
                    <a:pt x="112" y="441"/>
                    <a:pt x="68" y="398"/>
                  </a:cubicBezTo>
                  <a:close/>
                  <a:moveTo>
                    <a:pt x="105" y="105"/>
                  </a:moveTo>
                  <a:cubicBezTo>
                    <a:pt x="70" y="139"/>
                    <a:pt x="53" y="181"/>
                    <a:pt x="52" y="233"/>
                  </a:cubicBezTo>
                  <a:cubicBezTo>
                    <a:pt x="53" y="284"/>
                    <a:pt x="70" y="327"/>
                    <a:pt x="105" y="361"/>
                  </a:cubicBezTo>
                  <a:cubicBezTo>
                    <a:pt x="139" y="395"/>
                    <a:pt x="181" y="413"/>
                    <a:pt x="233" y="415"/>
                  </a:cubicBezTo>
                  <a:cubicBezTo>
                    <a:pt x="284" y="413"/>
                    <a:pt x="327" y="395"/>
                    <a:pt x="361" y="361"/>
                  </a:cubicBezTo>
                  <a:cubicBezTo>
                    <a:pt x="395" y="327"/>
                    <a:pt x="413" y="284"/>
                    <a:pt x="415" y="233"/>
                  </a:cubicBezTo>
                  <a:cubicBezTo>
                    <a:pt x="413" y="181"/>
                    <a:pt x="395" y="139"/>
                    <a:pt x="361" y="105"/>
                  </a:cubicBezTo>
                  <a:cubicBezTo>
                    <a:pt x="327" y="71"/>
                    <a:pt x="284" y="53"/>
                    <a:pt x="233" y="51"/>
                  </a:cubicBezTo>
                  <a:cubicBezTo>
                    <a:pt x="181" y="53"/>
                    <a:pt x="139" y="71"/>
                    <a:pt x="105" y="105"/>
                  </a:cubicBezTo>
                  <a:close/>
                </a:path>
              </a:pathLst>
            </a:custGeom>
            <a:solidFill>
              <a:srgbClr val="64324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1" name="Freeform 11">
              <a:extLst>
                <a:ext uri="{FF2B5EF4-FFF2-40B4-BE49-F238E27FC236}">
                  <a16:creationId xmlns:a16="http://schemas.microsoft.com/office/drawing/2014/main" id="{51A9A502-A2A7-8ED8-EC62-2972FFFFFB06}"/>
                </a:ext>
              </a:extLst>
            </p:cNvPr>
            <p:cNvSpPr>
              <a:spLocks noEditPoints="1"/>
            </p:cNvSpPr>
            <p:nvPr userDrawn="1"/>
          </p:nvSpPr>
          <p:spPr bwMode="auto">
            <a:xfrm>
              <a:off x="4230" y="2552"/>
              <a:ext cx="334" cy="551"/>
            </a:xfrm>
            <a:custGeom>
              <a:avLst/>
              <a:gdLst>
                <a:gd name="T0" fmla="*/ 0 w 334"/>
                <a:gd name="T1" fmla="*/ 0 h 551"/>
                <a:gd name="T2" fmla="*/ 334 w 334"/>
                <a:gd name="T3" fmla="*/ 0 h 551"/>
                <a:gd name="T4" fmla="*/ 334 w 334"/>
                <a:gd name="T5" fmla="*/ 31 h 551"/>
                <a:gd name="T6" fmla="*/ 0 w 334"/>
                <a:gd name="T7" fmla="*/ 31 h 551"/>
                <a:gd name="T8" fmla="*/ 0 w 334"/>
                <a:gd name="T9" fmla="*/ 0 h 551"/>
                <a:gd name="T10" fmla="*/ 156 w 334"/>
                <a:gd name="T11" fmla="*/ 50 h 551"/>
                <a:gd name="T12" fmla="*/ 156 w 334"/>
                <a:gd name="T13" fmla="*/ 551 h 551"/>
                <a:gd name="T14" fmla="*/ 128 w 334"/>
                <a:gd name="T15" fmla="*/ 551 h 551"/>
                <a:gd name="T16" fmla="*/ 128 w 334"/>
                <a:gd name="T17" fmla="*/ 79 h 551"/>
                <a:gd name="T18" fmla="*/ 0 w 334"/>
                <a:gd name="T19" fmla="*/ 79 h 551"/>
                <a:gd name="T20" fmla="*/ 0 w 334"/>
                <a:gd name="T21" fmla="*/ 50 h 551"/>
                <a:gd name="T22" fmla="*/ 156 w 334"/>
                <a:gd name="T23" fmla="*/ 50 h 551"/>
                <a:gd name="T24" fmla="*/ 334 w 334"/>
                <a:gd name="T25" fmla="*/ 50 h 551"/>
                <a:gd name="T26" fmla="*/ 334 w 334"/>
                <a:gd name="T27" fmla="*/ 79 h 551"/>
                <a:gd name="T28" fmla="*/ 206 w 334"/>
                <a:gd name="T29" fmla="*/ 79 h 551"/>
                <a:gd name="T30" fmla="*/ 206 w 334"/>
                <a:gd name="T31" fmla="*/ 551 h 551"/>
                <a:gd name="T32" fmla="*/ 175 w 334"/>
                <a:gd name="T33" fmla="*/ 551 h 551"/>
                <a:gd name="T34" fmla="*/ 175 w 334"/>
                <a:gd name="T35" fmla="*/ 50 h 551"/>
                <a:gd name="T36" fmla="*/ 334 w 334"/>
                <a:gd name="T37" fmla="*/ 50 h 5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34" h="551">
                  <a:moveTo>
                    <a:pt x="0" y="0"/>
                  </a:moveTo>
                  <a:lnTo>
                    <a:pt x="334" y="0"/>
                  </a:lnTo>
                  <a:lnTo>
                    <a:pt x="334" y="31"/>
                  </a:lnTo>
                  <a:lnTo>
                    <a:pt x="0" y="31"/>
                  </a:lnTo>
                  <a:lnTo>
                    <a:pt x="0" y="0"/>
                  </a:lnTo>
                  <a:close/>
                  <a:moveTo>
                    <a:pt x="156" y="50"/>
                  </a:moveTo>
                  <a:lnTo>
                    <a:pt x="156" y="551"/>
                  </a:lnTo>
                  <a:lnTo>
                    <a:pt x="128" y="551"/>
                  </a:lnTo>
                  <a:lnTo>
                    <a:pt x="128" y="79"/>
                  </a:lnTo>
                  <a:lnTo>
                    <a:pt x="0" y="79"/>
                  </a:lnTo>
                  <a:lnTo>
                    <a:pt x="0" y="50"/>
                  </a:lnTo>
                  <a:lnTo>
                    <a:pt x="156" y="50"/>
                  </a:lnTo>
                  <a:close/>
                  <a:moveTo>
                    <a:pt x="334" y="50"/>
                  </a:moveTo>
                  <a:lnTo>
                    <a:pt x="334" y="79"/>
                  </a:lnTo>
                  <a:lnTo>
                    <a:pt x="206" y="79"/>
                  </a:lnTo>
                  <a:lnTo>
                    <a:pt x="206" y="551"/>
                  </a:lnTo>
                  <a:lnTo>
                    <a:pt x="175" y="551"/>
                  </a:lnTo>
                  <a:lnTo>
                    <a:pt x="175" y="50"/>
                  </a:lnTo>
                  <a:lnTo>
                    <a:pt x="334" y="50"/>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12">
              <a:extLst>
                <a:ext uri="{FF2B5EF4-FFF2-40B4-BE49-F238E27FC236}">
                  <a16:creationId xmlns:a16="http://schemas.microsoft.com/office/drawing/2014/main" id="{E70930FF-560D-25B2-BD57-F840600462DF}"/>
                </a:ext>
              </a:extLst>
            </p:cNvPr>
            <p:cNvSpPr>
              <a:spLocks noEditPoints="1"/>
            </p:cNvSpPr>
            <p:nvPr userDrawn="1"/>
          </p:nvSpPr>
          <p:spPr bwMode="auto">
            <a:xfrm>
              <a:off x="4599" y="2552"/>
              <a:ext cx="312" cy="551"/>
            </a:xfrm>
            <a:custGeom>
              <a:avLst/>
              <a:gdLst>
                <a:gd name="T0" fmla="*/ 295891719 w 132"/>
                <a:gd name="T1" fmla="*/ 0 h 232"/>
                <a:gd name="T2" fmla="*/ 295891719 w 132"/>
                <a:gd name="T3" fmla="*/ 31976658 h 232"/>
                <a:gd name="T4" fmla="*/ 111981461 w 132"/>
                <a:gd name="T5" fmla="*/ 31976658 h 232"/>
                <a:gd name="T6" fmla="*/ 51443210 w 132"/>
                <a:gd name="T7" fmla="*/ 58299493 h 232"/>
                <a:gd name="T8" fmla="*/ 26510905 w 132"/>
                <a:gd name="T9" fmla="*/ 122107630 h 232"/>
                <a:gd name="T10" fmla="*/ 26510905 w 132"/>
                <a:gd name="T11" fmla="*/ 442759715 h 232"/>
                <a:gd name="T12" fmla="*/ 51443210 w 132"/>
                <a:gd name="T13" fmla="*/ 508305993 h 232"/>
                <a:gd name="T14" fmla="*/ 111981461 w 132"/>
                <a:gd name="T15" fmla="*/ 535913430 h 232"/>
                <a:gd name="T16" fmla="*/ 295891719 w 132"/>
                <a:gd name="T17" fmla="*/ 535913430 h 232"/>
                <a:gd name="T18" fmla="*/ 295891719 w 132"/>
                <a:gd name="T19" fmla="*/ 564828430 h 232"/>
                <a:gd name="T20" fmla="*/ 111981461 w 132"/>
                <a:gd name="T21" fmla="*/ 564828430 h 232"/>
                <a:gd name="T22" fmla="*/ 33265636 w 132"/>
                <a:gd name="T23" fmla="*/ 527724589 h 232"/>
                <a:gd name="T24" fmla="*/ 0 w 132"/>
                <a:gd name="T25" fmla="*/ 442759715 h 232"/>
                <a:gd name="T26" fmla="*/ 0 w 132"/>
                <a:gd name="T27" fmla="*/ 122107630 h 232"/>
                <a:gd name="T28" fmla="*/ 33265636 w 132"/>
                <a:gd name="T29" fmla="*/ 37103839 h 232"/>
                <a:gd name="T30" fmla="*/ 111981461 w 132"/>
                <a:gd name="T31" fmla="*/ 0 h 232"/>
                <a:gd name="T32" fmla="*/ 295891719 w 132"/>
                <a:gd name="T33" fmla="*/ 0 h 232"/>
                <a:gd name="T34" fmla="*/ 47376772 w 132"/>
                <a:gd name="T35" fmla="*/ 122107630 h 232"/>
                <a:gd name="T36" fmla="*/ 65404189 w 132"/>
                <a:gd name="T37" fmla="*/ 70832843 h 232"/>
                <a:gd name="T38" fmla="*/ 111981461 w 132"/>
                <a:gd name="T39" fmla="*/ 51413739 h 232"/>
                <a:gd name="T40" fmla="*/ 295891719 w 132"/>
                <a:gd name="T41" fmla="*/ 51413739 h 232"/>
                <a:gd name="T42" fmla="*/ 295891719 w 132"/>
                <a:gd name="T43" fmla="*/ 79781492 h 232"/>
                <a:gd name="T44" fmla="*/ 111981461 w 132"/>
                <a:gd name="T45" fmla="*/ 79781492 h 232"/>
                <a:gd name="T46" fmla="*/ 85443339 w 132"/>
                <a:gd name="T47" fmla="*/ 92335711 h 232"/>
                <a:gd name="T48" fmla="*/ 73893437 w 132"/>
                <a:gd name="T49" fmla="*/ 122107630 h 232"/>
                <a:gd name="T50" fmla="*/ 73893437 w 132"/>
                <a:gd name="T51" fmla="*/ 202009418 h 232"/>
                <a:gd name="T52" fmla="*/ 295891719 w 132"/>
                <a:gd name="T53" fmla="*/ 202009418 h 232"/>
                <a:gd name="T54" fmla="*/ 295891719 w 132"/>
                <a:gd name="T55" fmla="*/ 233836064 h 232"/>
                <a:gd name="T56" fmla="*/ 47376772 w 132"/>
                <a:gd name="T57" fmla="*/ 233836064 h 232"/>
                <a:gd name="T58" fmla="*/ 47376772 w 132"/>
                <a:gd name="T59" fmla="*/ 122107630 h 232"/>
                <a:gd name="T60" fmla="*/ 47376772 w 132"/>
                <a:gd name="T61" fmla="*/ 253283286 h 232"/>
                <a:gd name="T62" fmla="*/ 295891719 w 132"/>
                <a:gd name="T63" fmla="*/ 253283286 h 232"/>
                <a:gd name="T64" fmla="*/ 295891719 w 132"/>
                <a:gd name="T65" fmla="*/ 283050061 h 232"/>
                <a:gd name="T66" fmla="*/ 73893437 w 132"/>
                <a:gd name="T67" fmla="*/ 283050061 h 232"/>
                <a:gd name="T68" fmla="*/ 73893437 w 132"/>
                <a:gd name="T69" fmla="*/ 442759715 h 232"/>
                <a:gd name="T70" fmla="*/ 85443339 w 132"/>
                <a:gd name="T71" fmla="*/ 472485538 h 232"/>
                <a:gd name="T72" fmla="*/ 111981461 w 132"/>
                <a:gd name="T73" fmla="*/ 484506888 h 232"/>
                <a:gd name="T74" fmla="*/ 295891719 w 132"/>
                <a:gd name="T75" fmla="*/ 484506888 h 232"/>
                <a:gd name="T76" fmla="*/ 295891719 w 132"/>
                <a:gd name="T77" fmla="*/ 513431020 h 232"/>
                <a:gd name="T78" fmla="*/ 111981461 w 132"/>
                <a:gd name="T79" fmla="*/ 513431020 h 232"/>
                <a:gd name="T80" fmla="*/ 65404189 w 132"/>
                <a:gd name="T81" fmla="*/ 494012295 h 232"/>
                <a:gd name="T82" fmla="*/ 47376772 w 132"/>
                <a:gd name="T83" fmla="*/ 442759715 h 232"/>
                <a:gd name="T84" fmla="*/ 47376772 w 132"/>
                <a:gd name="T85" fmla="*/ 253283286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132" y="0"/>
                  </a:moveTo>
                  <a:cubicBezTo>
                    <a:pt x="132" y="13"/>
                    <a:pt x="132" y="13"/>
                    <a:pt x="132" y="13"/>
                  </a:cubicBezTo>
                  <a:cubicBezTo>
                    <a:pt x="50" y="13"/>
                    <a:pt x="50" y="13"/>
                    <a:pt x="50" y="13"/>
                  </a:cubicBezTo>
                  <a:cubicBezTo>
                    <a:pt x="39" y="13"/>
                    <a:pt x="31" y="16"/>
                    <a:pt x="23" y="24"/>
                  </a:cubicBezTo>
                  <a:cubicBezTo>
                    <a:pt x="16" y="31"/>
                    <a:pt x="12" y="40"/>
                    <a:pt x="12" y="50"/>
                  </a:cubicBezTo>
                  <a:cubicBezTo>
                    <a:pt x="12" y="182"/>
                    <a:pt x="12" y="182"/>
                    <a:pt x="12" y="182"/>
                  </a:cubicBezTo>
                  <a:cubicBezTo>
                    <a:pt x="12" y="193"/>
                    <a:pt x="16" y="201"/>
                    <a:pt x="23" y="209"/>
                  </a:cubicBezTo>
                  <a:cubicBezTo>
                    <a:pt x="31" y="216"/>
                    <a:pt x="39" y="220"/>
                    <a:pt x="50" y="220"/>
                  </a:cubicBezTo>
                  <a:cubicBezTo>
                    <a:pt x="132" y="220"/>
                    <a:pt x="132" y="220"/>
                    <a:pt x="132" y="220"/>
                  </a:cubicBezTo>
                  <a:cubicBezTo>
                    <a:pt x="132" y="232"/>
                    <a:pt x="132" y="232"/>
                    <a:pt x="132" y="232"/>
                  </a:cubicBezTo>
                  <a:cubicBezTo>
                    <a:pt x="50" y="232"/>
                    <a:pt x="50" y="232"/>
                    <a:pt x="50" y="232"/>
                  </a:cubicBezTo>
                  <a:cubicBezTo>
                    <a:pt x="36" y="232"/>
                    <a:pt x="24" y="227"/>
                    <a:pt x="15" y="217"/>
                  </a:cubicBezTo>
                  <a:cubicBezTo>
                    <a:pt x="5" y="208"/>
                    <a:pt x="0" y="196"/>
                    <a:pt x="0" y="182"/>
                  </a:cubicBezTo>
                  <a:cubicBezTo>
                    <a:pt x="0" y="50"/>
                    <a:pt x="0" y="50"/>
                    <a:pt x="0" y="50"/>
                  </a:cubicBezTo>
                  <a:cubicBezTo>
                    <a:pt x="0" y="36"/>
                    <a:pt x="5" y="25"/>
                    <a:pt x="15" y="15"/>
                  </a:cubicBezTo>
                  <a:cubicBezTo>
                    <a:pt x="24" y="5"/>
                    <a:pt x="36" y="0"/>
                    <a:pt x="50" y="0"/>
                  </a:cubicBezTo>
                  <a:lnTo>
                    <a:pt x="132" y="0"/>
                  </a:lnTo>
                  <a:close/>
                  <a:moveTo>
                    <a:pt x="21" y="50"/>
                  </a:moveTo>
                  <a:cubicBezTo>
                    <a:pt x="21" y="42"/>
                    <a:pt x="24" y="35"/>
                    <a:pt x="29" y="29"/>
                  </a:cubicBezTo>
                  <a:cubicBezTo>
                    <a:pt x="35" y="24"/>
                    <a:pt x="42" y="21"/>
                    <a:pt x="50" y="21"/>
                  </a:cubicBezTo>
                  <a:cubicBezTo>
                    <a:pt x="132" y="21"/>
                    <a:pt x="132" y="21"/>
                    <a:pt x="132" y="21"/>
                  </a:cubicBezTo>
                  <a:cubicBezTo>
                    <a:pt x="132" y="33"/>
                    <a:pt x="132" y="33"/>
                    <a:pt x="132" y="33"/>
                  </a:cubicBezTo>
                  <a:cubicBezTo>
                    <a:pt x="50" y="33"/>
                    <a:pt x="50" y="33"/>
                    <a:pt x="50" y="33"/>
                  </a:cubicBezTo>
                  <a:cubicBezTo>
                    <a:pt x="45" y="33"/>
                    <a:pt x="41" y="35"/>
                    <a:pt x="38" y="38"/>
                  </a:cubicBezTo>
                  <a:cubicBezTo>
                    <a:pt x="35" y="42"/>
                    <a:pt x="33" y="45"/>
                    <a:pt x="33" y="50"/>
                  </a:cubicBezTo>
                  <a:cubicBezTo>
                    <a:pt x="33" y="83"/>
                    <a:pt x="33" y="83"/>
                    <a:pt x="33" y="83"/>
                  </a:cubicBezTo>
                  <a:cubicBezTo>
                    <a:pt x="132" y="83"/>
                    <a:pt x="132" y="83"/>
                    <a:pt x="132" y="83"/>
                  </a:cubicBezTo>
                  <a:cubicBezTo>
                    <a:pt x="132" y="96"/>
                    <a:pt x="132" y="96"/>
                    <a:pt x="132" y="96"/>
                  </a:cubicBezTo>
                  <a:cubicBezTo>
                    <a:pt x="21" y="96"/>
                    <a:pt x="21" y="96"/>
                    <a:pt x="21" y="96"/>
                  </a:cubicBezTo>
                  <a:lnTo>
                    <a:pt x="21" y="50"/>
                  </a:lnTo>
                  <a:close/>
                  <a:moveTo>
                    <a:pt x="21" y="104"/>
                  </a:moveTo>
                  <a:cubicBezTo>
                    <a:pt x="132" y="104"/>
                    <a:pt x="132" y="104"/>
                    <a:pt x="132" y="104"/>
                  </a:cubicBezTo>
                  <a:cubicBezTo>
                    <a:pt x="132" y="116"/>
                    <a:pt x="132" y="116"/>
                    <a:pt x="132" y="116"/>
                  </a:cubicBezTo>
                  <a:cubicBezTo>
                    <a:pt x="33" y="116"/>
                    <a:pt x="33" y="116"/>
                    <a:pt x="33" y="116"/>
                  </a:cubicBezTo>
                  <a:cubicBezTo>
                    <a:pt x="33" y="182"/>
                    <a:pt x="33" y="182"/>
                    <a:pt x="33" y="182"/>
                  </a:cubicBezTo>
                  <a:cubicBezTo>
                    <a:pt x="33" y="187"/>
                    <a:pt x="35" y="191"/>
                    <a:pt x="38" y="194"/>
                  </a:cubicBezTo>
                  <a:cubicBezTo>
                    <a:pt x="41" y="197"/>
                    <a:pt x="45" y="199"/>
                    <a:pt x="50" y="199"/>
                  </a:cubicBezTo>
                  <a:cubicBezTo>
                    <a:pt x="132" y="199"/>
                    <a:pt x="132" y="199"/>
                    <a:pt x="132" y="199"/>
                  </a:cubicBezTo>
                  <a:cubicBezTo>
                    <a:pt x="132" y="211"/>
                    <a:pt x="132" y="211"/>
                    <a:pt x="132" y="211"/>
                  </a:cubicBezTo>
                  <a:cubicBezTo>
                    <a:pt x="50" y="211"/>
                    <a:pt x="50" y="211"/>
                    <a:pt x="50" y="211"/>
                  </a:cubicBezTo>
                  <a:cubicBezTo>
                    <a:pt x="42" y="211"/>
                    <a:pt x="35" y="209"/>
                    <a:pt x="29" y="203"/>
                  </a:cubicBezTo>
                  <a:cubicBezTo>
                    <a:pt x="24" y="197"/>
                    <a:pt x="21" y="190"/>
                    <a:pt x="21" y="182"/>
                  </a:cubicBezTo>
                  <a:lnTo>
                    <a:pt x="21" y="104"/>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3" name="Freeform 13">
              <a:extLst>
                <a:ext uri="{FF2B5EF4-FFF2-40B4-BE49-F238E27FC236}">
                  <a16:creationId xmlns:a16="http://schemas.microsoft.com/office/drawing/2014/main" id="{7BC88232-1AAE-54AA-79F3-5F52734BD254}"/>
                </a:ext>
              </a:extLst>
            </p:cNvPr>
            <p:cNvSpPr>
              <a:spLocks noEditPoints="1"/>
            </p:cNvSpPr>
            <p:nvPr userDrawn="1"/>
          </p:nvSpPr>
          <p:spPr bwMode="auto">
            <a:xfrm>
              <a:off x="4958" y="2552"/>
              <a:ext cx="391" cy="551"/>
            </a:xfrm>
            <a:custGeom>
              <a:avLst/>
              <a:gdLst>
                <a:gd name="T0" fmla="*/ 309548631 w 165"/>
                <a:gd name="T1" fmla="*/ 0 h 232"/>
                <a:gd name="T2" fmla="*/ 363029971 w 165"/>
                <a:gd name="T3" fmla="*/ 24547155 h 232"/>
                <a:gd name="T4" fmla="*/ 386832786 w 165"/>
                <a:gd name="T5" fmla="*/ 79781492 h 232"/>
                <a:gd name="T6" fmla="*/ 386832786 w 165"/>
                <a:gd name="T7" fmla="*/ 564828430 h 232"/>
                <a:gd name="T8" fmla="*/ 358797870 w 165"/>
                <a:gd name="T9" fmla="*/ 564828430 h 232"/>
                <a:gd name="T10" fmla="*/ 358797870 w 165"/>
                <a:gd name="T11" fmla="*/ 79781492 h 232"/>
                <a:gd name="T12" fmla="*/ 344252405 w 165"/>
                <a:gd name="T13" fmla="*/ 46120372 h 232"/>
                <a:gd name="T14" fmla="*/ 309548631 w 165"/>
                <a:gd name="T15" fmla="*/ 31976658 h 232"/>
                <a:gd name="T16" fmla="*/ 77129169 w 165"/>
                <a:gd name="T17" fmla="*/ 31976658 h 232"/>
                <a:gd name="T18" fmla="*/ 42581549 w 165"/>
                <a:gd name="T19" fmla="*/ 46120372 h 232"/>
                <a:gd name="T20" fmla="*/ 27493911 w 165"/>
                <a:gd name="T21" fmla="*/ 79781492 h 232"/>
                <a:gd name="T22" fmla="*/ 27493911 w 165"/>
                <a:gd name="T23" fmla="*/ 564828430 h 232"/>
                <a:gd name="T24" fmla="*/ 0 w 165"/>
                <a:gd name="T25" fmla="*/ 564828430 h 232"/>
                <a:gd name="T26" fmla="*/ 0 w 165"/>
                <a:gd name="T27" fmla="*/ 79781492 h 232"/>
                <a:gd name="T28" fmla="*/ 20815816 w 165"/>
                <a:gd name="T29" fmla="*/ 24547155 h 232"/>
                <a:gd name="T30" fmla="*/ 77129169 w 165"/>
                <a:gd name="T31" fmla="*/ 0 h 232"/>
                <a:gd name="T32" fmla="*/ 309548631 w 165"/>
                <a:gd name="T33" fmla="*/ 0 h 232"/>
                <a:gd name="T34" fmla="*/ 182772758 w 165"/>
                <a:gd name="T35" fmla="*/ 51413739 h 232"/>
                <a:gd name="T36" fmla="*/ 182772758 w 165"/>
                <a:gd name="T37" fmla="*/ 263208180 h 232"/>
                <a:gd name="T38" fmla="*/ 154391061 w 165"/>
                <a:gd name="T39" fmla="*/ 263208180 h 232"/>
                <a:gd name="T40" fmla="*/ 154391061 w 165"/>
                <a:gd name="T41" fmla="*/ 79781492 h 232"/>
                <a:gd name="T42" fmla="*/ 77129169 w 165"/>
                <a:gd name="T43" fmla="*/ 79781492 h 232"/>
                <a:gd name="T44" fmla="*/ 77129169 w 165"/>
                <a:gd name="T45" fmla="*/ 564828430 h 232"/>
                <a:gd name="T46" fmla="*/ 46283478 w 165"/>
                <a:gd name="T47" fmla="*/ 564828430 h 232"/>
                <a:gd name="T48" fmla="*/ 46283478 w 165"/>
                <a:gd name="T49" fmla="*/ 79781492 h 232"/>
                <a:gd name="T50" fmla="*/ 56311393 w 165"/>
                <a:gd name="T51" fmla="*/ 60526659 h 232"/>
                <a:gd name="T52" fmla="*/ 77129169 w 165"/>
                <a:gd name="T53" fmla="*/ 51413739 h 232"/>
                <a:gd name="T54" fmla="*/ 182772758 w 165"/>
                <a:gd name="T55" fmla="*/ 51413739 h 232"/>
                <a:gd name="T56" fmla="*/ 309548631 w 165"/>
                <a:gd name="T57" fmla="*/ 51413739 h 232"/>
                <a:gd name="T58" fmla="*/ 329989272 w 165"/>
                <a:gd name="T59" fmla="*/ 60526659 h 232"/>
                <a:gd name="T60" fmla="*/ 337199511 w 165"/>
                <a:gd name="T61" fmla="*/ 79781492 h 232"/>
                <a:gd name="T62" fmla="*/ 337199511 w 165"/>
                <a:gd name="T63" fmla="*/ 564828430 h 232"/>
                <a:gd name="T64" fmla="*/ 309548631 w 165"/>
                <a:gd name="T65" fmla="*/ 564828430 h 232"/>
                <a:gd name="T66" fmla="*/ 309548631 w 165"/>
                <a:gd name="T67" fmla="*/ 79781492 h 232"/>
                <a:gd name="T68" fmla="*/ 232402284 w 165"/>
                <a:gd name="T69" fmla="*/ 79781492 h 232"/>
                <a:gd name="T70" fmla="*/ 232402284 w 165"/>
                <a:gd name="T71" fmla="*/ 263208180 h 232"/>
                <a:gd name="T72" fmla="*/ 203534936 w 165"/>
                <a:gd name="T73" fmla="*/ 263208180 h 232"/>
                <a:gd name="T74" fmla="*/ 203534936 w 165"/>
                <a:gd name="T75" fmla="*/ 51413739 h 232"/>
                <a:gd name="T76" fmla="*/ 309548631 w 165"/>
                <a:gd name="T77" fmla="*/ 51413739 h 23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65" h="232">
                  <a:moveTo>
                    <a:pt x="132" y="0"/>
                  </a:moveTo>
                  <a:cubicBezTo>
                    <a:pt x="141" y="0"/>
                    <a:pt x="149" y="4"/>
                    <a:pt x="155" y="10"/>
                  </a:cubicBezTo>
                  <a:cubicBezTo>
                    <a:pt x="162" y="16"/>
                    <a:pt x="165" y="24"/>
                    <a:pt x="165" y="33"/>
                  </a:cubicBezTo>
                  <a:cubicBezTo>
                    <a:pt x="165" y="232"/>
                    <a:pt x="165" y="232"/>
                    <a:pt x="165" y="232"/>
                  </a:cubicBezTo>
                  <a:cubicBezTo>
                    <a:pt x="153" y="232"/>
                    <a:pt x="153" y="232"/>
                    <a:pt x="153" y="232"/>
                  </a:cubicBezTo>
                  <a:cubicBezTo>
                    <a:pt x="153" y="33"/>
                    <a:pt x="153" y="33"/>
                    <a:pt x="153" y="33"/>
                  </a:cubicBezTo>
                  <a:cubicBezTo>
                    <a:pt x="153" y="28"/>
                    <a:pt x="151" y="23"/>
                    <a:pt x="147" y="19"/>
                  </a:cubicBezTo>
                  <a:cubicBezTo>
                    <a:pt x="143" y="15"/>
                    <a:pt x="138" y="13"/>
                    <a:pt x="132" y="13"/>
                  </a:cubicBezTo>
                  <a:cubicBezTo>
                    <a:pt x="33" y="13"/>
                    <a:pt x="33" y="13"/>
                    <a:pt x="33" y="13"/>
                  </a:cubicBezTo>
                  <a:cubicBezTo>
                    <a:pt x="27" y="13"/>
                    <a:pt x="22" y="15"/>
                    <a:pt x="18" y="19"/>
                  </a:cubicBezTo>
                  <a:cubicBezTo>
                    <a:pt x="14" y="23"/>
                    <a:pt x="12" y="28"/>
                    <a:pt x="12" y="33"/>
                  </a:cubicBezTo>
                  <a:cubicBezTo>
                    <a:pt x="12" y="232"/>
                    <a:pt x="12" y="232"/>
                    <a:pt x="12" y="232"/>
                  </a:cubicBezTo>
                  <a:cubicBezTo>
                    <a:pt x="0" y="232"/>
                    <a:pt x="0" y="232"/>
                    <a:pt x="0" y="232"/>
                  </a:cubicBezTo>
                  <a:cubicBezTo>
                    <a:pt x="0" y="33"/>
                    <a:pt x="0" y="33"/>
                    <a:pt x="0" y="33"/>
                  </a:cubicBezTo>
                  <a:cubicBezTo>
                    <a:pt x="0" y="24"/>
                    <a:pt x="3" y="16"/>
                    <a:pt x="9" y="10"/>
                  </a:cubicBezTo>
                  <a:cubicBezTo>
                    <a:pt x="16" y="4"/>
                    <a:pt x="24" y="0"/>
                    <a:pt x="33" y="0"/>
                  </a:cubicBezTo>
                  <a:lnTo>
                    <a:pt x="132" y="0"/>
                  </a:lnTo>
                  <a:close/>
                  <a:moveTo>
                    <a:pt x="78" y="21"/>
                  </a:moveTo>
                  <a:cubicBezTo>
                    <a:pt x="78" y="108"/>
                    <a:pt x="78" y="108"/>
                    <a:pt x="78" y="108"/>
                  </a:cubicBezTo>
                  <a:cubicBezTo>
                    <a:pt x="66" y="108"/>
                    <a:pt x="66" y="108"/>
                    <a:pt x="66" y="108"/>
                  </a:cubicBezTo>
                  <a:cubicBezTo>
                    <a:pt x="66" y="33"/>
                    <a:pt x="66" y="33"/>
                    <a:pt x="66" y="33"/>
                  </a:cubicBezTo>
                  <a:cubicBezTo>
                    <a:pt x="33" y="33"/>
                    <a:pt x="33" y="33"/>
                    <a:pt x="33" y="33"/>
                  </a:cubicBezTo>
                  <a:cubicBezTo>
                    <a:pt x="33" y="232"/>
                    <a:pt x="33" y="232"/>
                    <a:pt x="33" y="232"/>
                  </a:cubicBezTo>
                  <a:cubicBezTo>
                    <a:pt x="20" y="232"/>
                    <a:pt x="20" y="232"/>
                    <a:pt x="20" y="232"/>
                  </a:cubicBezTo>
                  <a:cubicBezTo>
                    <a:pt x="20" y="33"/>
                    <a:pt x="20" y="33"/>
                    <a:pt x="20" y="33"/>
                  </a:cubicBezTo>
                  <a:cubicBezTo>
                    <a:pt x="20" y="30"/>
                    <a:pt x="21" y="27"/>
                    <a:pt x="24" y="25"/>
                  </a:cubicBezTo>
                  <a:cubicBezTo>
                    <a:pt x="26" y="22"/>
                    <a:pt x="29" y="21"/>
                    <a:pt x="33" y="21"/>
                  </a:cubicBezTo>
                  <a:lnTo>
                    <a:pt x="78" y="21"/>
                  </a:lnTo>
                  <a:close/>
                  <a:moveTo>
                    <a:pt x="132" y="21"/>
                  </a:moveTo>
                  <a:cubicBezTo>
                    <a:pt x="135" y="21"/>
                    <a:pt x="138" y="22"/>
                    <a:pt x="141" y="25"/>
                  </a:cubicBezTo>
                  <a:cubicBezTo>
                    <a:pt x="143" y="27"/>
                    <a:pt x="144" y="30"/>
                    <a:pt x="144" y="33"/>
                  </a:cubicBezTo>
                  <a:cubicBezTo>
                    <a:pt x="144" y="232"/>
                    <a:pt x="144" y="232"/>
                    <a:pt x="144" y="232"/>
                  </a:cubicBezTo>
                  <a:cubicBezTo>
                    <a:pt x="132" y="232"/>
                    <a:pt x="132" y="232"/>
                    <a:pt x="132" y="232"/>
                  </a:cubicBezTo>
                  <a:cubicBezTo>
                    <a:pt x="132" y="33"/>
                    <a:pt x="132" y="33"/>
                    <a:pt x="132" y="33"/>
                  </a:cubicBezTo>
                  <a:cubicBezTo>
                    <a:pt x="99" y="33"/>
                    <a:pt x="99" y="33"/>
                    <a:pt x="99" y="33"/>
                  </a:cubicBezTo>
                  <a:cubicBezTo>
                    <a:pt x="99" y="108"/>
                    <a:pt x="99" y="108"/>
                    <a:pt x="99" y="108"/>
                  </a:cubicBezTo>
                  <a:cubicBezTo>
                    <a:pt x="87" y="108"/>
                    <a:pt x="87" y="108"/>
                    <a:pt x="87" y="108"/>
                  </a:cubicBezTo>
                  <a:cubicBezTo>
                    <a:pt x="87" y="21"/>
                    <a:pt x="87" y="21"/>
                    <a:pt x="87" y="21"/>
                  </a:cubicBezTo>
                  <a:lnTo>
                    <a:pt x="132" y="21"/>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4">
              <a:extLst>
                <a:ext uri="{FF2B5EF4-FFF2-40B4-BE49-F238E27FC236}">
                  <a16:creationId xmlns:a16="http://schemas.microsoft.com/office/drawing/2014/main" id="{FD0B03EF-F851-1B00-94C1-C16D1E7803DE}"/>
                </a:ext>
              </a:extLst>
            </p:cNvPr>
            <p:cNvSpPr>
              <a:spLocks noEditPoints="1"/>
            </p:cNvSpPr>
            <p:nvPr userDrawn="1"/>
          </p:nvSpPr>
          <p:spPr bwMode="auto">
            <a:xfrm>
              <a:off x="5412" y="2552"/>
              <a:ext cx="313" cy="551"/>
            </a:xfrm>
            <a:custGeom>
              <a:avLst/>
              <a:gdLst>
                <a:gd name="T0" fmla="*/ 234667157 w 132"/>
                <a:gd name="T1" fmla="*/ 0 h 232"/>
                <a:gd name="T2" fmla="*/ 291517195 w 132"/>
                <a:gd name="T3" fmla="*/ 24547155 h 232"/>
                <a:gd name="T4" fmla="*/ 312488786 w 132"/>
                <a:gd name="T5" fmla="*/ 79781492 h 232"/>
                <a:gd name="T6" fmla="*/ 312488786 w 132"/>
                <a:gd name="T7" fmla="*/ 202009418 h 232"/>
                <a:gd name="T8" fmla="*/ 291517195 w 132"/>
                <a:gd name="T9" fmla="*/ 258572736 h 232"/>
                <a:gd name="T10" fmla="*/ 234667157 w 132"/>
                <a:gd name="T11" fmla="*/ 283050061 h 232"/>
                <a:gd name="T12" fmla="*/ 77977488 w 132"/>
                <a:gd name="T13" fmla="*/ 283050061 h 232"/>
                <a:gd name="T14" fmla="*/ 77977488 w 132"/>
                <a:gd name="T15" fmla="*/ 564828430 h 232"/>
                <a:gd name="T16" fmla="*/ 46760663 w 132"/>
                <a:gd name="T17" fmla="*/ 564828430 h 232"/>
                <a:gd name="T18" fmla="*/ 46760663 w 132"/>
                <a:gd name="T19" fmla="*/ 253283286 h 232"/>
                <a:gd name="T20" fmla="*/ 234667157 w 132"/>
                <a:gd name="T21" fmla="*/ 253283286 h 232"/>
                <a:gd name="T22" fmla="*/ 269717845 w 132"/>
                <a:gd name="T23" fmla="*/ 238499835 h 232"/>
                <a:gd name="T24" fmla="*/ 284788810 w 132"/>
                <a:gd name="T25" fmla="*/ 202009418 h 232"/>
                <a:gd name="T26" fmla="*/ 284788810 w 132"/>
                <a:gd name="T27" fmla="*/ 79781492 h 232"/>
                <a:gd name="T28" fmla="*/ 269717845 w 132"/>
                <a:gd name="T29" fmla="*/ 46120372 h 232"/>
                <a:gd name="T30" fmla="*/ 234667157 w 132"/>
                <a:gd name="T31" fmla="*/ 31976658 h 232"/>
                <a:gd name="T32" fmla="*/ 115836743 w 132"/>
                <a:gd name="T33" fmla="*/ 31976658 h 232"/>
                <a:gd name="T34" fmla="*/ 54699961 w 132"/>
                <a:gd name="T35" fmla="*/ 58299493 h 232"/>
                <a:gd name="T36" fmla="*/ 27860863 w 132"/>
                <a:gd name="T37" fmla="*/ 122107630 h 232"/>
                <a:gd name="T38" fmla="*/ 27860863 w 132"/>
                <a:gd name="T39" fmla="*/ 564828430 h 232"/>
                <a:gd name="T40" fmla="*/ 0 w 132"/>
                <a:gd name="T41" fmla="*/ 564828430 h 232"/>
                <a:gd name="T42" fmla="*/ 0 w 132"/>
                <a:gd name="T43" fmla="*/ 122107630 h 232"/>
                <a:gd name="T44" fmla="*/ 32885075 w 132"/>
                <a:gd name="T45" fmla="*/ 37103839 h 232"/>
                <a:gd name="T46" fmla="*/ 115836743 w 132"/>
                <a:gd name="T47" fmla="*/ 0 h 232"/>
                <a:gd name="T48" fmla="*/ 234667157 w 132"/>
                <a:gd name="T49" fmla="*/ 0 h 232"/>
                <a:gd name="T50" fmla="*/ 262918698 w 132"/>
                <a:gd name="T51" fmla="*/ 202009418 h 232"/>
                <a:gd name="T52" fmla="*/ 255645496 w 132"/>
                <a:gd name="T53" fmla="*/ 224358826 h 232"/>
                <a:gd name="T54" fmla="*/ 234667157 w 132"/>
                <a:gd name="T55" fmla="*/ 233836064 h 232"/>
                <a:gd name="T56" fmla="*/ 46760663 w 132"/>
                <a:gd name="T57" fmla="*/ 233836064 h 232"/>
                <a:gd name="T58" fmla="*/ 46760663 w 132"/>
                <a:gd name="T59" fmla="*/ 122107630 h 232"/>
                <a:gd name="T60" fmla="*/ 69064519 w 132"/>
                <a:gd name="T61" fmla="*/ 70832843 h 232"/>
                <a:gd name="T62" fmla="*/ 115836743 w 132"/>
                <a:gd name="T63" fmla="*/ 51413739 h 232"/>
                <a:gd name="T64" fmla="*/ 234667157 w 132"/>
                <a:gd name="T65" fmla="*/ 51413739 h 232"/>
                <a:gd name="T66" fmla="*/ 255645496 w 132"/>
                <a:gd name="T67" fmla="*/ 60526659 h 232"/>
                <a:gd name="T68" fmla="*/ 262918698 w 132"/>
                <a:gd name="T69" fmla="*/ 79781492 h 232"/>
                <a:gd name="T70" fmla="*/ 262918698 w 132"/>
                <a:gd name="T71" fmla="*/ 202009418 h 232"/>
                <a:gd name="T72" fmla="*/ 77977488 w 132"/>
                <a:gd name="T73" fmla="*/ 202009418 h 232"/>
                <a:gd name="T74" fmla="*/ 234667157 w 132"/>
                <a:gd name="T75" fmla="*/ 202009418 h 232"/>
                <a:gd name="T76" fmla="*/ 234667157 w 132"/>
                <a:gd name="T77" fmla="*/ 79781492 h 232"/>
                <a:gd name="T78" fmla="*/ 115836743 w 132"/>
                <a:gd name="T79" fmla="*/ 79781492 h 232"/>
                <a:gd name="T80" fmla="*/ 89678239 w 132"/>
                <a:gd name="T81" fmla="*/ 92335711 h 232"/>
                <a:gd name="T82" fmla="*/ 77977488 w 132"/>
                <a:gd name="T83" fmla="*/ 122107630 h 232"/>
                <a:gd name="T84" fmla="*/ 77977488 w 132"/>
                <a:gd name="T85" fmla="*/ 202009418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99" y="0"/>
                  </a:moveTo>
                  <a:cubicBezTo>
                    <a:pt x="108" y="0"/>
                    <a:pt x="116" y="4"/>
                    <a:pt x="123" y="10"/>
                  </a:cubicBezTo>
                  <a:cubicBezTo>
                    <a:pt x="129" y="16"/>
                    <a:pt x="132" y="24"/>
                    <a:pt x="132" y="33"/>
                  </a:cubicBezTo>
                  <a:cubicBezTo>
                    <a:pt x="132" y="83"/>
                    <a:pt x="132" y="83"/>
                    <a:pt x="132" y="83"/>
                  </a:cubicBezTo>
                  <a:cubicBezTo>
                    <a:pt x="132" y="92"/>
                    <a:pt x="129" y="100"/>
                    <a:pt x="123" y="106"/>
                  </a:cubicBezTo>
                  <a:cubicBezTo>
                    <a:pt x="116" y="113"/>
                    <a:pt x="108" y="116"/>
                    <a:pt x="99" y="116"/>
                  </a:cubicBezTo>
                  <a:cubicBezTo>
                    <a:pt x="33" y="116"/>
                    <a:pt x="33" y="116"/>
                    <a:pt x="33" y="116"/>
                  </a:cubicBezTo>
                  <a:cubicBezTo>
                    <a:pt x="33" y="232"/>
                    <a:pt x="33" y="232"/>
                    <a:pt x="33" y="232"/>
                  </a:cubicBezTo>
                  <a:cubicBezTo>
                    <a:pt x="20" y="232"/>
                    <a:pt x="20" y="232"/>
                    <a:pt x="20" y="232"/>
                  </a:cubicBezTo>
                  <a:cubicBezTo>
                    <a:pt x="20" y="104"/>
                    <a:pt x="20" y="104"/>
                    <a:pt x="20" y="104"/>
                  </a:cubicBezTo>
                  <a:cubicBezTo>
                    <a:pt x="99" y="104"/>
                    <a:pt x="99" y="104"/>
                    <a:pt x="99" y="104"/>
                  </a:cubicBezTo>
                  <a:cubicBezTo>
                    <a:pt x="105" y="104"/>
                    <a:pt x="110" y="102"/>
                    <a:pt x="114" y="98"/>
                  </a:cubicBezTo>
                  <a:cubicBezTo>
                    <a:pt x="118" y="94"/>
                    <a:pt x="120" y="89"/>
                    <a:pt x="120" y="83"/>
                  </a:cubicBezTo>
                  <a:cubicBezTo>
                    <a:pt x="120" y="33"/>
                    <a:pt x="120" y="33"/>
                    <a:pt x="120" y="33"/>
                  </a:cubicBezTo>
                  <a:cubicBezTo>
                    <a:pt x="120" y="28"/>
                    <a:pt x="118" y="23"/>
                    <a:pt x="114" y="19"/>
                  </a:cubicBezTo>
                  <a:cubicBezTo>
                    <a:pt x="110" y="15"/>
                    <a:pt x="105" y="13"/>
                    <a:pt x="99" y="13"/>
                  </a:cubicBezTo>
                  <a:cubicBezTo>
                    <a:pt x="49" y="13"/>
                    <a:pt x="49" y="13"/>
                    <a:pt x="49" y="13"/>
                  </a:cubicBezTo>
                  <a:cubicBezTo>
                    <a:pt x="39" y="13"/>
                    <a:pt x="30" y="16"/>
                    <a:pt x="23" y="24"/>
                  </a:cubicBezTo>
                  <a:cubicBezTo>
                    <a:pt x="16" y="31"/>
                    <a:pt x="12" y="40"/>
                    <a:pt x="12" y="50"/>
                  </a:cubicBezTo>
                  <a:cubicBezTo>
                    <a:pt x="12" y="232"/>
                    <a:pt x="12" y="232"/>
                    <a:pt x="12" y="232"/>
                  </a:cubicBezTo>
                  <a:cubicBezTo>
                    <a:pt x="0" y="232"/>
                    <a:pt x="0" y="232"/>
                    <a:pt x="0" y="232"/>
                  </a:cubicBezTo>
                  <a:cubicBezTo>
                    <a:pt x="0" y="50"/>
                    <a:pt x="0" y="50"/>
                    <a:pt x="0" y="50"/>
                  </a:cubicBezTo>
                  <a:cubicBezTo>
                    <a:pt x="0" y="36"/>
                    <a:pt x="5" y="25"/>
                    <a:pt x="14" y="15"/>
                  </a:cubicBezTo>
                  <a:cubicBezTo>
                    <a:pt x="24" y="5"/>
                    <a:pt x="36" y="0"/>
                    <a:pt x="49" y="0"/>
                  </a:cubicBezTo>
                  <a:lnTo>
                    <a:pt x="99" y="0"/>
                  </a:lnTo>
                  <a:close/>
                  <a:moveTo>
                    <a:pt x="111" y="83"/>
                  </a:moveTo>
                  <a:cubicBezTo>
                    <a:pt x="111" y="87"/>
                    <a:pt x="110" y="89"/>
                    <a:pt x="108" y="92"/>
                  </a:cubicBezTo>
                  <a:cubicBezTo>
                    <a:pt x="105" y="94"/>
                    <a:pt x="102" y="96"/>
                    <a:pt x="99" y="96"/>
                  </a:cubicBezTo>
                  <a:cubicBezTo>
                    <a:pt x="20" y="96"/>
                    <a:pt x="20" y="96"/>
                    <a:pt x="20" y="96"/>
                  </a:cubicBezTo>
                  <a:cubicBezTo>
                    <a:pt x="20" y="50"/>
                    <a:pt x="20" y="50"/>
                    <a:pt x="20" y="50"/>
                  </a:cubicBezTo>
                  <a:cubicBezTo>
                    <a:pt x="20" y="42"/>
                    <a:pt x="23" y="35"/>
                    <a:pt x="29" y="29"/>
                  </a:cubicBezTo>
                  <a:cubicBezTo>
                    <a:pt x="35" y="24"/>
                    <a:pt x="41" y="21"/>
                    <a:pt x="49" y="21"/>
                  </a:cubicBezTo>
                  <a:cubicBezTo>
                    <a:pt x="99" y="21"/>
                    <a:pt x="99" y="21"/>
                    <a:pt x="99" y="21"/>
                  </a:cubicBezTo>
                  <a:cubicBezTo>
                    <a:pt x="102" y="21"/>
                    <a:pt x="105" y="22"/>
                    <a:pt x="108" y="25"/>
                  </a:cubicBezTo>
                  <a:cubicBezTo>
                    <a:pt x="110" y="27"/>
                    <a:pt x="111" y="30"/>
                    <a:pt x="111" y="33"/>
                  </a:cubicBezTo>
                  <a:lnTo>
                    <a:pt x="111" y="83"/>
                  </a:lnTo>
                  <a:close/>
                  <a:moveTo>
                    <a:pt x="33" y="83"/>
                  </a:moveTo>
                  <a:cubicBezTo>
                    <a:pt x="99" y="83"/>
                    <a:pt x="99" y="83"/>
                    <a:pt x="99" y="83"/>
                  </a:cubicBezTo>
                  <a:cubicBezTo>
                    <a:pt x="99" y="33"/>
                    <a:pt x="99" y="33"/>
                    <a:pt x="99" y="33"/>
                  </a:cubicBezTo>
                  <a:cubicBezTo>
                    <a:pt x="49" y="33"/>
                    <a:pt x="49" y="33"/>
                    <a:pt x="49" y="33"/>
                  </a:cubicBezTo>
                  <a:cubicBezTo>
                    <a:pt x="45" y="33"/>
                    <a:pt x="41" y="35"/>
                    <a:pt x="38" y="38"/>
                  </a:cubicBezTo>
                  <a:cubicBezTo>
                    <a:pt x="34" y="42"/>
                    <a:pt x="33" y="45"/>
                    <a:pt x="33" y="50"/>
                  </a:cubicBezTo>
                  <a:lnTo>
                    <a:pt x="33" y="83"/>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5" name="Freeform 15">
              <a:extLst>
                <a:ext uri="{FF2B5EF4-FFF2-40B4-BE49-F238E27FC236}">
                  <a16:creationId xmlns:a16="http://schemas.microsoft.com/office/drawing/2014/main" id="{598C0254-572C-8D23-AC63-19E8C7F3C6F5}"/>
                </a:ext>
              </a:extLst>
            </p:cNvPr>
            <p:cNvSpPr>
              <a:spLocks noEditPoints="1"/>
            </p:cNvSpPr>
            <p:nvPr userDrawn="1"/>
          </p:nvSpPr>
          <p:spPr bwMode="auto">
            <a:xfrm>
              <a:off x="5774" y="2552"/>
              <a:ext cx="312" cy="551"/>
            </a:xfrm>
            <a:custGeom>
              <a:avLst/>
              <a:gdLst>
                <a:gd name="T0" fmla="*/ 26510905 w 132"/>
                <a:gd name="T1" fmla="*/ 442759715 h 232"/>
                <a:gd name="T2" fmla="*/ 51443210 w 132"/>
                <a:gd name="T3" fmla="*/ 508305993 h 232"/>
                <a:gd name="T4" fmla="*/ 110103249 w 132"/>
                <a:gd name="T5" fmla="*/ 535913430 h 232"/>
                <a:gd name="T6" fmla="*/ 295891719 w 132"/>
                <a:gd name="T7" fmla="*/ 535913430 h 232"/>
                <a:gd name="T8" fmla="*/ 295891719 w 132"/>
                <a:gd name="T9" fmla="*/ 564828430 h 232"/>
                <a:gd name="T10" fmla="*/ 110103249 w 132"/>
                <a:gd name="T11" fmla="*/ 564828430 h 232"/>
                <a:gd name="T12" fmla="*/ 31262608 w 132"/>
                <a:gd name="T13" fmla="*/ 527724589 h 232"/>
                <a:gd name="T14" fmla="*/ 0 w 132"/>
                <a:gd name="T15" fmla="*/ 442759715 h 232"/>
                <a:gd name="T16" fmla="*/ 0 w 132"/>
                <a:gd name="T17" fmla="*/ 0 h 232"/>
                <a:gd name="T18" fmla="*/ 26510905 w 132"/>
                <a:gd name="T19" fmla="*/ 0 h 232"/>
                <a:gd name="T20" fmla="*/ 26510905 w 132"/>
                <a:gd name="T21" fmla="*/ 442759715 h 232"/>
                <a:gd name="T22" fmla="*/ 295891719 w 132"/>
                <a:gd name="T23" fmla="*/ 484506888 h 232"/>
                <a:gd name="T24" fmla="*/ 295891719 w 132"/>
                <a:gd name="T25" fmla="*/ 513431020 h 232"/>
                <a:gd name="T26" fmla="*/ 110103249 w 132"/>
                <a:gd name="T27" fmla="*/ 513431020 h 232"/>
                <a:gd name="T28" fmla="*/ 65404189 w 132"/>
                <a:gd name="T29" fmla="*/ 494012295 h 232"/>
                <a:gd name="T30" fmla="*/ 44482705 w 132"/>
                <a:gd name="T31" fmla="*/ 442759715 h 232"/>
                <a:gd name="T32" fmla="*/ 44482705 w 132"/>
                <a:gd name="T33" fmla="*/ 0 h 232"/>
                <a:gd name="T34" fmla="*/ 73893437 w 132"/>
                <a:gd name="T35" fmla="*/ 0 h 232"/>
                <a:gd name="T36" fmla="*/ 73893437 w 132"/>
                <a:gd name="T37" fmla="*/ 442759715 h 232"/>
                <a:gd name="T38" fmla="*/ 85443339 w 132"/>
                <a:gd name="T39" fmla="*/ 472485538 h 232"/>
                <a:gd name="T40" fmla="*/ 110103249 w 132"/>
                <a:gd name="T41" fmla="*/ 484506888 h 232"/>
                <a:gd name="T42" fmla="*/ 295891719 w 132"/>
                <a:gd name="T43" fmla="*/ 484506888 h 2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2" h="232">
                  <a:moveTo>
                    <a:pt x="12" y="182"/>
                  </a:moveTo>
                  <a:cubicBezTo>
                    <a:pt x="12" y="193"/>
                    <a:pt x="16" y="201"/>
                    <a:pt x="23" y="209"/>
                  </a:cubicBezTo>
                  <a:cubicBezTo>
                    <a:pt x="30" y="216"/>
                    <a:pt x="39" y="220"/>
                    <a:pt x="49" y="220"/>
                  </a:cubicBezTo>
                  <a:cubicBezTo>
                    <a:pt x="132" y="220"/>
                    <a:pt x="132" y="220"/>
                    <a:pt x="132" y="220"/>
                  </a:cubicBezTo>
                  <a:cubicBezTo>
                    <a:pt x="132" y="232"/>
                    <a:pt x="132" y="232"/>
                    <a:pt x="132" y="232"/>
                  </a:cubicBezTo>
                  <a:cubicBezTo>
                    <a:pt x="49" y="232"/>
                    <a:pt x="49" y="232"/>
                    <a:pt x="49" y="232"/>
                  </a:cubicBezTo>
                  <a:cubicBezTo>
                    <a:pt x="36" y="232"/>
                    <a:pt x="24" y="227"/>
                    <a:pt x="14" y="217"/>
                  </a:cubicBezTo>
                  <a:cubicBezTo>
                    <a:pt x="4" y="208"/>
                    <a:pt x="0" y="196"/>
                    <a:pt x="0" y="182"/>
                  </a:cubicBezTo>
                  <a:cubicBezTo>
                    <a:pt x="0" y="0"/>
                    <a:pt x="0" y="0"/>
                    <a:pt x="0" y="0"/>
                  </a:cubicBezTo>
                  <a:cubicBezTo>
                    <a:pt x="12" y="0"/>
                    <a:pt x="12" y="0"/>
                    <a:pt x="12" y="0"/>
                  </a:cubicBezTo>
                  <a:lnTo>
                    <a:pt x="12" y="182"/>
                  </a:lnTo>
                  <a:close/>
                  <a:moveTo>
                    <a:pt x="132" y="199"/>
                  </a:moveTo>
                  <a:cubicBezTo>
                    <a:pt x="132" y="211"/>
                    <a:pt x="132" y="211"/>
                    <a:pt x="132" y="211"/>
                  </a:cubicBezTo>
                  <a:cubicBezTo>
                    <a:pt x="49" y="211"/>
                    <a:pt x="49" y="211"/>
                    <a:pt x="49" y="211"/>
                  </a:cubicBezTo>
                  <a:cubicBezTo>
                    <a:pt x="41" y="211"/>
                    <a:pt x="34" y="209"/>
                    <a:pt x="29" y="203"/>
                  </a:cubicBezTo>
                  <a:cubicBezTo>
                    <a:pt x="23" y="197"/>
                    <a:pt x="20" y="190"/>
                    <a:pt x="20" y="182"/>
                  </a:cubicBezTo>
                  <a:cubicBezTo>
                    <a:pt x="20" y="0"/>
                    <a:pt x="20" y="0"/>
                    <a:pt x="20" y="0"/>
                  </a:cubicBezTo>
                  <a:cubicBezTo>
                    <a:pt x="33" y="0"/>
                    <a:pt x="33" y="0"/>
                    <a:pt x="33" y="0"/>
                  </a:cubicBezTo>
                  <a:cubicBezTo>
                    <a:pt x="33" y="182"/>
                    <a:pt x="33" y="182"/>
                    <a:pt x="33" y="182"/>
                  </a:cubicBezTo>
                  <a:cubicBezTo>
                    <a:pt x="33" y="187"/>
                    <a:pt x="34" y="191"/>
                    <a:pt x="38" y="194"/>
                  </a:cubicBezTo>
                  <a:cubicBezTo>
                    <a:pt x="41" y="197"/>
                    <a:pt x="45" y="199"/>
                    <a:pt x="49" y="199"/>
                  </a:cubicBezTo>
                  <a:lnTo>
                    <a:pt x="132" y="199"/>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6" name="Freeform 16">
              <a:extLst>
                <a:ext uri="{FF2B5EF4-FFF2-40B4-BE49-F238E27FC236}">
                  <a16:creationId xmlns:a16="http://schemas.microsoft.com/office/drawing/2014/main" id="{EE1E456E-F072-159E-7CE2-E0D49D81F3EF}"/>
                </a:ext>
              </a:extLst>
            </p:cNvPr>
            <p:cNvSpPr>
              <a:spLocks noEditPoints="1"/>
            </p:cNvSpPr>
            <p:nvPr userDrawn="1"/>
          </p:nvSpPr>
          <p:spPr bwMode="auto">
            <a:xfrm>
              <a:off x="6120" y="2552"/>
              <a:ext cx="331" cy="551"/>
            </a:xfrm>
            <a:custGeom>
              <a:avLst/>
              <a:gdLst>
                <a:gd name="T0" fmla="*/ 315628455 w 140"/>
                <a:gd name="T1" fmla="*/ 0 h 232"/>
                <a:gd name="T2" fmla="*/ 315628455 w 140"/>
                <a:gd name="T3" fmla="*/ 564828430 h 232"/>
                <a:gd name="T4" fmla="*/ 288722604 w 140"/>
                <a:gd name="T5" fmla="*/ 564828430 h 232"/>
                <a:gd name="T6" fmla="*/ 288722604 w 140"/>
                <a:gd name="T7" fmla="*/ 31976658 h 232"/>
                <a:gd name="T8" fmla="*/ 110489077 w 140"/>
                <a:gd name="T9" fmla="*/ 31976658 h 232"/>
                <a:gd name="T10" fmla="*/ 51651254 w 140"/>
                <a:gd name="T11" fmla="*/ 58299493 h 232"/>
                <a:gd name="T12" fmla="*/ 26606139 w 140"/>
                <a:gd name="T13" fmla="*/ 122107630 h 232"/>
                <a:gd name="T14" fmla="*/ 26606139 w 140"/>
                <a:gd name="T15" fmla="*/ 564828430 h 232"/>
                <a:gd name="T16" fmla="*/ 0 w 140"/>
                <a:gd name="T17" fmla="*/ 564828430 h 232"/>
                <a:gd name="T18" fmla="*/ 0 w 140"/>
                <a:gd name="T19" fmla="*/ 122107630 h 232"/>
                <a:gd name="T20" fmla="*/ 31354195 w 140"/>
                <a:gd name="T21" fmla="*/ 37103839 h 232"/>
                <a:gd name="T22" fmla="*/ 110489077 w 140"/>
                <a:gd name="T23" fmla="*/ 0 h 232"/>
                <a:gd name="T24" fmla="*/ 315628455 w 140"/>
                <a:gd name="T25" fmla="*/ 0 h 232"/>
                <a:gd name="T26" fmla="*/ 44631525 w 140"/>
                <a:gd name="T27" fmla="*/ 122107630 h 232"/>
                <a:gd name="T28" fmla="*/ 65649001 w 140"/>
                <a:gd name="T29" fmla="*/ 70832843 h 232"/>
                <a:gd name="T30" fmla="*/ 110489077 w 140"/>
                <a:gd name="T31" fmla="*/ 51413739 h 232"/>
                <a:gd name="T32" fmla="*/ 270477527 w 140"/>
                <a:gd name="T33" fmla="*/ 51413739 h 232"/>
                <a:gd name="T34" fmla="*/ 270477527 w 140"/>
                <a:gd name="T35" fmla="*/ 233836064 h 232"/>
                <a:gd name="T36" fmla="*/ 44631525 w 140"/>
                <a:gd name="T37" fmla="*/ 233836064 h 232"/>
                <a:gd name="T38" fmla="*/ 44631525 w 140"/>
                <a:gd name="T39" fmla="*/ 122107630 h 232"/>
                <a:gd name="T40" fmla="*/ 270477527 w 140"/>
                <a:gd name="T41" fmla="*/ 253283286 h 232"/>
                <a:gd name="T42" fmla="*/ 270477527 w 140"/>
                <a:gd name="T43" fmla="*/ 564828430 h 232"/>
                <a:gd name="T44" fmla="*/ 241121972 w 140"/>
                <a:gd name="T45" fmla="*/ 564828430 h 232"/>
                <a:gd name="T46" fmla="*/ 241121972 w 140"/>
                <a:gd name="T47" fmla="*/ 283050061 h 232"/>
                <a:gd name="T48" fmla="*/ 74130275 w 140"/>
                <a:gd name="T49" fmla="*/ 283050061 h 232"/>
                <a:gd name="T50" fmla="*/ 74130275 w 140"/>
                <a:gd name="T51" fmla="*/ 564828430 h 232"/>
                <a:gd name="T52" fmla="*/ 44631525 w 140"/>
                <a:gd name="T53" fmla="*/ 564828430 h 232"/>
                <a:gd name="T54" fmla="*/ 44631525 w 140"/>
                <a:gd name="T55" fmla="*/ 253283286 h 232"/>
                <a:gd name="T56" fmla="*/ 270477527 w 140"/>
                <a:gd name="T57" fmla="*/ 253283286 h 232"/>
                <a:gd name="T58" fmla="*/ 241121972 w 140"/>
                <a:gd name="T59" fmla="*/ 79781492 h 232"/>
                <a:gd name="T60" fmla="*/ 110489077 w 140"/>
                <a:gd name="T61" fmla="*/ 79781492 h 232"/>
                <a:gd name="T62" fmla="*/ 85974132 w 140"/>
                <a:gd name="T63" fmla="*/ 92335711 h 232"/>
                <a:gd name="T64" fmla="*/ 74130275 w 140"/>
                <a:gd name="T65" fmla="*/ 122107630 h 232"/>
                <a:gd name="T66" fmla="*/ 74130275 w 140"/>
                <a:gd name="T67" fmla="*/ 202009418 h 232"/>
                <a:gd name="T68" fmla="*/ 241121972 w 140"/>
                <a:gd name="T69" fmla="*/ 202009418 h 232"/>
                <a:gd name="T70" fmla="*/ 241121972 w 140"/>
                <a:gd name="T71" fmla="*/ 79781492 h 23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40" h="232">
                  <a:moveTo>
                    <a:pt x="140" y="0"/>
                  </a:moveTo>
                  <a:cubicBezTo>
                    <a:pt x="140" y="232"/>
                    <a:pt x="140" y="232"/>
                    <a:pt x="140" y="232"/>
                  </a:cubicBezTo>
                  <a:cubicBezTo>
                    <a:pt x="128" y="232"/>
                    <a:pt x="128" y="232"/>
                    <a:pt x="128" y="232"/>
                  </a:cubicBezTo>
                  <a:cubicBezTo>
                    <a:pt x="128" y="13"/>
                    <a:pt x="128" y="13"/>
                    <a:pt x="128" y="13"/>
                  </a:cubicBezTo>
                  <a:cubicBezTo>
                    <a:pt x="49" y="13"/>
                    <a:pt x="49" y="13"/>
                    <a:pt x="49" y="13"/>
                  </a:cubicBezTo>
                  <a:cubicBezTo>
                    <a:pt x="39" y="13"/>
                    <a:pt x="30" y="16"/>
                    <a:pt x="23" y="24"/>
                  </a:cubicBezTo>
                  <a:cubicBezTo>
                    <a:pt x="16" y="31"/>
                    <a:pt x="12" y="40"/>
                    <a:pt x="12" y="50"/>
                  </a:cubicBezTo>
                  <a:cubicBezTo>
                    <a:pt x="12" y="232"/>
                    <a:pt x="12" y="232"/>
                    <a:pt x="12" y="232"/>
                  </a:cubicBezTo>
                  <a:cubicBezTo>
                    <a:pt x="0" y="232"/>
                    <a:pt x="0" y="232"/>
                    <a:pt x="0" y="232"/>
                  </a:cubicBezTo>
                  <a:cubicBezTo>
                    <a:pt x="0" y="50"/>
                    <a:pt x="0" y="50"/>
                    <a:pt x="0" y="50"/>
                  </a:cubicBezTo>
                  <a:cubicBezTo>
                    <a:pt x="0" y="36"/>
                    <a:pt x="5" y="25"/>
                    <a:pt x="14" y="15"/>
                  </a:cubicBezTo>
                  <a:cubicBezTo>
                    <a:pt x="24" y="5"/>
                    <a:pt x="36" y="0"/>
                    <a:pt x="49" y="0"/>
                  </a:cubicBezTo>
                  <a:lnTo>
                    <a:pt x="140" y="0"/>
                  </a:lnTo>
                  <a:close/>
                  <a:moveTo>
                    <a:pt x="20" y="50"/>
                  </a:moveTo>
                  <a:cubicBezTo>
                    <a:pt x="20" y="42"/>
                    <a:pt x="23" y="35"/>
                    <a:pt x="29" y="29"/>
                  </a:cubicBezTo>
                  <a:cubicBezTo>
                    <a:pt x="35" y="24"/>
                    <a:pt x="41" y="21"/>
                    <a:pt x="49" y="21"/>
                  </a:cubicBezTo>
                  <a:cubicBezTo>
                    <a:pt x="120" y="21"/>
                    <a:pt x="120" y="21"/>
                    <a:pt x="120" y="21"/>
                  </a:cubicBezTo>
                  <a:cubicBezTo>
                    <a:pt x="120" y="96"/>
                    <a:pt x="120" y="96"/>
                    <a:pt x="120" y="96"/>
                  </a:cubicBezTo>
                  <a:cubicBezTo>
                    <a:pt x="20" y="96"/>
                    <a:pt x="20" y="96"/>
                    <a:pt x="20" y="96"/>
                  </a:cubicBezTo>
                  <a:lnTo>
                    <a:pt x="20" y="50"/>
                  </a:lnTo>
                  <a:close/>
                  <a:moveTo>
                    <a:pt x="120" y="104"/>
                  </a:moveTo>
                  <a:cubicBezTo>
                    <a:pt x="120" y="232"/>
                    <a:pt x="120" y="232"/>
                    <a:pt x="120" y="232"/>
                  </a:cubicBezTo>
                  <a:cubicBezTo>
                    <a:pt x="107" y="232"/>
                    <a:pt x="107" y="232"/>
                    <a:pt x="107" y="232"/>
                  </a:cubicBezTo>
                  <a:cubicBezTo>
                    <a:pt x="107" y="116"/>
                    <a:pt x="107" y="116"/>
                    <a:pt x="107" y="116"/>
                  </a:cubicBezTo>
                  <a:cubicBezTo>
                    <a:pt x="33" y="116"/>
                    <a:pt x="33" y="116"/>
                    <a:pt x="33" y="116"/>
                  </a:cubicBezTo>
                  <a:cubicBezTo>
                    <a:pt x="33" y="232"/>
                    <a:pt x="33" y="232"/>
                    <a:pt x="33" y="232"/>
                  </a:cubicBezTo>
                  <a:cubicBezTo>
                    <a:pt x="20" y="232"/>
                    <a:pt x="20" y="232"/>
                    <a:pt x="20" y="232"/>
                  </a:cubicBezTo>
                  <a:cubicBezTo>
                    <a:pt x="20" y="104"/>
                    <a:pt x="20" y="104"/>
                    <a:pt x="20" y="104"/>
                  </a:cubicBezTo>
                  <a:lnTo>
                    <a:pt x="120" y="104"/>
                  </a:lnTo>
                  <a:close/>
                  <a:moveTo>
                    <a:pt x="107" y="33"/>
                  </a:moveTo>
                  <a:cubicBezTo>
                    <a:pt x="49" y="33"/>
                    <a:pt x="49" y="33"/>
                    <a:pt x="49" y="33"/>
                  </a:cubicBezTo>
                  <a:cubicBezTo>
                    <a:pt x="45" y="33"/>
                    <a:pt x="41" y="35"/>
                    <a:pt x="38" y="38"/>
                  </a:cubicBezTo>
                  <a:cubicBezTo>
                    <a:pt x="34" y="42"/>
                    <a:pt x="33" y="45"/>
                    <a:pt x="33" y="50"/>
                  </a:cubicBezTo>
                  <a:cubicBezTo>
                    <a:pt x="33" y="83"/>
                    <a:pt x="33" y="83"/>
                    <a:pt x="33" y="83"/>
                  </a:cubicBezTo>
                  <a:cubicBezTo>
                    <a:pt x="107" y="83"/>
                    <a:pt x="107" y="83"/>
                    <a:pt x="107" y="83"/>
                  </a:cubicBezTo>
                  <a:lnTo>
                    <a:pt x="107" y="33"/>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 name="Freeform 17">
              <a:extLst>
                <a:ext uri="{FF2B5EF4-FFF2-40B4-BE49-F238E27FC236}">
                  <a16:creationId xmlns:a16="http://schemas.microsoft.com/office/drawing/2014/main" id="{85399AD7-103A-0625-6158-778C9FBE3D8C}"/>
                </a:ext>
              </a:extLst>
            </p:cNvPr>
            <p:cNvSpPr>
              <a:spLocks noEditPoints="1"/>
            </p:cNvSpPr>
            <p:nvPr userDrawn="1"/>
          </p:nvSpPr>
          <p:spPr bwMode="auto">
            <a:xfrm>
              <a:off x="6517" y="2552"/>
              <a:ext cx="331" cy="551"/>
            </a:xfrm>
            <a:custGeom>
              <a:avLst/>
              <a:gdLst>
                <a:gd name="T0" fmla="*/ 0 w 331"/>
                <a:gd name="T1" fmla="*/ 0 h 551"/>
                <a:gd name="T2" fmla="*/ 331 w 331"/>
                <a:gd name="T3" fmla="*/ 0 h 551"/>
                <a:gd name="T4" fmla="*/ 331 w 331"/>
                <a:gd name="T5" fmla="*/ 31 h 551"/>
                <a:gd name="T6" fmla="*/ 0 w 331"/>
                <a:gd name="T7" fmla="*/ 31 h 551"/>
                <a:gd name="T8" fmla="*/ 0 w 331"/>
                <a:gd name="T9" fmla="*/ 0 h 551"/>
                <a:gd name="T10" fmla="*/ 156 w 331"/>
                <a:gd name="T11" fmla="*/ 50 h 551"/>
                <a:gd name="T12" fmla="*/ 156 w 331"/>
                <a:gd name="T13" fmla="*/ 551 h 551"/>
                <a:gd name="T14" fmla="*/ 128 w 331"/>
                <a:gd name="T15" fmla="*/ 551 h 551"/>
                <a:gd name="T16" fmla="*/ 128 w 331"/>
                <a:gd name="T17" fmla="*/ 79 h 551"/>
                <a:gd name="T18" fmla="*/ 0 w 331"/>
                <a:gd name="T19" fmla="*/ 79 h 551"/>
                <a:gd name="T20" fmla="*/ 0 w 331"/>
                <a:gd name="T21" fmla="*/ 50 h 551"/>
                <a:gd name="T22" fmla="*/ 156 w 331"/>
                <a:gd name="T23" fmla="*/ 50 h 551"/>
                <a:gd name="T24" fmla="*/ 331 w 331"/>
                <a:gd name="T25" fmla="*/ 50 h 551"/>
                <a:gd name="T26" fmla="*/ 331 w 331"/>
                <a:gd name="T27" fmla="*/ 79 h 551"/>
                <a:gd name="T28" fmla="*/ 206 w 331"/>
                <a:gd name="T29" fmla="*/ 79 h 551"/>
                <a:gd name="T30" fmla="*/ 206 w 331"/>
                <a:gd name="T31" fmla="*/ 551 h 551"/>
                <a:gd name="T32" fmla="*/ 175 w 331"/>
                <a:gd name="T33" fmla="*/ 551 h 551"/>
                <a:gd name="T34" fmla="*/ 175 w 331"/>
                <a:gd name="T35" fmla="*/ 50 h 551"/>
                <a:gd name="T36" fmla="*/ 331 w 331"/>
                <a:gd name="T37" fmla="*/ 50 h 5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31" h="551">
                  <a:moveTo>
                    <a:pt x="0" y="0"/>
                  </a:moveTo>
                  <a:lnTo>
                    <a:pt x="331" y="0"/>
                  </a:lnTo>
                  <a:lnTo>
                    <a:pt x="331" y="31"/>
                  </a:lnTo>
                  <a:lnTo>
                    <a:pt x="0" y="31"/>
                  </a:lnTo>
                  <a:lnTo>
                    <a:pt x="0" y="0"/>
                  </a:lnTo>
                  <a:close/>
                  <a:moveTo>
                    <a:pt x="156" y="50"/>
                  </a:moveTo>
                  <a:lnTo>
                    <a:pt x="156" y="551"/>
                  </a:lnTo>
                  <a:lnTo>
                    <a:pt x="128" y="551"/>
                  </a:lnTo>
                  <a:lnTo>
                    <a:pt x="128" y="79"/>
                  </a:lnTo>
                  <a:lnTo>
                    <a:pt x="0" y="79"/>
                  </a:lnTo>
                  <a:lnTo>
                    <a:pt x="0" y="50"/>
                  </a:lnTo>
                  <a:lnTo>
                    <a:pt x="156" y="50"/>
                  </a:lnTo>
                  <a:close/>
                  <a:moveTo>
                    <a:pt x="331" y="50"/>
                  </a:moveTo>
                  <a:lnTo>
                    <a:pt x="331" y="79"/>
                  </a:lnTo>
                  <a:lnTo>
                    <a:pt x="206" y="79"/>
                  </a:lnTo>
                  <a:lnTo>
                    <a:pt x="206" y="551"/>
                  </a:lnTo>
                  <a:lnTo>
                    <a:pt x="175" y="551"/>
                  </a:lnTo>
                  <a:lnTo>
                    <a:pt x="175" y="50"/>
                  </a:lnTo>
                  <a:lnTo>
                    <a:pt x="331" y="50"/>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8" name="Freeform 18">
              <a:extLst>
                <a:ext uri="{FF2B5EF4-FFF2-40B4-BE49-F238E27FC236}">
                  <a16:creationId xmlns:a16="http://schemas.microsoft.com/office/drawing/2014/main" id="{34455E8A-CEC8-D54F-74FA-F27B1F3A2B9E}"/>
                </a:ext>
              </a:extLst>
            </p:cNvPr>
            <p:cNvSpPr>
              <a:spLocks noEditPoints="1"/>
            </p:cNvSpPr>
            <p:nvPr userDrawn="1"/>
          </p:nvSpPr>
          <p:spPr bwMode="auto">
            <a:xfrm>
              <a:off x="6886" y="2552"/>
              <a:ext cx="312" cy="551"/>
            </a:xfrm>
            <a:custGeom>
              <a:avLst/>
              <a:gdLst>
                <a:gd name="T0" fmla="*/ 295891719 w 132"/>
                <a:gd name="T1" fmla="*/ 0 h 232"/>
                <a:gd name="T2" fmla="*/ 295891719 w 132"/>
                <a:gd name="T3" fmla="*/ 31976658 h 232"/>
                <a:gd name="T4" fmla="*/ 110103249 w 132"/>
                <a:gd name="T5" fmla="*/ 31976658 h 232"/>
                <a:gd name="T6" fmla="*/ 51443210 w 132"/>
                <a:gd name="T7" fmla="*/ 58299493 h 232"/>
                <a:gd name="T8" fmla="*/ 26510905 w 132"/>
                <a:gd name="T9" fmla="*/ 122107630 h 232"/>
                <a:gd name="T10" fmla="*/ 26510905 w 132"/>
                <a:gd name="T11" fmla="*/ 442759715 h 232"/>
                <a:gd name="T12" fmla="*/ 51443210 w 132"/>
                <a:gd name="T13" fmla="*/ 508305993 h 232"/>
                <a:gd name="T14" fmla="*/ 110103249 w 132"/>
                <a:gd name="T15" fmla="*/ 535913430 h 232"/>
                <a:gd name="T16" fmla="*/ 295891719 w 132"/>
                <a:gd name="T17" fmla="*/ 535913430 h 232"/>
                <a:gd name="T18" fmla="*/ 295891719 w 132"/>
                <a:gd name="T19" fmla="*/ 564828430 h 232"/>
                <a:gd name="T20" fmla="*/ 110103249 w 132"/>
                <a:gd name="T21" fmla="*/ 564828430 h 232"/>
                <a:gd name="T22" fmla="*/ 31262608 w 132"/>
                <a:gd name="T23" fmla="*/ 527724589 h 232"/>
                <a:gd name="T24" fmla="*/ 0 w 132"/>
                <a:gd name="T25" fmla="*/ 442759715 h 232"/>
                <a:gd name="T26" fmla="*/ 0 w 132"/>
                <a:gd name="T27" fmla="*/ 122107630 h 232"/>
                <a:gd name="T28" fmla="*/ 31262608 w 132"/>
                <a:gd name="T29" fmla="*/ 37103839 h 232"/>
                <a:gd name="T30" fmla="*/ 110103249 w 132"/>
                <a:gd name="T31" fmla="*/ 0 h 232"/>
                <a:gd name="T32" fmla="*/ 295891719 w 132"/>
                <a:gd name="T33" fmla="*/ 0 h 232"/>
                <a:gd name="T34" fmla="*/ 44482705 w 132"/>
                <a:gd name="T35" fmla="*/ 122107630 h 232"/>
                <a:gd name="T36" fmla="*/ 65404189 w 132"/>
                <a:gd name="T37" fmla="*/ 70832843 h 232"/>
                <a:gd name="T38" fmla="*/ 111981461 w 132"/>
                <a:gd name="T39" fmla="*/ 51413739 h 232"/>
                <a:gd name="T40" fmla="*/ 295891719 w 132"/>
                <a:gd name="T41" fmla="*/ 51413739 h 232"/>
                <a:gd name="T42" fmla="*/ 295891719 w 132"/>
                <a:gd name="T43" fmla="*/ 79781492 h 232"/>
                <a:gd name="T44" fmla="*/ 111981461 w 132"/>
                <a:gd name="T45" fmla="*/ 79781492 h 232"/>
                <a:gd name="T46" fmla="*/ 85443339 w 132"/>
                <a:gd name="T47" fmla="*/ 92335711 h 232"/>
                <a:gd name="T48" fmla="*/ 73893437 w 132"/>
                <a:gd name="T49" fmla="*/ 122107630 h 232"/>
                <a:gd name="T50" fmla="*/ 73893437 w 132"/>
                <a:gd name="T51" fmla="*/ 202009418 h 232"/>
                <a:gd name="T52" fmla="*/ 295891719 w 132"/>
                <a:gd name="T53" fmla="*/ 202009418 h 232"/>
                <a:gd name="T54" fmla="*/ 295891719 w 132"/>
                <a:gd name="T55" fmla="*/ 233836064 h 232"/>
                <a:gd name="T56" fmla="*/ 44482705 w 132"/>
                <a:gd name="T57" fmla="*/ 233836064 h 232"/>
                <a:gd name="T58" fmla="*/ 44482705 w 132"/>
                <a:gd name="T59" fmla="*/ 122107630 h 232"/>
                <a:gd name="T60" fmla="*/ 44482705 w 132"/>
                <a:gd name="T61" fmla="*/ 253283286 h 232"/>
                <a:gd name="T62" fmla="*/ 295891719 w 132"/>
                <a:gd name="T63" fmla="*/ 253283286 h 232"/>
                <a:gd name="T64" fmla="*/ 295891719 w 132"/>
                <a:gd name="T65" fmla="*/ 283050061 h 232"/>
                <a:gd name="T66" fmla="*/ 73893437 w 132"/>
                <a:gd name="T67" fmla="*/ 283050061 h 232"/>
                <a:gd name="T68" fmla="*/ 73893437 w 132"/>
                <a:gd name="T69" fmla="*/ 442759715 h 232"/>
                <a:gd name="T70" fmla="*/ 85443339 w 132"/>
                <a:gd name="T71" fmla="*/ 472485538 h 232"/>
                <a:gd name="T72" fmla="*/ 111981461 w 132"/>
                <a:gd name="T73" fmla="*/ 484506888 h 232"/>
                <a:gd name="T74" fmla="*/ 295891719 w 132"/>
                <a:gd name="T75" fmla="*/ 484506888 h 232"/>
                <a:gd name="T76" fmla="*/ 295891719 w 132"/>
                <a:gd name="T77" fmla="*/ 513431020 h 232"/>
                <a:gd name="T78" fmla="*/ 111981461 w 132"/>
                <a:gd name="T79" fmla="*/ 513431020 h 232"/>
                <a:gd name="T80" fmla="*/ 65404189 w 132"/>
                <a:gd name="T81" fmla="*/ 494012295 h 232"/>
                <a:gd name="T82" fmla="*/ 44482705 w 132"/>
                <a:gd name="T83" fmla="*/ 442759715 h 232"/>
                <a:gd name="T84" fmla="*/ 44482705 w 132"/>
                <a:gd name="T85" fmla="*/ 253283286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132" y="0"/>
                  </a:moveTo>
                  <a:cubicBezTo>
                    <a:pt x="132" y="13"/>
                    <a:pt x="132" y="13"/>
                    <a:pt x="132" y="13"/>
                  </a:cubicBezTo>
                  <a:cubicBezTo>
                    <a:pt x="49" y="13"/>
                    <a:pt x="49" y="13"/>
                    <a:pt x="49" y="13"/>
                  </a:cubicBezTo>
                  <a:cubicBezTo>
                    <a:pt x="39" y="13"/>
                    <a:pt x="30" y="16"/>
                    <a:pt x="23" y="24"/>
                  </a:cubicBezTo>
                  <a:cubicBezTo>
                    <a:pt x="16" y="31"/>
                    <a:pt x="12" y="40"/>
                    <a:pt x="12" y="50"/>
                  </a:cubicBezTo>
                  <a:cubicBezTo>
                    <a:pt x="12" y="182"/>
                    <a:pt x="12" y="182"/>
                    <a:pt x="12" y="182"/>
                  </a:cubicBezTo>
                  <a:cubicBezTo>
                    <a:pt x="12" y="193"/>
                    <a:pt x="16" y="201"/>
                    <a:pt x="23" y="209"/>
                  </a:cubicBezTo>
                  <a:cubicBezTo>
                    <a:pt x="30" y="216"/>
                    <a:pt x="39" y="220"/>
                    <a:pt x="49" y="220"/>
                  </a:cubicBezTo>
                  <a:cubicBezTo>
                    <a:pt x="132" y="220"/>
                    <a:pt x="132" y="220"/>
                    <a:pt x="132" y="220"/>
                  </a:cubicBezTo>
                  <a:cubicBezTo>
                    <a:pt x="132" y="232"/>
                    <a:pt x="132" y="232"/>
                    <a:pt x="132" y="232"/>
                  </a:cubicBezTo>
                  <a:cubicBezTo>
                    <a:pt x="49" y="232"/>
                    <a:pt x="49" y="232"/>
                    <a:pt x="49" y="232"/>
                  </a:cubicBezTo>
                  <a:cubicBezTo>
                    <a:pt x="36" y="232"/>
                    <a:pt x="24" y="227"/>
                    <a:pt x="14" y="217"/>
                  </a:cubicBezTo>
                  <a:cubicBezTo>
                    <a:pt x="5" y="208"/>
                    <a:pt x="0" y="196"/>
                    <a:pt x="0" y="182"/>
                  </a:cubicBezTo>
                  <a:cubicBezTo>
                    <a:pt x="0" y="50"/>
                    <a:pt x="0" y="50"/>
                    <a:pt x="0" y="50"/>
                  </a:cubicBezTo>
                  <a:cubicBezTo>
                    <a:pt x="0" y="36"/>
                    <a:pt x="5" y="25"/>
                    <a:pt x="14" y="15"/>
                  </a:cubicBezTo>
                  <a:cubicBezTo>
                    <a:pt x="24" y="5"/>
                    <a:pt x="36" y="0"/>
                    <a:pt x="49" y="0"/>
                  </a:cubicBezTo>
                  <a:lnTo>
                    <a:pt x="132" y="0"/>
                  </a:lnTo>
                  <a:close/>
                  <a:moveTo>
                    <a:pt x="20" y="50"/>
                  </a:moveTo>
                  <a:cubicBezTo>
                    <a:pt x="20" y="42"/>
                    <a:pt x="23" y="35"/>
                    <a:pt x="29" y="29"/>
                  </a:cubicBezTo>
                  <a:cubicBezTo>
                    <a:pt x="35" y="24"/>
                    <a:pt x="42" y="21"/>
                    <a:pt x="50" y="21"/>
                  </a:cubicBezTo>
                  <a:cubicBezTo>
                    <a:pt x="132" y="21"/>
                    <a:pt x="132" y="21"/>
                    <a:pt x="132" y="21"/>
                  </a:cubicBezTo>
                  <a:cubicBezTo>
                    <a:pt x="132" y="33"/>
                    <a:pt x="132" y="33"/>
                    <a:pt x="132" y="33"/>
                  </a:cubicBezTo>
                  <a:cubicBezTo>
                    <a:pt x="50" y="33"/>
                    <a:pt x="50" y="33"/>
                    <a:pt x="50" y="33"/>
                  </a:cubicBezTo>
                  <a:cubicBezTo>
                    <a:pt x="45" y="33"/>
                    <a:pt x="41" y="35"/>
                    <a:pt x="38" y="38"/>
                  </a:cubicBezTo>
                  <a:cubicBezTo>
                    <a:pt x="35" y="42"/>
                    <a:pt x="33" y="45"/>
                    <a:pt x="33" y="50"/>
                  </a:cubicBezTo>
                  <a:cubicBezTo>
                    <a:pt x="33" y="83"/>
                    <a:pt x="33" y="83"/>
                    <a:pt x="33" y="83"/>
                  </a:cubicBezTo>
                  <a:cubicBezTo>
                    <a:pt x="132" y="83"/>
                    <a:pt x="132" y="83"/>
                    <a:pt x="132" y="83"/>
                  </a:cubicBezTo>
                  <a:cubicBezTo>
                    <a:pt x="132" y="96"/>
                    <a:pt x="132" y="96"/>
                    <a:pt x="132" y="96"/>
                  </a:cubicBezTo>
                  <a:cubicBezTo>
                    <a:pt x="20" y="96"/>
                    <a:pt x="20" y="96"/>
                    <a:pt x="20" y="96"/>
                  </a:cubicBezTo>
                  <a:lnTo>
                    <a:pt x="20" y="50"/>
                  </a:lnTo>
                  <a:close/>
                  <a:moveTo>
                    <a:pt x="20" y="104"/>
                  </a:moveTo>
                  <a:cubicBezTo>
                    <a:pt x="132" y="104"/>
                    <a:pt x="132" y="104"/>
                    <a:pt x="132" y="104"/>
                  </a:cubicBezTo>
                  <a:cubicBezTo>
                    <a:pt x="132" y="116"/>
                    <a:pt x="132" y="116"/>
                    <a:pt x="132" y="116"/>
                  </a:cubicBezTo>
                  <a:cubicBezTo>
                    <a:pt x="33" y="116"/>
                    <a:pt x="33" y="116"/>
                    <a:pt x="33" y="116"/>
                  </a:cubicBezTo>
                  <a:cubicBezTo>
                    <a:pt x="33" y="182"/>
                    <a:pt x="33" y="182"/>
                    <a:pt x="33" y="182"/>
                  </a:cubicBezTo>
                  <a:cubicBezTo>
                    <a:pt x="33" y="187"/>
                    <a:pt x="35" y="191"/>
                    <a:pt x="38" y="194"/>
                  </a:cubicBezTo>
                  <a:cubicBezTo>
                    <a:pt x="41" y="197"/>
                    <a:pt x="45" y="199"/>
                    <a:pt x="50" y="199"/>
                  </a:cubicBezTo>
                  <a:cubicBezTo>
                    <a:pt x="132" y="199"/>
                    <a:pt x="132" y="199"/>
                    <a:pt x="132" y="199"/>
                  </a:cubicBezTo>
                  <a:cubicBezTo>
                    <a:pt x="132" y="211"/>
                    <a:pt x="132" y="211"/>
                    <a:pt x="132" y="211"/>
                  </a:cubicBezTo>
                  <a:cubicBezTo>
                    <a:pt x="50" y="211"/>
                    <a:pt x="50" y="211"/>
                    <a:pt x="50" y="211"/>
                  </a:cubicBezTo>
                  <a:cubicBezTo>
                    <a:pt x="42" y="211"/>
                    <a:pt x="35" y="209"/>
                    <a:pt x="29" y="203"/>
                  </a:cubicBezTo>
                  <a:cubicBezTo>
                    <a:pt x="23" y="197"/>
                    <a:pt x="20" y="190"/>
                    <a:pt x="20" y="182"/>
                  </a:cubicBezTo>
                  <a:lnTo>
                    <a:pt x="20" y="104"/>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9" name="TextBox 23">
            <a:extLst>
              <a:ext uri="{FF2B5EF4-FFF2-40B4-BE49-F238E27FC236}">
                <a16:creationId xmlns:a16="http://schemas.microsoft.com/office/drawing/2014/main" id="{F450CCA0-E7EF-8DD2-51D0-B87EFC878598}"/>
              </a:ext>
            </a:extLst>
          </p:cNvPr>
          <p:cNvSpPr txBox="1">
            <a:spLocks noChangeArrowheads="1"/>
          </p:cNvSpPr>
          <p:nvPr/>
        </p:nvSpPr>
        <p:spPr bwMode="auto">
          <a:xfrm>
            <a:off x="11345863" y="6402388"/>
            <a:ext cx="354012" cy="261937"/>
          </a:xfrm>
          <a:prstGeom prst="rect">
            <a:avLst/>
          </a:prstGeom>
          <a:noFill/>
          <a:ln>
            <a:noFill/>
          </a:ln>
        </p:spPr>
        <p:txBody>
          <a:bodyPr wrap="none">
            <a:spAutoFit/>
          </a:bodyPr>
          <a:lstStyle>
            <a:lvl1pPr>
              <a:defRPr>
                <a:solidFill>
                  <a:schemeClr val="tx1"/>
                </a:solidFill>
                <a:latin typeface="Lato Light" panose="020F0502020204030203" pitchFamily="34" charset="0"/>
              </a:defRPr>
            </a:lvl1pPr>
            <a:lvl2pPr marL="742950" indent="-285750">
              <a:defRPr>
                <a:solidFill>
                  <a:schemeClr val="tx1"/>
                </a:solidFill>
                <a:latin typeface="Lato Light" panose="020F0502020204030203" pitchFamily="34" charset="0"/>
              </a:defRPr>
            </a:lvl2pPr>
            <a:lvl3pPr marL="1143000" indent="-228600">
              <a:defRPr>
                <a:solidFill>
                  <a:schemeClr val="tx1"/>
                </a:solidFill>
                <a:latin typeface="Lato Light" panose="020F0502020204030203" pitchFamily="34" charset="0"/>
              </a:defRPr>
            </a:lvl3pPr>
            <a:lvl4pPr marL="1600200" indent="-228600">
              <a:defRPr>
                <a:solidFill>
                  <a:schemeClr val="tx1"/>
                </a:solidFill>
                <a:latin typeface="Lato Light" panose="020F0502020204030203" pitchFamily="34" charset="0"/>
              </a:defRPr>
            </a:lvl4pPr>
            <a:lvl5pPr marL="2057400" indent="-228600">
              <a:defRPr>
                <a:solidFill>
                  <a:schemeClr val="tx1"/>
                </a:solidFill>
                <a:latin typeface="Lato Light" panose="020F0502020204030203" pitchFamily="34" charset="0"/>
              </a:defRPr>
            </a:lvl5pPr>
            <a:lvl6pPr marL="2514600" indent="-228600" eaLnBrk="0" fontAlgn="base" hangingPunct="0">
              <a:spcBef>
                <a:spcPct val="0"/>
              </a:spcBef>
              <a:spcAft>
                <a:spcPct val="0"/>
              </a:spcAft>
              <a:defRPr>
                <a:solidFill>
                  <a:schemeClr val="tx1"/>
                </a:solidFill>
                <a:latin typeface="Lato Light" panose="020F0502020204030203" pitchFamily="34" charset="0"/>
              </a:defRPr>
            </a:lvl6pPr>
            <a:lvl7pPr marL="2971800" indent="-228600" eaLnBrk="0" fontAlgn="base" hangingPunct="0">
              <a:spcBef>
                <a:spcPct val="0"/>
              </a:spcBef>
              <a:spcAft>
                <a:spcPct val="0"/>
              </a:spcAft>
              <a:defRPr>
                <a:solidFill>
                  <a:schemeClr val="tx1"/>
                </a:solidFill>
                <a:latin typeface="Lato Light" panose="020F0502020204030203" pitchFamily="34" charset="0"/>
              </a:defRPr>
            </a:lvl7pPr>
            <a:lvl8pPr marL="3429000" indent="-228600" eaLnBrk="0" fontAlgn="base" hangingPunct="0">
              <a:spcBef>
                <a:spcPct val="0"/>
              </a:spcBef>
              <a:spcAft>
                <a:spcPct val="0"/>
              </a:spcAft>
              <a:defRPr>
                <a:solidFill>
                  <a:schemeClr val="tx1"/>
                </a:solidFill>
                <a:latin typeface="Lato Light" panose="020F0502020204030203" pitchFamily="34" charset="0"/>
              </a:defRPr>
            </a:lvl8pPr>
            <a:lvl9pPr marL="3886200" indent="-228600" eaLnBrk="0" fontAlgn="base" hangingPunct="0">
              <a:spcBef>
                <a:spcPct val="0"/>
              </a:spcBef>
              <a:spcAft>
                <a:spcPct val="0"/>
              </a:spcAft>
              <a:defRPr>
                <a:solidFill>
                  <a:schemeClr val="tx1"/>
                </a:solidFill>
                <a:latin typeface="Lato Light" panose="020F0502020204030203" pitchFamily="34" charset="0"/>
              </a:defRPr>
            </a:lvl9pPr>
          </a:lstStyle>
          <a:p>
            <a:pPr algn="ctr" eaLnBrk="1" hangingPunct="1">
              <a:defRPr/>
            </a:pPr>
            <a:fld id="{949AE202-91D3-45D0-A606-7E110BF79172}" type="slidenum">
              <a:rPr lang="en-US" altLang="tr-TR" sz="1100" smtClean="0">
                <a:solidFill>
                  <a:schemeClr val="tx2"/>
                </a:solidFill>
              </a:rPr>
              <a:pPr algn="ctr" eaLnBrk="1" hangingPunct="1">
                <a:defRPr/>
              </a:pPr>
              <a:t>‹#›</a:t>
            </a:fld>
            <a:endParaRPr lang="en-US" altLang="tr-TR" sz="1100">
              <a:solidFill>
                <a:schemeClr val="tx2"/>
              </a:solidFill>
            </a:endParaRPr>
          </a:p>
        </p:txBody>
      </p:sp>
      <p:sp>
        <p:nvSpPr>
          <p:cNvPr id="7" name="Picture Placeholder 3"/>
          <p:cNvSpPr>
            <a:spLocks noGrp="1"/>
          </p:cNvSpPr>
          <p:nvPr>
            <p:ph type="pic" sz="quarter" idx="18"/>
          </p:nvPr>
        </p:nvSpPr>
        <p:spPr>
          <a:xfrm>
            <a:off x="0" y="1"/>
            <a:ext cx="12192000" cy="3429000"/>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Tree>
    <p:extLst>
      <p:ext uri="{BB962C8B-B14F-4D97-AF65-F5344CB8AC3E}">
        <p14:creationId xmlns:p14="http://schemas.microsoft.com/office/powerpoint/2010/main" val="28014624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4_Custom Layout">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9E91D2A8-ABAA-FAD8-D08C-A70F8CD45411}"/>
              </a:ext>
            </a:extLst>
          </p:cNvPr>
          <p:cNvSpPr/>
          <p:nvPr/>
        </p:nvSpPr>
        <p:spPr>
          <a:xfrm>
            <a:off x="11350625" y="6361113"/>
            <a:ext cx="344488" cy="344487"/>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2"/>
              </a:solidFill>
            </a:endParaRPr>
          </a:p>
        </p:txBody>
      </p:sp>
      <p:grpSp>
        <p:nvGrpSpPr>
          <p:cNvPr id="3" name="Group 4">
            <a:extLst>
              <a:ext uri="{FF2B5EF4-FFF2-40B4-BE49-F238E27FC236}">
                <a16:creationId xmlns:a16="http://schemas.microsoft.com/office/drawing/2014/main" id="{9234FEFA-25F7-55ED-D5D5-CE80BC310B30}"/>
              </a:ext>
            </a:extLst>
          </p:cNvPr>
          <p:cNvGrpSpPr>
            <a:grpSpLocks noChangeAspect="1"/>
          </p:cNvGrpSpPr>
          <p:nvPr/>
        </p:nvGrpSpPr>
        <p:grpSpPr bwMode="auto">
          <a:xfrm>
            <a:off x="527050" y="6389688"/>
            <a:ext cx="1039813" cy="284162"/>
            <a:chOff x="297" y="1187"/>
            <a:chExt cx="7085" cy="1944"/>
          </a:xfrm>
        </p:grpSpPr>
        <p:sp>
          <p:nvSpPr>
            <p:cNvPr id="4" name="Freeform 11">
              <a:extLst>
                <a:ext uri="{FF2B5EF4-FFF2-40B4-BE49-F238E27FC236}">
                  <a16:creationId xmlns:a16="http://schemas.microsoft.com/office/drawing/2014/main" id="{A5A0C408-31CB-1587-03EB-E1D4F1E5913F}"/>
                </a:ext>
              </a:extLst>
            </p:cNvPr>
            <p:cNvSpPr>
              <a:spLocks noEditPoints="1"/>
            </p:cNvSpPr>
            <p:nvPr userDrawn="1"/>
          </p:nvSpPr>
          <p:spPr bwMode="auto">
            <a:xfrm>
              <a:off x="297" y="1189"/>
              <a:ext cx="1266" cy="1105"/>
            </a:xfrm>
            <a:custGeom>
              <a:avLst/>
              <a:gdLst>
                <a:gd name="T0" fmla="*/ 592814223 w 535"/>
                <a:gd name="T1" fmla="*/ 490470457 h 466"/>
                <a:gd name="T2" fmla="*/ 475447313 w 535"/>
                <a:gd name="T3" fmla="*/ 198813566 h 466"/>
                <a:gd name="T4" fmla="*/ 254086917 w 535"/>
                <a:gd name="T5" fmla="*/ 767261907 h 466"/>
                <a:gd name="T6" fmla="*/ 205935911 w 535"/>
                <a:gd name="T7" fmla="*/ 898255873 h 466"/>
                <a:gd name="T8" fmla="*/ 135177273 w 535"/>
                <a:gd name="T9" fmla="*/ 1082812292 h 466"/>
                <a:gd name="T10" fmla="*/ 135177273 w 535"/>
                <a:gd name="T11" fmla="*/ 1079972834 h 466"/>
                <a:gd name="T12" fmla="*/ 102568007 w 535"/>
                <a:gd name="T13" fmla="*/ 1104057219 h 466"/>
                <a:gd name="T14" fmla="*/ 25381052 w 535"/>
                <a:gd name="T15" fmla="*/ 1104057219 h 466"/>
                <a:gd name="T16" fmla="*/ 0 w 535"/>
                <a:gd name="T17" fmla="*/ 1087116478 h 466"/>
                <a:gd name="T18" fmla="*/ 2031267 w 535"/>
                <a:gd name="T19" fmla="*/ 1078264271 h 466"/>
                <a:gd name="T20" fmla="*/ 4806699 w 535"/>
                <a:gd name="T21" fmla="*/ 1068152912 h 466"/>
                <a:gd name="T22" fmla="*/ 423281075 w 535"/>
                <a:gd name="T23" fmla="*/ 19018883 h 466"/>
                <a:gd name="T24" fmla="*/ 425157884 w 535"/>
                <a:gd name="T25" fmla="*/ 16871626 h 466"/>
                <a:gd name="T26" fmla="*/ 423281075 w 535"/>
                <a:gd name="T27" fmla="*/ 19018883 h 466"/>
                <a:gd name="T28" fmla="*/ 430186005 w 535"/>
                <a:gd name="T29" fmla="*/ 7115093 h 466"/>
                <a:gd name="T30" fmla="*/ 453467932 w 535"/>
                <a:gd name="T31" fmla="*/ 0 h 466"/>
                <a:gd name="T32" fmla="*/ 500809590 w 535"/>
                <a:gd name="T33" fmla="*/ 0 h 466"/>
                <a:gd name="T34" fmla="*/ 522062318 w 535"/>
                <a:gd name="T35" fmla="*/ 7115093 h 466"/>
                <a:gd name="T36" fmla="*/ 528624526 w 535"/>
                <a:gd name="T37" fmla="*/ 19018883 h 466"/>
                <a:gd name="T38" fmla="*/ 530657417 w 535"/>
                <a:gd name="T39" fmla="*/ 19018883 h 466"/>
                <a:gd name="T40" fmla="*/ 532753721 w 535"/>
                <a:gd name="T41" fmla="*/ 23986629 h 466"/>
                <a:gd name="T42" fmla="*/ 530657417 w 535"/>
                <a:gd name="T43" fmla="*/ 21137875 h 466"/>
                <a:gd name="T44" fmla="*/ 656507488 w 535"/>
                <a:gd name="T45" fmla="*/ 336755356 h 466"/>
                <a:gd name="T46" fmla="*/ 592814223 w 535"/>
                <a:gd name="T47" fmla="*/ 490470457 h 466"/>
                <a:gd name="T48" fmla="*/ 1063415281 w 535"/>
                <a:gd name="T49" fmla="*/ 1007003229 h 466"/>
                <a:gd name="T50" fmla="*/ 1020096784 w 535"/>
                <a:gd name="T51" fmla="*/ 898255873 h 466"/>
                <a:gd name="T52" fmla="*/ 862287051 w 535"/>
                <a:gd name="T53" fmla="*/ 490470457 h 466"/>
                <a:gd name="T54" fmla="*/ 745075518 w 535"/>
                <a:gd name="T55" fmla="*/ 198813566 h 466"/>
                <a:gd name="T56" fmla="*/ 524093625 w 535"/>
                <a:gd name="T57" fmla="*/ 767261907 h 466"/>
                <a:gd name="T58" fmla="*/ 473909525 w 535"/>
                <a:gd name="T59" fmla="*/ 898255873 h 466"/>
                <a:gd name="T60" fmla="*/ 405184384 w 535"/>
                <a:gd name="T61" fmla="*/ 1082812292 h 466"/>
                <a:gd name="T62" fmla="*/ 405184384 w 535"/>
                <a:gd name="T63" fmla="*/ 1079972834 h 466"/>
                <a:gd name="T64" fmla="*/ 372851835 w 535"/>
                <a:gd name="T65" fmla="*/ 1104057219 h 466"/>
                <a:gd name="T66" fmla="*/ 295029932 w 535"/>
                <a:gd name="T67" fmla="*/ 1104057219 h 466"/>
                <a:gd name="T68" fmla="*/ 269628205 w 535"/>
                <a:gd name="T69" fmla="*/ 1087116478 h 466"/>
                <a:gd name="T70" fmla="*/ 272403609 w 535"/>
                <a:gd name="T71" fmla="*/ 1078264271 h 466"/>
                <a:gd name="T72" fmla="*/ 274527635 w 535"/>
                <a:gd name="T73" fmla="*/ 1068152912 h 466"/>
                <a:gd name="T74" fmla="*/ 693246507 w 535"/>
                <a:gd name="T75" fmla="*/ 19018883 h 466"/>
                <a:gd name="T76" fmla="*/ 694891188 w 535"/>
                <a:gd name="T77" fmla="*/ 16871626 h 466"/>
                <a:gd name="T78" fmla="*/ 693246507 w 535"/>
                <a:gd name="T79" fmla="*/ 19018883 h 466"/>
                <a:gd name="T80" fmla="*/ 699814170 w 535"/>
                <a:gd name="T81" fmla="*/ 7115093 h 466"/>
                <a:gd name="T82" fmla="*/ 722963600 w 535"/>
                <a:gd name="T83" fmla="*/ 0 h 466"/>
                <a:gd name="T84" fmla="*/ 770453496 w 535"/>
                <a:gd name="T85" fmla="*/ 0 h 466"/>
                <a:gd name="T86" fmla="*/ 791690909 w 535"/>
                <a:gd name="T87" fmla="*/ 7115093 h 466"/>
                <a:gd name="T88" fmla="*/ 798593889 w 535"/>
                <a:gd name="T89" fmla="*/ 19018883 h 466"/>
                <a:gd name="T90" fmla="*/ 800282813 w 535"/>
                <a:gd name="T91" fmla="*/ 19018883 h 466"/>
                <a:gd name="T92" fmla="*/ 800282813 w 535"/>
                <a:gd name="T93" fmla="*/ 23986629 h 466"/>
                <a:gd name="T94" fmla="*/ 800282813 w 535"/>
                <a:gd name="T95" fmla="*/ 21137875 h 466"/>
                <a:gd name="T96" fmla="*/ 1221874959 w 535"/>
                <a:gd name="T97" fmla="*/ 1068152912 h 466"/>
                <a:gd name="T98" fmla="*/ 1223907795 w 535"/>
                <a:gd name="T99" fmla="*/ 1073239556 h 466"/>
                <a:gd name="T100" fmla="*/ 1223907795 w 535"/>
                <a:gd name="T101" fmla="*/ 1087116478 h 466"/>
                <a:gd name="T102" fmla="*/ 1198604492 w 535"/>
                <a:gd name="T103" fmla="*/ 1104057219 h 466"/>
                <a:gd name="T104" fmla="*/ 1123315401 w 535"/>
                <a:gd name="T105" fmla="*/ 1104057219 h 466"/>
                <a:gd name="T106" fmla="*/ 1091504023 w 535"/>
                <a:gd name="T107" fmla="*/ 1082812292 h 466"/>
                <a:gd name="T108" fmla="*/ 1063415281 w 535"/>
                <a:gd name="T109" fmla="*/ 1007003229 h 4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35" h="466">
                  <a:moveTo>
                    <a:pt x="259" y="207"/>
                  </a:moveTo>
                  <a:cubicBezTo>
                    <a:pt x="208" y="84"/>
                    <a:pt x="208" y="84"/>
                    <a:pt x="208" y="84"/>
                  </a:cubicBezTo>
                  <a:cubicBezTo>
                    <a:pt x="111" y="324"/>
                    <a:pt x="111" y="324"/>
                    <a:pt x="111" y="324"/>
                  </a:cubicBezTo>
                  <a:cubicBezTo>
                    <a:pt x="90" y="379"/>
                    <a:pt x="90" y="379"/>
                    <a:pt x="90" y="379"/>
                  </a:cubicBezTo>
                  <a:cubicBezTo>
                    <a:pt x="59" y="457"/>
                    <a:pt x="59" y="457"/>
                    <a:pt x="59" y="457"/>
                  </a:cubicBezTo>
                  <a:cubicBezTo>
                    <a:pt x="59" y="456"/>
                    <a:pt x="59" y="456"/>
                    <a:pt x="59" y="456"/>
                  </a:cubicBezTo>
                  <a:cubicBezTo>
                    <a:pt x="56" y="462"/>
                    <a:pt x="51" y="466"/>
                    <a:pt x="45" y="466"/>
                  </a:cubicBezTo>
                  <a:cubicBezTo>
                    <a:pt x="11" y="466"/>
                    <a:pt x="11" y="466"/>
                    <a:pt x="11" y="466"/>
                  </a:cubicBezTo>
                  <a:cubicBezTo>
                    <a:pt x="4" y="466"/>
                    <a:pt x="0" y="464"/>
                    <a:pt x="0" y="459"/>
                  </a:cubicBezTo>
                  <a:cubicBezTo>
                    <a:pt x="0" y="458"/>
                    <a:pt x="0" y="457"/>
                    <a:pt x="1" y="455"/>
                  </a:cubicBezTo>
                  <a:cubicBezTo>
                    <a:pt x="2" y="451"/>
                    <a:pt x="2" y="451"/>
                    <a:pt x="2" y="451"/>
                  </a:cubicBezTo>
                  <a:cubicBezTo>
                    <a:pt x="185" y="8"/>
                    <a:pt x="185" y="8"/>
                    <a:pt x="185" y="8"/>
                  </a:cubicBezTo>
                  <a:cubicBezTo>
                    <a:pt x="185" y="8"/>
                    <a:pt x="185" y="7"/>
                    <a:pt x="186" y="7"/>
                  </a:cubicBezTo>
                  <a:cubicBezTo>
                    <a:pt x="185" y="8"/>
                    <a:pt x="185" y="8"/>
                    <a:pt x="185" y="8"/>
                  </a:cubicBezTo>
                  <a:cubicBezTo>
                    <a:pt x="188" y="3"/>
                    <a:pt x="188" y="3"/>
                    <a:pt x="188" y="3"/>
                  </a:cubicBezTo>
                  <a:cubicBezTo>
                    <a:pt x="190" y="1"/>
                    <a:pt x="193" y="0"/>
                    <a:pt x="198" y="0"/>
                  </a:cubicBezTo>
                  <a:cubicBezTo>
                    <a:pt x="219" y="0"/>
                    <a:pt x="219" y="0"/>
                    <a:pt x="219" y="0"/>
                  </a:cubicBezTo>
                  <a:cubicBezTo>
                    <a:pt x="224" y="0"/>
                    <a:pt x="227" y="1"/>
                    <a:pt x="228" y="3"/>
                  </a:cubicBezTo>
                  <a:cubicBezTo>
                    <a:pt x="231" y="8"/>
                    <a:pt x="231" y="8"/>
                    <a:pt x="231" y="8"/>
                  </a:cubicBezTo>
                  <a:cubicBezTo>
                    <a:pt x="231" y="8"/>
                    <a:pt x="231" y="8"/>
                    <a:pt x="232" y="8"/>
                  </a:cubicBezTo>
                  <a:cubicBezTo>
                    <a:pt x="233" y="10"/>
                    <a:pt x="233" y="10"/>
                    <a:pt x="233" y="10"/>
                  </a:cubicBezTo>
                  <a:cubicBezTo>
                    <a:pt x="232" y="9"/>
                    <a:pt x="232" y="9"/>
                    <a:pt x="232" y="9"/>
                  </a:cubicBezTo>
                  <a:cubicBezTo>
                    <a:pt x="287" y="142"/>
                    <a:pt x="287" y="142"/>
                    <a:pt x="287" y="142"/>
                  </a:cubicBezTo>
                  <a:lnTo>
                    <a:pt x="259" y="207"/>
                  </a:lnTo>
                  <a:close/>
                  <a:moveTo>
                    <a:pt x="465" y="425"/>
                  </a:moveTo>
                  <a:cubicBezTo>
                    <a:pt x="446" y="379"/>
                    <a:pt x="446" y="379"/>
                    <a:pt x="446" y="379"/>
                  </a:cubicBezTo>
                  <a:cubicBezTo>
                    <a:pt x="377" y="207"/>
                    <a:pt x="377" y="207"/>
                    <a:pt x="377" y="207"/>
                  </a:cubicBezTo>
                  <a:cubicBezTo>
                    <a:pt x="326" y="84"/>
                    <a:pt x="326" y="84"/>
                    <a:pt x="326" y="84"/>
                  </a:cubicBezTo>
                  <a:cubicBezTo>
                    <a:pt x="229" y="324"/>
                    <a:pt x="229" y="324"/>
                    <a:pt x="229" y="324"/>
                  </a:cubicBezTo>
                  <a:cubicBezTo>
                    <a:pt x="207" y="379"/>
                    <a:pt x="207" y="379"/>
                    <a:pt x="207" y="379"/>
                  </a:cubicBezTo>
                  <a:cubicBezTo>
                    <a:pt x="177" y="457"/>
                    <a:pt x="177" y="457"/>
                    <a:pt x="177" y="457"/>
                  </a:cubicBezTo>
                  <a:cubicBezTo>
                    <a:pt x="177" y="456"/>
                    <a:pt x="177" y="456"/>
                    <a:pt x="177" y="456"/>
                  </a:cubicBezTo>
                  <a:cubicBezTo>
                    <a:pt x="174" y="462"/>
                    <a:pt x="169" y="466"/>
                    <a:pt x="163" y="466"/>
                  </a:cubicBezTo>
                  <a:cubicBezTo>
                    <a:pt x="129" y="466"/>
                    <a:pt x="129" y="466"/>
                    <a:pt x="129" y="466"/>
                  </a:cubicBezTo>
                  <a:cubicBezTo>
                    <a:pt x="122" y="466"/>
                    <a:pt x="118" y="464"/>
                    <a:pt x="118" y="459"/>
                  </a:cubicBezTo>
                  <a:cubicBezTo>
                    <a:pt x="118" y="458"/>
                    <a:pt x="118" y="457"/>
                    <a:pt x="119" y="455"/>
                  </a:cubicBezTo>
                  <a:cubicBezTo>
                    <a:pt x="120" y="451"/>
                    <a:pt x="120" y="451"/>
                    <a:pt x="120" y="451"/>
                  </a:cubicBezTo>
                  <a:cubicBezTo>
                    <a:pt x="303" y="8"/>
                    <a:pt x="303" y="8"/>
                    <a:pt x="303" y="8"/>
                  </a:cubicBezTo>
                  <a:cubicBezTo>
                    <a:pt x="303" y="8"/>
                    <a:pt x="303" y="7"/>
                    <a:pt x="304" y="7"/>
                  </a:cubicBezTo>
                  <a:cubicBezTo>
                    <a:pt x="303" y="8"/>
                    <a:pt x="303" y="8"/>
                    <a:pt x="303" y="8"/>
                  </a:cubicBezTo>
                  <a:cubicBezTo>
                    <a:pt x="306" y="3"/>
                    <a:pt x="306" y="3"/>
                    <a:pt x="306" y="3"/>
                  </a:cubicBezTo>
                  <a:cubicBezTo>
                    <a:pt x="308" y="1"/>
                    <a:pt x="311" y="0"/>
                    <a:pt x="316" y="0"/>
                  </a:cubicBezTo>
                  <a:cubicBezTo>
                    <a:pt x="337" y="0"/>
                    <a:pt x="337" y="0"/>
                    <a:pt x="337" y="0"/>
                  </a:cubicBezTo>
                  <a:cubicBezTo>
                    <a:pt x="342" y="0"/>
                    <a:pt x="344" y="1"/>
                    <a:pt x="346" y="3"/>
                  </a:cubicBezTo>
                  <a:cubicBezTo>
                    <a:pt x="349" y="8"/>
                    <a:pt x="349" y="8"/>
                    <a:pt x="349" y="8"/>
                  </a:cubicBezTo>
                  <a:cubicBezTo>
                    <a:pt x="349" y="8"/>
                    <a:pt x="349" y="8"/>
                    <a:pt x="350" y="8"/>
                  </a:cubicBezTo>
                  <a:cubicBezTo>
                    <a:pt x="350" y="10"/>
                    <a:pt x="350" y="10"/>
                    <a:pt x="350" y="10"/>
                  </a:cubicBezTo>
                  <a:cubicBezTo>
                    <a:pt x="350" y="9"/>
                    <a:pt x="350" y="9"/>
                    <a:pt x="350" y="9"/>
                  </a:cubicBezTo>
                  <a:cubicBezTo>
                    <a:pt x="534" y="451"/>
                    <a:pt x="534" y="451"/>
                    <a:pt x="534" y="451"/>
                  </a:cubicBezTo>
                  <a:cubicBezTo>
                    <a:pt x="535" y="453"/>
                    <a:pt x="535" y="453"/>
                    <a:pt x="535" y="453"/>
                  </a:cubicBezTo>
                  <a:cubicBezTo>
                    <a:pt x="535" y="455"/>
                    <a:pt x="535" y="457"/>
                    <a:pt x="535" y="459"/>
                  </a:cubicBezTo>
                  <a:cubicBezTo>
                    <a:pt x="535" y="464"/>
                    <a:pt x="532" y="466"/>
                    <a:pt x="524" y="466"/>
                  </a:cubicBezTo>
                  <a:cubicBezTo>
                    <a:pt x="491" y="466"/>
                    <a:pt x="491" y="466"/>
                    <a:pt x="491" y="466"/>
                  </a:cubicBezTo>
                  <a:cubicBezTo>
                    <a:pt x="479" y="466"/>
                    <a:pt x="477" y="456"/>
                    <a:pt x="477" y="457"/>
                  </a:cubicBezTo>
                  <a:lnTo>
                    <a:pt x="465" y="425"/>
                  </a:lnTo>
                  <a:close/>
                </a:path>
              </a:pathLst>
            </a:custGeom>
            <a:solidFill>
              <a:srgbClr val="2580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 name="Freeform 6">
              <a:extLst>
                <a:ext uri="{FF2B5EF4-FFF2-40B4-BE49-F238E27FC236}">
                  <a16:creationId xmlns:a16="http://schemas.microsoft.com/office/drawing/2014/main" id="{0A979CAC-16C9-E5CC-0EA9-CEA42A382F41}"/>
                </a:ext>
              </a:extLst>
            </p:cNvPr>
            <p:cNvSpPr>
              <a:spLocks noEditPoints="1"/>
            </p:cNvSpPr>
            <p:nvPr userDrawn="1"/>
          </p:nvSpPr>
          <p:spPr bwMode="auto">
            <a:xfrm>
              <a:off x="1456" y="1189"/>
              <a:ext cx="986" cy="1105"/>
            </a:xfrm>
            <a:custGeom>
              <a:avLst/>
              <a:gdLst>
                <a:gd name="T0" fmla="*/ 26658435 w 417"/>
                <a:gd name="T1" fmla="*/ 1104057219 h 466"/>
                <a:gd name="T2" fmla="*/ 0 w 417"/>
                <a:gd name="T3" fmla="*/ 1084997487 h 466"/>
                <a:gd name="T4" fmla="*/ 0 w 417"/>
                <a:gd name="T5" fmla="*/ 1071148297 h 466"/>
                <a:gd name="T6" fmla="*/ 2016564 w 417"/>
                <a:gd name="T7" fmla="*/ 1065967725 h 466"/>
                <a:gd name="T8" fmla="*/ 440005146 w 417"/>
                <a:gd name="T9" fmla="*/ 19018883 h 466"/>
                <a:gd name="T10" fmla="*/ 469546985 w 417"/>
                <a:gd name="T11" fmla="*/ 0 h 466"/>
                <a:gd name="T12" fmla="*/ 474377529 w 417"/>
                <a:gd name="T13" fmla="*/ 0 h 466"/>
                <a:gd name="T14" fmla="*/ 505945896 w 417"/>
                <a:gd name="T15" fmla="*/ 21137875 h 466"/>
                <a:gd name="T16" fmla="*/ 612172944 w 417"/>
                <a:gd name="T17" fmla="*/ 284828039 h 466"/>
                <a:gd name="T18" fmla="*/ 830540312 w 417"/>
                <a:gd name="T19" fmla="*/ 805128453 h 466"/>
                <a:gd name="T20" fmla="*/ 936767478 w 417"/>
                <a:gd name="T21" fmla="*/ 1065967725 h 466"/>
                <a:gd name="T22" fmla="*/ 936767478 w 417"/>
                <a:gd name="T23" fmla="*/ 1065967725 h 466"/>
                <a:gd name="T24" fmla="*/ 941198430 w 417"/>
                <a:gd name="T25" fmla="*/ 1084997487 h 466"/>
                <a:gd name="T26" fmla="*/ 914535082 w 417"/>
                <a:gd name="T27" fmla="*/ 1104057219 h 466"/>
                <a:gd name="T28" fmla="*/ 26658435 w 417"/>
                <a:gd name="T29" fmla="*/ 1104057219 h 466"/>
                <a:gd name="T30" fmla="*/ 173692259 w 417"/>
                <a:gd name="T31" fmla="*/ 974102843 h 466"/>
                <a:gd name="T32" fmla="*/ 332252753 w 417"/>
                <a:gd name="T33" fmla="*/ 974102843 h 466"/>
                <a:gd name="T34" fmla="*/ 767506131 w 417"/>
                <a:gd name="T35" fmla="*/ 974102843 h 466"/>
                <a:gd name="T36" fmla="*/ 471651445 w 417"/>
                <a:gd name="T37" fmla="*/ 238808028 h 466"/>
                <a:gd name="T38" fmla="*/ 173692259 w 417"/>
                <a:gd name="T39" fmla="*/ 974102843 h 4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17" h="466">
                  <a:moveTo>
                    <a:pt x="12" y="466"/>
                  </a:moveTo>
                  <a:cubicBezTo>
                    <a:pt x="4" y="466"/>
                    <a:pt x="0" y="463"/>
                    <a:pt x="0" y="458"/>
                  </a:cubicBezTo>
                  <a:cubicBezTo>
                    <a:pt x="0" y="455"/>
                    <a:pt x="0" y="453"/>
                    <a:pt x="0" y="452"/>
                  </a:cubicBezTo>
                  <a:cubicBezTo>
                    <a:pt x="1" y="450"/>
                    <a:pt x="1" y="450"/>
                    <a:pt x="1" y="450"/>
                  </a:cubicBezTo>
                  <a:cubicBezTo>
                    <a:pt x="195" y="8"/>
                    <a:pt x="195" y="8"/>
                    <a:pt x="195" y="8"/>
                  </a:cubicBezTo>
                  <a:cubicBezTo>
                    <a:pt x="196" y="5"/>
                    <a:pt x="197" y="0"/>
                    <a:pt x="208" y="0"/>
                  </a:cubicBezTo>
                  <a:cubicBezTo>
                    <a:pt x="210" y="0"/>
                    <a:pt x="210" y="0"/>
                    <a:pt x="210" y="0"/>
                  </a:cubicBezTo>
                  <a:cubicBezTo>
                    <a:pt x="222" y="0"/>
                    <a:pt x="222" y="7"/>
                    <a:pt x="224" y="9"/>
                  </a:cubicBezTo>
                  <a:cubicBezTo>
                    <a:pt x="239" y="46"/>
                    <a:pt x="255" y="83"/>
                    <a:pt x="271" y="120"/>
                  </a:cubicBezTo>
                  <a:cubicBezTo>
                    <a:pt x="368" y="340"/>
                    <a:pt x="368" y="340"/>
                    <a:pt x="368" y="340"/>
                  </a:cubicBezTo>
                  <a:cubicBezTo>
                    <a:pt x="384" y="377"/>
                    <a:pt x="400" y="414"/>
                    <a:pt x="415" y="450"/>
                  </a:cubicBezTo>
                  <a:cubicBezTo>
                    <a:pt x="415" y="450"/>
                    <a:pt x="415" y="450"/>
                    <a:pt x="415" y="450"/>
                  </a:cubicBezTo>
                  <a:cubicBezTo>
                    <a:pt x="417" y="458"/>
                    <a:pt x="417" y="458"/>
                    <a:pt x="417" y="458"/>
                  </a:cubicBezTo>
                  <a:cubicBezTo>
                    <a:pt x="417" y="463"/>
                    <a:pt x="413" y="466"/>
                    <a:pt x="405" y="466"/>
                  </a:cubicBezTo>
                  <a:lnTo>
                    <a:pt x="12" y="466"/>
                  </a:lnTo>
                  <a:close/>
                  <a:moveTo>
                    <a:pt x="77" y="411"/>
                  </a:moveTo>
                  <a:cubicBezTo>
                    <a:pt x="147" y="411"/>
                    <a:pt x="147" y="411"/>
                    <a:pt x="147" y="411"/>
                  </a:cubicBezTo>
                  <a:cubicBezTo>
                    <a:pt x="340" y="411"/>
                    <a:pt x="340" y="411"/>
                    <a:pt x="340" y="411"/>
                  </a:cubicBezTo>
                  <a:cubicBezTo>
                    <a:pt x="209" y="101"/>
                    <a:pt x="209" y="101"/>
                    <a:pt x="209" y="101"/>
                  </a:cubicBezTo>
                  <a:lnTo>
                    <a:pt x="77" y="411"/>
                  </a:lnTo>
                  <a:close/>
                </a:path>
              </a:pathLst>
            </a:custGeom>
            <a:solidFill>
              <a:srgbClr val="1993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 name="Freeform 7">
              <a:extLst>
                <a:ext uri="{FF2B5EF4-FFF2-40B4-BE49-F238E27FC236}">
                  <a16:creationId xmlns:a16="http://schemas.microsoft.com/office/drawing/2014/main" id="{7699D825-F93D-84F2-0BAA-C9D010DC3FE2}"/>
                </a:ext>
              </a:extLst>
            </p:cNvPr>
            <p:cNvSpPr>
              <a:spLocks noEditPoints="1"/>
            </p:cNvSpPr>
            <p:nvPr userDrawn="1"/>
          </p:nvSpPr>
          <p:spPr bwMode="auto">
            <a:xfrm>
              <a:off x="2501" y="1189"/>
              <a:ext cx="1594" cy="1942"/>
            </a:xfrm>
            <a:custGeom>
              <a:avLst/>
              <a:gdLst>
                <a:gd name="T0" fmla="*/ 1483443497 w 674"/>
                <a:gd name="T1" fmla="*/ 1714655374 h 819"/>
                <a:gd name="T2" fmla="*/ 1526729097 w 674"/>
                <a:gd name="T3" fmla="*/ 1761916426 h 819"/>
                <a:gd name="T4" fmla="*/ 1526729097 w 674"/>
                <a:gd name="T5" fmla="*/ 1892482889 h 819"/>
                <a:gd name="T6" fmla="*/ 1483443497 w 674"/>
                <a:gd name="T7" fmla="*/ 1939529634 h 819"/>
                <a:gd name="T8" fmla="*/ 45037621 w 674"/>
                <a:gd name="T9" fmla="*/ 1939529634 h 819"/>
                <a:gd name="T10" fmla="*/ 2021131 w 674"/>
                <a:gd name="T11" fmla="*/ 1892482889 h 819"/>
                <a:gd name="T12" fmla="*/ 2021131 w 674"/>
                <a:gd name="T13" fmla="*/ 1747816468 h 819"/>
                <a:gd name="T14" fmla="*/ 4779945 w 674"/>
                <a:gd name="T15" fmla="*/ 1718918526 h 819"/>
                <a:gd name="T16" fmla="*/ 1173181872 w 674"/>
                <a:gd name="T17" fmla="*/ 224874255 h 819"/>
                <a:gd name="T18" fmla="*/ 67999529 w 674"/>
                <a:gd name="T19" fmla="*/ 224874255 h 819"/>
                <a:gd name="T20" fmla="*/ 23082570 w 674"/>
                <a:gd name="T21" fmla="*/ 177827380 h 819"/>
                <a:gd name="T22" fmla="*/ 23082570 w 674"/>
                <a:gd name="T23" fmla="*/ 39995312 h 819"/>
                <a:gd name="T24" fmla="*/ 67999529 w 674"/>
                <a:gd name="T25" fmla="*/ 0 h 819"/>
                <a:gd name="T26" fmla="*/ 1415437178 w 674"/>
                <a:gd name="T27" fmla="*/ 0 h 819"/>
                <a:gd name="T28" fmla="*/ 1460854109 w 674"/>
                <a:gd name="T29" fmla="*/ 45085377 h 819"/>
                <a:gd name="T30" fmla="*/ 1460854109 w 674"/>
                <a:gd name="T31" fmla="*/ 191701471 h 819"/>
                <a:gd name="T32" fmla="*/ 1458729657 w 674"/>
                <a:gd name="T33" fmla="*/ 205471911 h 819"/>
                <a:gd name="T34" fmla="*/ 1451728403 w 674"/>
                <a:gd name="T35" fmla="*/ 224874255 h 819"/>
                <a:gd name="T36" fmla="*/ 1453837196 w 674"/>
                <a:gd name="T37" fmla="*/ 220773085 h 819"/>
                <a:gd name="T38" fmla="*/ 298805398 w 674"/>
                <a:gd name="T39" fmla="*/ 1714655374 h 819"/>
                <a:gd name="T40" fmla="*/ 892477599 w 674"/>
                <a:gd name="T41" fmla="*/ 1714655374 h 819"/>
                <a:gd name="T42" fmla="*/ 1483443497 w 674"/>
                <a:gd name="T43" fmla="*/ 1714655374 h 819"/>
                <a:gd name="T44" fmla="*/ 901071203 w 674"/>
                <a:gd name="T45" fmla="*/ 1338067130 h 819"/>
                <a:gd name="T46" fmla="*/ 1485464242 w 674"/>
                <a:gd name="T47" fmla="*/ 1338067130 h 819"/>
                <a:gd name="T48" fmla="*/ 1526729097 w 674"/>
                <a:gd name="T49" fmla="*/ 1380181100 h 819"/>
                <a:gd name="T50" fmla="*/ 1526729097 w 674"/>
                <a:gd name="T51" fmla="*/ 1518014804 h 819"/>
                <a:gd name="T52" fmla="*/ 1485464242 w 674"/>
                <a:gd name="T53" fmla="*/ 1565124966 h 819"/>
                <a:gd name="T54" fmla="*/ 899479284 w 674"/>
                <a:gd name="T55" fmla="*/ 1565124966 h 819"/>
                <a:gd name="T56" fmla="*/ 858051680 w 674"/>
                <a:gd name="T57" fmla="*/ 1525126678 h 819"/>
                <a:gd name="T58" fmla="*/ 858051680 w 674"/>
                <a:gd name="T59" fmla="*/ 1385323779 h 819"/>
                <a:gd name="T60" fmla="*/ 872788267 w 674"/>
                <a:gd name="T61" fmla="*/ 1354121744 h 819"/>
                <a:gd name="T62" fmla="*/ 901071203 w 674"/>
                <a:gd name="T63" fmla="*/ 1338067130 h 81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74" h="819">
                  <a:moveTo>
                    <a:pt x="655" y="724"/>
                  </a:moveTo>
                  <a:cubicBezTo>
                    <a:pt x="654" y="724"/>
                    <a:pt x="674" y="721"/>
                    <a:pt x="674" y="744"/>
                  </a:cubicBezTo>
                  <a:cubicBezTo>
                    <a:pt x="674" y="799"/>
                    <a:pt x="674" y="799"/>
                    <a:pt x="674" y="799"/>
                  </a:cubicBezTo>
                  <a:cubicBezTo>
                    <a:pt x="674" y="809"/>
                    <a:pt x="666" y="819"/>
                    <a:pt x="655" y="819"/>
                  </a:cubicBezTo>
                  <a:cubicBezTo>
                    <a:pt x="20" y="819"/>
                    <a:pt x="20" y="819"/>
                    <a:pt x="20" y="819"/>
                  </a:cubicBezTo>
                  <a:cubicBezTo>
                    <a:pt x="10" y="819"/>
                    <a:pt x="0" y="811"/>
                    <a:pt x="1" y="799"/>
                  </a:cubicBezTo>
                  <a:cubicBezTo>
                    <a:pt x="1" y="738"/>
                    <a:pt x="1" y="738"/>
                    <a:pt x="1" y="738"/>
                  </a:cubicBezTo>
                  <a:cubicBezTo>
                    <a:pt x="0" y="735"/>
                    <a:pt x="2" y="730"/>
                    <a:pt x="2" y="726"/>
                  </a:cubicBezTo>
                  <a:cubicBezTo>
                    <a:pt x="518" y="95"/>
                    <a:pt x="518" y="95"/>
                    <a:pt x="518" y="95"/>
                  </a:cubicBezTo>
                  <a:cubicBezTo>
                    <a:pt x="30" y="95"/>
                    <a:pt x="30" y="95"/>
                    <a:pt x="30" y="95"/>
                  </a:cubicBezTo>
                  <a:cubicBezTo>
                    <a:pt x="15" y="95"/>
                    <a:pt x="10" y="88"/>
                    <a:pt x="10" y="75"/>
                  </a:cubicBezTo>
                  <a:cubicBezTo>
                    <a:pt x="10" y="17"/>
                    <a:pt x="10" y="17"/>
                    <a:pt x="10" y="17"/>
                  </a:cubicBezTo>
                  <a:cubicBezTo>
                    <a:pt x="10" y="5"/>
                    <a:pt x="15" y="0"/>
                    <a:pt x="30" y="0"/>
                  </a:cubicBezTo>
                  <a:cubicBezTo>
                    <a:pt x="625" y="0"/>
                    <a:pt x="625" y="0"/>
                    <a:pt x="625" y="0"/>
                  </a:cubicBezTo>
                  <a:cubicBezTo>
                    <a:pt x="637" y="0"/>
                    <a:pt x="645" y="6"/>
                    <a:pt x="645" y="19"/>
                  </a:cubicBezTo>
                  <a:cubicBezTo>
                    <a:pt x="645" y="81"/>
                    <a:pt x="645" y="81"/>
                    <a:pt x="645" y="81"/>
                  </a:cubicBezTo>
                  <a:cubicBezTo>
                    <a:pt x="645" y="82"/>
                    <a:pt x="645" y="85"/>
                    <a:pt x="644" y="87"/>
                  </a:cubicBezTo>
                  <a:cubicBezTo>
                    <a:pt x="641" y="95"/>
                    <a:pt x="641" y="95"/>
                    <a:pt x="641" y="95"/>
                  </a:cubicBezTo>
                  <a:cubicBezTo>
                    <a:pt x="642" y="93"/>
                    <a:pt x="642" y="93"/>
                    <a:pt x="642" y="93"/>
                  </a:cubicBezTo>
                  <a:cubicBezTo>
                    <a:pt x="132" y="724"/>
                    <a:pt x="132" y="724"/>
                    <a:pt x="132" y="724"/>
                  </a:cubicBezTo>
                  <a:cubicBezTo>
                    <a:pt x="394" y="724"/>
                    <a:pt x="394" y="724"/>
                    <a:pt x="394" y="724"/>
                  </a:cubicBezTo>
                  <a:lnTo>
                    <a:pt x="655" y="724"/>
                  </a:lnTo>
                  <a:close/>
                  <a:moveTo>
                    <a:pt x="398" y="565"/>
                  </a:moveTo>
                  <a:cubicBezTo>
                    <a:pt x="656" y="565"/>
                    <a:pt x="656" y="565"/>
                    <a:pt x="656" y="565"/>
                  </a:cubicBezTo>
                  <a:cubicBezTo>
                    <a:pt x="666" y="565"/>
                    <a:pt x="674" y="573"/>
                    <a:pt x="674" y="583"/>
                  </a:cubicBezTo>
                  <a:cubicBezTo>
                    <a:pt x="674" y="641"/>
                    <a:pt x="674" y="641"/>
                    <a:pt x="674" y="641"/>
                  </a:cubicBezTo>
                  <a:cubicBezTo>
                    <a:pt x="674" y="652"/>
                    <a:pt x="666" y="661"/>
                    <a:pt x="656" y="661"/>
                  </a:cubicBezTo>
                  <a:cubicBezTo>
                    <a:pt x="397" y="661"/>
                    <a:pt x="397" y="661"/>
                    <a:pt x="397" y="661"/>
                  </a:cubicBezTo>
                  <a:cubicBezTo>
                    <a:pt x="386" y="661"/>
                    <a:pt x="379" y="654"/>
                    <a:pt x="379" y="644"/>
                  </a:cubicBezTo>
                  <a:cubicBezTo>
                    <a:pt x="379" y="585"/>
                    <a:pt x="379" y="585"/>
                    <a:pt x="379" y="585"/>
                  </a:cubicBezTo>
                  <a:cubicBezTo>
                    <a:pt x="380" y="580"/>
                    <a:pt x="382" y="576"/>
                    <a:pt x="385" y="572"/>
                  </a:cubicBezTo>
                  <a:cubicBezTo>
                    <a:pt x="385" y="572"/>
                    <a:pt x="386" y="565"/>
                    <a:pt x="398" y="565"/>
                  </a:cubicBezTo>
                  <a:close/>
                </a:path>
              </a:pathLst>
            </a:custGeom>
            <a:solidFill>
              <a:srgbClr val="9EBE5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 name="Freeform 8">
              <a:extLst>
                <a:ext uri="{FF2B5EF4-FFF2-40B4-BE49-F238E27FC236}">
                  <a16:creationId xmlns:a16="http://schemas.microsoft.com/office/drawing/2014/main" id="{D25ED67A-1999-9D13-C7B3-77126FDB6235}"/>
                </a:ext>
              </a:extLst>
            </p:cNvPr>
            <p:cNvSpPr>
              <a:spLocks noEditPoints="1"/>
            </p:cNvSpPr>
            <p:nvPr userDrawn="1"/>
          </p:nvSpPr>
          <p:spPr bwMode="auto">
            <a:xfrm>
              <a:off x="4133" y="1189"/>
              <a:ext cx="986" cy="1105"/>
            </a:xfrm>
            <a:custGeom>
              <a:avLst/>
              <a:gdLst>
                <a:gd name="T0" fmla="*/ 26658435 w 417"/>
                <a:gd name="T1" fmla="*/ 1104057219 h 466"/>
                <a:gd name="T2" fmla="*/ 2016564 w 417"/>
                <a:gd name="T3" fmla="*/ 1084997487 h 466"/>
                <a:gd name="T4" fmla="*/ 2016564 w 417"/>
                <a:gd name="T5" fmla="*/ 1071148297 h 466"/>
                <a:gd name="T6" fmla="*/ 4768183 w 417"/>
                <a:gd name="T7" fmla="*/ 1065967725 h 466"/>
                <a:gd name="T8" fmla="*/ 440005146 w 417"/>
                <a:gd name="T9" fmla="*/ 19018883 h 466"/>
                <a:gd name="T10" fmla="*/ 471651445 w 417"/>
                <a:gd name="T11" fmla="*/ 0 h 466"/>
                <a:gd name="T12" fmla="*/ 476419656 w 417"/>
                <a:gd name="T13" fmla="*/ 0 h 466"/>
                <a:gd name="T14" fmla="*/ 505945896 w 417"/>
                <a:gd name="T15" fmla="*/ 21137875 h 466"/>
                <a:gd name="T16" fmla="*/ 612172944 w 417"/>
                <a:gd name="T17" fmla="*/ 284828039 h 466"/>
                <a:gd name="T18" fmla="*/ 833293680 w 417"/>
                <a:gd name="T19" fmla="*/ 805128453 h 466"/>
                <a:gd name="T20" fmla="*/ 939517011 w 417"/>
                <a:gd name="T21" fmla="*/ 1065967725 h 466"/>
                <a:gd name="T22" fmla="*/ 936767478 w 417"/>
                <a:gd name="T23" fmla="*/ 1065967725 h 466"/>
                <a:gd name="T24" fmla="*/ 941198430 w 417"/>
                <a:gd name="T25" fmla="*/ 1084997487 h 466"/>
                <a:gd name="T26" fmla="*/ 916425650 w 417"/>
                <a:gd name="T27" fmla="*/ 1104057219 h 466"/>
                <a:gd name="T28" fmla="*/ 26658435 w 417"/>
                <a:gd name="T29" fmla="*/ 1104057219 h 466"/>
                <a:gd name="T30" fmla="*/ 173692259 w 417"/>
                <a:gd name="T31" fmla="*/ 974102843 h 466"/>
                <a:gd name="T32" fmla="*/ 332252753 w 417"/>
                <a:gd name="T33" fmla="*/ 974102843 h 466"/>
                <a:gd name="T34" fmla="*/ 767506131 w 417"/>
                <a:gd name="T35" fmla="*/ 974102843 h 466"/>
                <a:gd name="T36" fmla="*/ 471651445 w 417"/>
                <a:gd name="T37" fmla="*/ 238808028 h 466"/>
                <a:gd name="T38" fmla="*/ 173692259 w 417"/>
                <a:gd name="T39" fmla="*/ 974102843 h 4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17" h="466">
                  <a:moveTo>
                    <a:pt x="12" y="466"/>
                  </a:moveTo>
                  <a:cubicBezTo>
                    <a:pt x="4" y="466"/>
                    <a:pt x="0" y="463"/>
                    <a:pt x="1" y="458"/>
                  </a:cubicBezTo>
                  <a:cubicBezTo>
                    <a:pt x="0" y="455"/>
                    <a:pt x="0" y="453"/>
                    <a:pt x="1" y="452"/>
                  </a:cubicBezTo>
                  <a:cubicBezTo>
                    <a:pt x="2" y="450"/>
                    <a:pt x="2" y="450"/>
                    <a:pt x="2" y="450"/>
                  </a:cubicBezTo>
                  <a:cubicBezTo>
                    <a:pt x="195" y="8"/>
                    <a:pt x="195" y="8"/>
                    <a:pt x="195" y="8"/>
                  </a:cubicBezTo>
                  <a:cubicBezTo>
                    <a:pt x="197" y="5"/>
                    <a:pt x="198" y="0"/>
                    <a:pt x="209" y="0"/>
                  </a:cubicBezTo>
                  <a:cubicBezTo>
                    <a:pt x="211" y="0"/>
                    <a:pt x="211" y="0"/>
                    <a:pt x="211" y="0"/>
                  </a:cubicBezTo>
                  <a:cubicBezTo>
                    <a:pt x="222" y="0"/>
                    <a:pt x="223" y="7"/>
                    <a:pt x="224" y="9"/>
                  </a:cubicBezTo>
                  <a:cubicBezTo>
                    <a:pt x="239" y="46"/>
                    <a:pt x="255" y="83"/>
                    <a:pt x="271" y="120"/>
                  </a:cubicBezTo>
                  <a:cubicBezTo>
                    <a:pt x="369" y="340"/>
                    <a:pt x="369" y="340"/>
                    <a:pt x="369" y="340"/>
                  </a:cubicBezTo>
                  <a:cubicBezTo>
                    <a:pt x="385" y="377"/>
                    <a:pt x="401" y="414"/>
                    <a:pt x="416" y="450"/>
                  </a:cubicBezTo>
                  <a:cubicBezTo>
                    <a:pt x="415" y="450"/>
                    <a:pt x="415" y="450"/>
                    <a:pt x="415" y="450"/>
                  </a:cubicBezTo>
                  <a:cubicBezTo>
                    <a:pt x="417" y="458"/>
                    <a:pt x="417" y="458"/>
                    <a:pt x="417" y="458"/>
                  </a:cubicBezTo>
                  <a:cubicBezTo>
                    <a:pt x="417" y="463"/>
                    <a:pt x="414" y="466"/>
                    <a:pt x="406" y="466"/>
                  </a:cubicBezTo>
                  <a:lnTo>
                    <a:pt x="12" y="466"/>
                  </a:lnTo>
                  <a:close/>
                  <a:moveTo>
                    <a:pt x="77" y="411"/>
                  </a:moveTo>
                  <a:cubicBezTo>
                    <a:pt x="147" y="411"/>
                    <a:pt x="147" y="411"/>
                    <a:pt x="147" y="411"/>
                  </a:cubicBezTo>
                  <a:cubicBezTo>
                    <a:pt x="340" y="411"/>
                    <a:pt x="340" y="411"/>
                    <a:pt x="340" y="411"/>
                  </a:cubicBezTo>
                  <a:cubicBezTo>
                    <a:pt x="209" y="101"/>
                    <a:pt x="209" y="101"/>
                    <a:pt x="209" y="101"/>
                  </a:cubicBezTo>
                  <a:lnTo>
                    <a:pt x="77" y="411"/>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0" name="Freeform 9">
              <a:extLst>
                <a:ext uri="{FF2B5EF4-FFF2-40B4-BE49-F238E27FC236}">
                  <a16:creationId xmlns:a16="http://schemas.microsoft.com/office/drawing/2014/main" id="{7F8C64F2-8744-4FBF-5866-8107C8BB9062}"/>
                </a:ext>
              </a:extLst>
            </p:cNvPr>
            <p:cNvSpPr>
              <a:spLocks noEditPoints="1"/>
            </p:cNvSpPr>
            <p:nvPr userDrawn="1"/>
          </p:nvSpPr>
          <p:spPr bwMode="auto">
            <a:xfrm>
              <a:off x="5259" y="1187"/>
              <a:ext cx="941" cy="1107"/>
            </a:xfrm>
            <a:custGeom>
              <a:avLst/>
              <a:gdLst>
                <a:gd name="T0" fmla="*/ 897379222 w 398"/>
                <a:gd name="T1" fmla="*/ 30594420 h 467"/>
                <a:gd name="T2" fmla="*/ 890358234 w 398"/>
                <a:gd name="T3" fmla="*/ 1076168270 h 467"/>
                <a:gd name="T4" fmla="*/ 863748004 w 398"/>
                <a:gd name="T5" fmla="*/ 1100058818 h 467"/>
                <a:gd name="T6" fmla="*/ 771485685 w 398"/>
                <a:gd name="T7" fmla="*/ 1100058818 h 467"/>
                <a:gd name="T8" fmla="*/ 125893508 w 398"/>
                <a:gd name="T9" fmla="*/ 184128005 h 467"/>
                <a:gd name="T10" fmla="*/ 122136901 w 398"/>
                <a:gd name="T11" fmla="*/ 754173992 h 467"/>
                <a:gd name="T12" fmla="*/ 376580847 w 398"/>
                <a:gd name="T13" fmla="*/ 754173992 h 467"/>
                <a:gd name="T14" fmla="*/ 398430025 w 398"/>
                <a:gd name="T15" fmla="*/ 777275989 h 467"/>
                <a:gd name="T16" fmla="*/ 398430025 w 398"/>
                <a:gd name="T17" fmla="*/ 854743724 h 467"/>
                <a:gd name="T18" fmla="*/ 376580847 w 398"/>
                <a:gd name="T19" fmla="*/ 883384289 h 467"/>
                <a:gd name="T20" fmla="*/ 24536535 w 398"/>
                <a:gd name="T21" fmla="*/ 878310296 h 467"/>
                <a:gd name="T22" fmla="*/ 23013058 w 398"/>
                <a:gd name="T23" fmla="*/ 878310296 h 467"/>
                <a:gd name="T24" fmla="*/ 0 w 398"/>
                <a:gd name="T25" fmla="*/ 859366371 h 467"/>
                <a:gd name="T26" fmla="*/ 6865536 w 398"/>
                <a:gd name="T27" fmla="*/ 25974653 h 467"/>
                <a:gd name="T28" fmla="*/ 31374522 w 398"/>
                <a:gd name="T29" fmla="*/ 2072546 h 467"/>
                <a:gd name="T30" fmla="*/ 125893508 w 398"/>
                <a:gd name="T31" fmla="*/ 2072546 h 467"/>
                <a:gd name="T32" fmla="*/ 148746381 w 398"/>
                <a:gd name="T33" fmla="*/ 13823806 h 467"/>
                <a:gd name="T34" fmla="*/ 768580627 w 398"/>
                <a:gd name="T35" fmla="*/ 885333514 h 467"/>
                <a:gd name="T36" fmla="*/ 775022528 w 398"/>
                <a:gd name="T37" fmla="*/ 23886284 h 467"/>
                <a:gd name="T38" fmla="*/ 798083455 w 398"/>
                <a:gd name="T39" fmla="*/ 7074865 h 467"/>
                <a:gd name="T40" fmla="*/ 870741434 w 398"/>
                <a:gd name="T41" fmla="*/ 7074865 h 467"/>
                <a:gd name="T42" fmla="*/ 888769892 w 398"/>
                <a:gd name="T43" fmla="*/ 13823806 h 467"/>
                <a:gd name="T44" fmla="*/ 897379222 w 398"/>
                <a:gd name="T45" fmla="*/ 30594420 h 467"/>
                <a:gd name="T46" fmla="*/ 502483131 w 398"/>
                <a:gd name="T47" fmla="*/ 967923553 h 467"/>
                <a:gd name="T48" fmla="*/ 525479561 w 398"/>
                <a:gd name="T49" fmla="*/ 991784983 h 467"/>
                <a:gd name="T50" fmla="*/ 525479561 w 398"/>
                <a:gd name="T51" fmla="*/ 1069462303 h 467"/>
                <a:gd name="T52" fmla="*/ 502483131 w 398"/>
                <a:gd name="T53" fmla="*/ 1097986322 h 467"/>
                <a:gd name="T54" fmla="*/ 23013058 w 398"/>
                <a:gd name="T55" fmla="*/ 1097986322 h 467"/>
                <a:gd name="T56" fmla="*/ 0 w 398"/>
                <a:gd name="T57" fmla="*/ 1074095937 h 467"/>
                <a:gd name="T58" fmla="*/ 0 w 398"/>
                <a:gd name="T59" fmla="*/ 993579494 h 467"/>
                <a:gd name="T60" fmla="*/ 24536535 w 398"/>
                <a:gd name="T61" fmla="*/ 967923553 h 467"/>
                <a:gd name="T62" fmla="*/ 264174943 w 398"/>
                <a:gd name="T63" fmla="*/ 967923553 h 467"/>
                <a:gd name="T64" fmla="*/ 502483131 w 398"/>
                <a:gd name="T65" fmla="*/ 967923553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98" h="467">
                  <a:moveTo>
                    <a:pt x="398" y="13"/>
                  </a:moveTo>
                  <a:cubicBezTo>
                    <a:pt x="395" y="457"/>
                    <a:pt x="395" y="457"/>
                    <a:pt x="395" y="457"/>
                  </a:cubicBezTo>
                  <a:cubicBezTo>
                    <a:pt x="395" y="464"/>
                    <a:pt x="390" y="467"/>
                    <a:pt x="383" y="467"/>
                  </a:cubicBezTo>
                  <a:cubicBezTo>
                    <a:pt x="342" y="467"/>
                    <a:pt x="342" y="467"/>
                    <a:pt x="342" y="467"/>
                  </a:cubicBezTo>
                  <a:cubicBezTo>
                    <a:pt x="56" y="78"/>
                    <a:pt x="56" y="78"/>
                    <a:pt x="56" y="78"/>
                  </a:cubicBezTo>
                  <a:cubicBezTo>
                    <a:pt x="54" y="320"/>
                    <a:pt x="54" y="320"/>
                    <a:pt x="54" y="320"/>
                  </a:cubicBezTo>
                  <a:cubicBezTo>
                    <a:pt x="167" y="320"/>
                    <a:pt x="167" y="320"/>
                    <a:pt x="167" y="320"/>
                  </a:cubicBezTo>
                  <a:cubicBezTo>
                    <a:pt x="173" y="320"/>
                    <a:pt x="177" y="324"/>
                    <a:pt x="177" y="330"/>
                  </a:cubicBezTo>
                  <a:cubicBezTo>
                    <a:pt x="177" y="363"/>
                    <a:pt x="177" y="363"/>
                    <a:pt x="177" y="363"/>
                  </a:cubicBezTo>
                  <a:cubicBezTo>
                    <a:pt x="177" y="369"/>
                    <a:pt x="173" y="375"/>
                    <a:pt x="167" y="375"/>
                  </a:cubicBezTo>
                  <a:cubicBezTo>
                    <a:pt x="11" y="373"/>
                    <a:pt x="11" y="373"/>
                    <a:pt x="11" y="373"/>
                  </a:cubicBezTo>
                  <a:cubicBezTo>
                    <a:pt x="10" y="373"/>
                    <a:pt x="10" y="373"/>
                    <a:pt x="10" y="373"/>
                  </a:cubicBezTo>
                  <a:cubicBezTo>
                    <a:pt x="4" y="373"/>
                    <a:pt x="1" y="370"/>
                    <a:pt x="0" y="365"/>
                  </a:cubicBezTo>
                  <a:cubicBezTo>
                    <a:pt x="3" y="11"/>
                    <a:pt x="3" y="11"/>
                    <a:pt x="3" y="11"/>
                  </a:cubicBezTo>
                  <a:cubicBezTo>
                    <a:pt x="3" y="5"/>
                    <a:pt x="7" y="0"/>
                    <a:pt x="14" y="1"/>
                  </a:cubicBezTo>
                  <a:cubicBezTo>
                    <a:pt x="56" y="1"/>
                    <a:pt x="56" y="1"/>
                    <a:pt x="56" y="1"/>
                  </a:cubicBezTo>
                  <a:cubicBezTo>
                    <a:pt x="60" y="1"/>
                    <a:pt x="64" y="3"/>
                    <a:pt x="66" y="6"/>
                  </a:cubicBezTo>
                  <a:cubicBezTo>
                    <a:pt x="341" y="376"/>
                    <a:pt x="341" y="376"/>
                    <a:pt x="341" y="376"/>
                  </a:cubicBezTo>
                  <a:cubicBezTo>
                    <a:pt x="344" y="10"/>
                    <a:pt x="344" y="10"/>
                    <a:pt x="344" y="10"/>
                  </a:cubicBezTo>
                  <a:cubicBezTo>
                    <a:pt x="345" y="5"/>
                    <a:pt x="349" y="3"/>
                    <a:pt x="354" y="3"/>
                  </a:cubicBezTo>
                  <a:cubicBezTo>
                    <a:pt x="386" y="3"/>
                    <a:pt x="386" y="3"/>
                    <a:pt x="386" y="3"/>
                  </a:cubicBezTo>
                  <a:cubicBezTo>
                    <a:pt x="389" y="3"/>
                    <a:pt x="391" y="4"/>
                    <a:pt x="394" y="6"/>
                  </a:cubicBezTo>
                  <a:cubicBezTo>
                    <a:pt x="396" y="7"/>
                    <a:pt x="398" y="10"/>
                    <a:pt x="398" y="13"/>
                  </a:cubicBezTo>
                  <a:close/>
                  <a:moveTo>
                    <a:pt x="223" y="411"/>
                  </a:moveTo>
                  <a:cubicBezTo>
                    <a:pt x="229" y="411"/>
                    <a:pt x="233" y="415"/>
                    <a:pt x="233" y="421"/>
                  </a:cubicBezTo>
                  <a:cubicBezTo>
                    <a:pt x="233" y="454"/>
                    <a:pt x="233" y="454"/>
                    <a:pt x="233" y="454"/>
                  </a:cubicBezTo>
                  <a:cubicBezTo>
                    <a:pt x="233" y="460"/>
                    <a:pt x="230" y="466"/>
                    <a:pt x="223" y="466"/>
                  </a:cubicBezTo>
                  <a:cubicBezTo>
                    <a:pt x="10" y="466"/>
                    <a:pt x="10" y="466"/>
                    <a:pt x="10" y="466"/>
                  </a:cubicBezTo>
                  <a:cubicBezTo>
                    <a:pt x="4" y="466"/>
                    <a:pt x="0" y="462"/>
                    <a:pt x="0" y="456"/>
                  </a:cubicBezTo>
                  <a:cubicBezTo>
                    <a:pt x="0" y="422"/>
                    <a:pt x="0" y="422"/>
                    <a:pt x="0" y="422"/>
                  </a:cubicBezTo>
                  <a:cubicBezTo>
                    <a:pt x="0" y="416"/>
                    <a:pt x="4" y="411"/>
                    <a:pt x="11" y="411"/>
                  </a:cubicBezTo>
                  <a:cubicBezTo>
                    <a:pt x="117" y="411"/>
                    <a:pt x="117" y="411"/>
                    <a:pt x="117" y="411"/>
                  </a:cubicBezTo>
                  <a:lnTo>
                    <a:pt x="223" y="411"/>
                  </a:lnTo>
                  <a:close/>
                </a:path>
              </a:pathLst>
            </a:custGeom>
            <a:solidFill>
              <a:srgbClr val="C03B2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1" name="Freeform 10">
              <a:extLst>
                <a:ext uri="{FF2B5EF4-FFF2-40B4-BE49-F238E27FC236}">
                  <a16:creationId xmlns:a16="http://schemas.microsoft.com/office/drawing/2014/main" id="{DA66F893-697D-B564-59D2-AE060F095FD0}"/>
                </a:ext>
              </a:extLst>
            </p:cNvPr>
            <p:cNvSpPr>
              <a:spLocks noEditPoints="1"/>
            </p:cNvSpPr>
            <p:nvPr userDrawn="1"/>
          </p:nvSpPr>
          <p:spPr bwMode="auto">
            <a:xfrm>
              <a:off x="6280" y="1189"/>
              <a:ext cx="1102" cy="1105"/>
            </a:xfrm>
            <a:custGeom>
              <a:avLst/>
              <a:gdLst>
                <a:gd name="T0" fmla="*/ 154128366 w 466"/>
                <a:gd name="T1" fmla="*/ 943010351 h 466"/>
                <a:gd name="T2" fmla="*/ 0 w 466"/>
                <a:gd name="T3" fmla="*/ 552442640 h 466"/>
                <a:gd name="T4" fmla="*/ 154128366 w 466"/>
                <a:gd name="T5" fmla="*/ 163833771 h 466"/>
                <a:gd name="T6" fmla="*/ 527029454 w 466"/>
                <a:gd name="T7" fmla="*/ 0 h 466"/>
                <a:gd name="T8" fmla="*/ 900145882 w 466"/>
                <a:gd name="T9" fmla="*/ 163833771 h 466"/>
                <a:gd name="T10" fmla="*/ 1054209675 w 466"/>
                <a:gd name="T11" fmla="*/ 552442640 h 466"/>
                <a:gd name="T12" fmla="*/ 900145882 w 466"/>
                <a:gd name="T13" fmla="*/ 943010351 h 466"/>
                <a:gd name="T14" fmla="*/ 527029454 w 466"/>
                <a:gd name="T15" fmla="*/ 1104057219 h 466"/>
                <a:gd name="T16" fmla="*/ 154128366 w 466"/>
                <a:gd name="T17" fmla="*/ 943010351 h 466"/>
                <a:gd name="T18" fmla="*/ 237118879 w 466"/>
                <a:gd name="T19" fmla="*/ 248554821 h 466"/>
                <a:gd name="T20" fmla="*/ 117706387 w 466"/>
                <a:gd name="T21" fmla="*/ 552442640 h 466"/>
                <a:gd name="T22" fmla="*/ 237118879 w 466"/>
                <a:gd name="T23" fmla="*/ 855407497 h 466"/>
                <a:gd name="T24" fmla="*/ 527029454 w 466"/>
                <a:gd name="T25" fmla="*/ 983016883 h 466"/>
                <a:gd name="T26" fmla="*/ 817155276 w 466"/>
                <a:gd name="T27" fmla="*/ 855407497 h 466"/>
                <a:gd name="T28" fmla="*/ 938406617 w 466"/>
                <a:gd name="T29" fmla="*/ 552442640 h 466"/>
                <a:gd name="T30" fmla="*/ 817155276 w 466"/>
                <a:gd name="T31" fmla="*/ 248554821 h 466"/>
                <a:gd name="T32" fmla="*/ 527029454 w 466"/>
                <a:gd name="T33" fmla="*/ 121039414 h 466"/>
                <a:gd name="T34" fmla="*/ 237118879 w 466"/>
                <a:gd name="T35" fmla="*/ 248554821 h 4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6" h="466">
                  <a:moveTo>
                    <a:pt x="68" y="398"/>
                  </a:moveTo>
                  <a:cubicBezTo>
                    <a:pt x="24" y="354"/>
                    <a:pt x="2" y="299"/>
                    <a:pt x="0" y="233"/>
                  </a:cubicBezTo>
                  <a:cubicBezTo>
                    <a:pt x="2" y="167"/>
                    <a:pt x="24" y="112"/>
                    <a:pt x="68" y="69"/>
                  </a:cubicBezTo>
                  <a:cubicBezTo>
                    <a:pt x="112" y="24"/>
                    <a:pt x="167" y="2"/>
                    <a:pt x="233" y="0"/>
                  </a:cubicBezTo>
                  <a:cubicBezTo>
                    <a:pt x="299" y="2"/>
                    <a:pt x="354" y="24"/>
                    <a:pt x="398" y="69"/>
                  </a:cubicBezTo>
                  <a:cubicBezTo>
                    <a:pt x="442" y="112"/>
                    <a:pt x="465" y="167"/>
                    <a:pt x="466" y="233"/>
                  </a:cubicBezTo>
                  <a:cubicBezTo>
                    <a:pt x="465" y="299"/>
                    <a:pt x="442" y="354"/>
                    <a:pt x="398" y="398"/>
                  </a:cubicBezTo>
                  <a:cubicBezTo>
                    <a:pt x="354" y="441"/>
                    <a:pt x="299" y="464"/>
                    <a:pt x="233" y="466"/>
                  </a:cubicBezTo>
                  <a:cubicBezTo>
                    <a:pt x="167" y="464"/>
                    <a:pt x="112" y="441"/>
                    <a:pt x="68" y="398"/>
                  </a:cubicBezTo>
                  <a:close/>
                  <a:moveTo>
                    <a:pt x="105" y="105"/>
                  </a:moveTo>
                  <a:cubicBezTo>
                    <a:pt x="70" y="139"/>
                    <a:pt x="53" y="181"/>
                    <a:pt x="52" y="233"/>
                  </a:cubicBezTo>
                  <a:cubicBezTo>
                    <a:pt x="53" y="284"/>
                    <a:pt x="70" y="327"/>
                    <a:pt x="105" y="361"/>
                  </a:cubicBezTo>
                  <a:cubicBezTo>
                    <a:pt x="139" y="395"/>
                    <a:pt x="181" y="413"/>
                    <a:pt x="233" y="415"/>
                  </a:cubicBezTo>
                  <a:cubicBezTo>
                    <a:pt x="284" y="413"/>
                    <a:pt x="327" y="395"/>
                    <a:pt x="361" y="361"/>
                  </a:cubicBezTo>
                  <a:cubicBezTo>
                    <a:pt x="395" y="327"/>
                    <a:pt x="413" y="284"/>
                    <a:pt x="415" y="233"/>
                  </a:cubicBezTo>
                  <a:cubicBezTo>
                    <a:pt x="413" y="181"/>
                    <a:pt x="395" y="139"/>
                    <a:pt x="361" y="105"/>
                  </a:cubicBezTo>
                  <a:cubicBezTo>
                    <a:pt x="327" y="71"/>
                    <a:pt x="284" y="53"/>
                    <a:pt x="233" y="51"/>
                  </a:cubicBezTo>
                  <a:cubicBezTo>
                    <a:pt x="181" y="53"/>
                    <a:pt x="139" y="71"/>
                    <a:pt x="105" y="105"/>
                  </a:cubicBezTo>
                  <a:close/>
                </a:path>
              </a:pathLst>
            </a:custGeom>
            <a:solidFill>
              <a:srgbClr val="64324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11">
              <a:extLst>
                <a:ext uri="{FF2B5EF4-FFF2-40B4-BE49-F238E27FC236}">
                  <a16:creationId xmlns:a16="http://schemas.microsoft.com/office/drawing/2014/main" id="{E92FFADB-E76E-4582-7FD4-D7FF767252A1}"/>
                </a:ext>
              </a:extLst>
            </p:cNvPr>
            <p:cNvSpPr>
              <a:spLocks noEditPoints="1"/>
            </p:cNvSpPr>
            <p:nvPr userDrawn="1"/>
          </p:nvSpPr>
          <p:spPr bwMode="auto">
            <a:xfrm>
              <a:off x="4230" y="2552"/>
              <a:ext cx="334" cy="551"/>
            </a:xfrm>
            <a:custGeom>
              <a:avLst/>
              <a:gdLst>
                <a:gd name="T0" fmla="*/ 0 w 334"/>
                <a:gd name="T1" fmla="*/ 0 h 551"/>
                <a:gd name="T2" fmla="*/ 334 w 334"/>
                <a:gd name="T3" fmla="*/ 0 h 551"/>
                <a:gd name="T4" fmla="*/ 334 w 334"/>
                <a:gd name="T5" fmla="*/ 31 h 551"/>
                <a:gd name="T6" fmla="*/ 0 w 334"/>
                <a:gd name="T7" fmla="*/ 31 h 551"/>
                <a:gd name="T8" fmla="*/ 0 w 334"/>
                <a:gd name="T9" fmla="*/ 0 h 551"/>
                <a:gd name="T10" fmla="*/ 156 w 334"/>
                <a:gd name="T11" fmla="*/ 50 h 551"/>
                <a:gd name="T12" fmla="*/ 156 w 334"/>
                <a:gd name="T13" fmla="*/ 551 h 551"/>
                <a:gd name="T14" fmla="*/ 128 w 334"/>
                <a:gd name="T15" fmla="*/ 551 h 551"/>
                <a:gd name="T16" fmla="*/ 128 w 334"/>
                <a:gd name="T17" fmla="*/ 79 h 551"/>
                <a:gd name="T18" fmla="*/ 0 w 334"/>
                <a:gd name="T19" fmla="*/ 79 h 551"/>
                <a:gd name="T20" fmla="*/ 0 w 334"/>
                <a:gd name="T21" fmla="*/ 50 h 551"/>
                <a:gd name="T22" fmla="*/ 156 w 334"/>
                <a:gd name="T23" fmla="*/ 50 h 551"/>
                <a:gd name="T24" fmla="*/ 334 w 334"/>
                <a:gd name="T25" fmla="*/ 50 h 551"/>
                <a:gd name="T26" fmla="*/ 334 w 334"/>
                <a:gd name="T27" fmla="*/ 79 h 551"/>
                <a:gd name="T28" fmla="*/ 206 w 334"/>
                <a:gd name="T29" fmla="*/ 79 h 551"/>
                <a:gd name="T30" fmla="*/ 206 w 334"/>
                <a:gd name="T31" fmla="*/ 551 h 551"/>
                <a:gd name="T32" fmla="*/ 175 w 334"/>
                <a:gd name="T33" fmla="*/ 551 h 551"/>
                <a:gd name="T34" fmla="*/ 175 w 334"/>
                <a:gd name="T35" fmla="*/ 50 h 551"/>
                <a:gd name="T36" fmla="*/ 334 w 334"/>
                <a:gd name="T37" fmla="*/ 50 h 5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34" h="551">
                  <a:moveTo>
                    <a:pt x="0" y="0"/>
                  </a:moveTo>
                  <a:lnTo>
                    <a:pt x="334" y="0"/>
                  </a:lnTo>
                  <a:lnTo>
                    <a:pt x="334" y="31"/>
                  </a:lnTo>
                  <a:lnTo>
                    <a:pt x="0" y="31"/>
                  </a:lnTo>
                  <a:lnTo>
                    <a:pt x="0" y="0"/>
                  </a:lnTo>
                  <a:close/>
                  <a:moveTo>
                    <a:pt x="156" y="50"/>
                  </a:moveTo>
                  <a:lnTo>
                    <a:pt x="156" y="551"/>
                  </a:lnTo>
                  <a:lnTo>
                    <a:pt x="128" y="551"/>
                  </a:lnTo>
                  <a:lnTo>
                    <a:pt x="128" y="79"/>
                  </a:lnTo>
                  <a:lnTo>
                    <a:pt x="0" y="79"/>
                  </a:lnTo>
                  <a:lnTo>
                    <a:pt x="0" y="50"/>
                  </a:lnTo>
                  <a:lnTo>
                    <a:pt x="156" y="50"/>
                  </a:lnTo>
                  <a:close/>
                  <a:moveTo>
                    <a:pt x="334" y="50"/>
                  </a:moveTo>
                  <a:lnTo>
                    <a:pt x="334" y="79"/>
                  </a:lnTo>
                  <a:lnTo>
                    <a:pt x="206" y="79"/>
                  </a:lnTo>
                  <a:lnTo>
                    <a:pt x="206" y="551"/>
                  </a:lnTo>
                  <a:lnTo>
                    <a:pt x="175" y="551"/>
                  </a:lnTo>
                  <a:lnTo>
                    <a:pt x="175" y="50"/>
                  </a:lnTo>
                  <a:lnTo>
                    <a:pt x="334" y="50"/>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3" name="Freeform 12">
              <a:extLst>
                <a:ext uri="{FF2B5EF4-FFF2-40B4-BE49-F238E27FC236}">
                  <a16:creationId xmlns:a16="http://schemas.microsoft.com/office/drawing/2014/main" id="{3356F895-D0A9-3299-0564-9FF8D3EF3B38}"/>
                </a:ext>
              </a:extLst>
            </p:cNvPr>
            <p:cNvSpPr>
              <a:spLocks noEditPoints="1"/>
            </p:cNvSpPr>
            <p:nvPr userDrawn="1"/>
          </p:nvSpPr>
          <p:spPr bwMode="auto">
            <a:xfrm>
              <a:off x="4599" y="2552"/>
              <a:ext cx="312" cy="551"/>
            </a:xfrm>
            <a:custGeom>
              <a:avLst/>
              <a:gdLst>
                <a:gd name="T0" fmla="*/ 295891719 w 132"/>
                <a:gd name="T1" fmla="*/ 0 h 232"/>
                <a:gd name="T2" fmla="*/ 295891719 w 132"/>
                <a:gd name="T3" fmla="*/ 31976658 h 232"/>
                <a:gd name="T4" fmla="*/ 111981461 w 132"/>
                <a:gd name="T5" fmla="*/ 31976658 h 232"/>
                <a:gd name="T6" fmla="*/ 51443210 w 132"/>
                <a:gd name="T7" fmla="*/ 58299493 h 232"/>
                <a:gd name="T8" fmla="*/ 26510905 w 132"/>
                <a:gd name="T9" fmla="*/ 122107630 h 232"/>
                <a:gd name="T10" fmla="*/ 26510905 w 132"/>
                <a:gd name="T11" fmla="*/ 442759715 h 232"/>
                <a:gd name="T12" fmla="*/ 51443210 w 132"/>
                <a:gd name="T13" fmla="*/ 508305993 h 232"/>
                <a:gd name="T14" fmla="*/ 111981461 w 132"/>
                <a:gd name="T15" fmla="*/ 535913430 h 232"/>
                <a:gd name="T16" fmla="*/ 295891719 w 132"/>
                <a:gd name="T17" fmla="*/ 535913430 h 232"/>
                <a:gd name="T18" fmla="*/ 295891719 w 132"/>
                <a:gd name="T19" fmla="*/ 564828430 h 232"/>
                <a:gd name="T20" fmla="*/ 111981461 w 132"/>
                <a:gd name="T21" fmla="*/ 564828430 h 232"/>
                <a:gd name="T22" fmla="*/ 33265636 w 132"/>
                <a:gd name="T23" fmla="*/ 527724589 h 232"/>
                <a:gd name="T24" fmla="*/ 0 w 132"/>
                <a:gd name="T25" fmla="*/ 442759715 h 232"/>
                <a:gd name="T26" fmla="*/ 0 w 132"/>
                <a:gd name="T27" fmla="*/ 122107630 h 232"/>
                <a:gd name="T28" fmla="*/ 33265636 w 132"/>
                <a:gd name="T29" fmla="*/ 37103839 h 232"/>
                <a:gd name="T30" fmla="*/ 111981461 w 132"/>
                <a:gd name="T31" fmla="*/ 0 h 232"/>
                <a:gd name="T32" fmla="*/ 295891719 w 132"/>
                <a:gd name="T33" fmla="*/ 0 h 232"/>
                <a:gd name="T34" fmla="*/ 47376772 w 132"/>
                <a:gd name="T35" fmla="*/ 122107630 h 232"/>
                <a:gd name="T36" fmla="*/ 65404189 w 132"/>
                <a:gd name="T37" fmla="*/ 70832843 h 232"/>
                <a:gd name="T38" fmla="*/ 111981461 w 132"/>
                <a:gd name="T39" fmla="*/ 51413739 h 232"/>
                <a:gd name="T40" fmla="*/ 295891719 w 132"/>
                <a:gd name="T41" fmla="*/ 51413739 h 232"/>
                <a:gd name="T42" fmla="*/ 295891719 w 132"/>
                <a:gd name="T43" fmla="*/ 79781492 h 232"/>
                <a:gd name="T44" fmla="*/ 111981461 w 132"/>
                <a:gd name="T45" fmla="*/ 79781492 h 232"/>
                <a:gd name="T46" fmla="*/ 85443339 w 132"/>
                <a:gd name="T47" fmla="*/ 92335711 h 232"/>
                <a:gd name="T48" fmla="*/ 73893437 w 132"/>
                <a:gd name="T49" fmla="*/ 122107630 h 232"/>
                <a:gd name="T50" fmla="*/ 73893437 w 132"/>
                <a:gd name="T51" fmla="*/ 202009418 h 232"/>
                <a:gd name="T52" fmla="*/ 295891719 w 132"/>
                <a:gd name="T53" fmla="*/ 202009418 h 232"/>
                <a:gd name="T54" fmla="*/ 295891719 w 132"/>
                <a:gd name="T55" fmla="*/ 233836064 h 232"/>
                <a:gd name="T56" fmla="*/ 47376772 w 132"/>
                <a:gd name="T57" fmla="*/ 233836064 h 232"/>
                <a:gd name="T58" fmla="*/ 47376772 w 132"/>
                <a:gd name="T59" fmla="*/ 122107630 h 232"/>
                <a:gd name="T60" fmla="*/ 47376772 w 132"/>
                <a:gd name="T61" fmla="*/ 253283286 h 232"/>
                <a:gd name="T62" fmla="*/ 295891719 w 132"/>
                <a:gd name="T63" fmla="*/ 253283286 h 232"/>
                <a:gd name="T64" fmla="*/ 295891719 w 132"/>
                <a:gd name="T65" fmla="*/ 283050061 h 232"/>
                <a:gd name="T66" fmla="*/ 73893437 w 132"/>
                <a:gd name="T67" fmla="*/ 283050061 h 232"/>
                <a:gd name="T68" fmla="*/ 73893437 w 132"/>
                <a:gd name="T69" fmla="*/ 442759715 h 232"/>
                <a:gd name="T70" fmla="*/ 85443339 w 132"/>
                <a:gd name="T71" fmla="*/ 472485538 h 232"/>
                <a:gd name="T72" fmla="*/ 111981461 w 132"/>
                <a:gd name="T73" fmla="*/ 484506888 h 232"/>
                <a:gd name="T74" fmla="*/ 295891719 w 132"/>
                <a:gd name="T75" fmla="*/ 484506888 h 232"/>
                <a:gd name="T76" fmla="*/ 295891719 w 132"/>
                <a:gd name="T77" fmla="*/ 513431020 h 232"/>
                <a:gd name="T78" fmla="*/ 111981461 w 132"/>
                <a:gd name="T79" fmla="*/ 513431020 h 232"/>
                <a:gd name="T80" fmla="*/ 65404189 w 132"/>
                <a:gd name="T81" fmla="*/ 494012295 h 232"/>
                <a:gd name="T82" fmla="*/ 47376772 w 132"/>
                <a:gd name="T83" fmla="*/ 442759715 h 232"/>
                <a:gd name="T84" fmla="*/ 47376772 w 132"/>
                <a:gd name="T85" fmla="*/ 253283286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132" y="0"/>
                  </a:moveTo>
                  <a:cubicBezTo>
                    <a:pt x="132" y="13"/>
                    <a:pt x="132" y="13"/>
                    <a:pt x="132" y="13"/>
                  </a:cubicBezTo>
                  <a:cubicBezTo>
                    <a:pt x="50" y="13"/>
                    <a:pt x="50" y="13"/>
                    <a:pt x="50" y="13"/>
                  </a:cubicBezTo>
                  <a:cubicBezTo>
                    <a:pt x="39" y="13"/>
                    <a:pt x="31" y="16"/>
                    <a:pt x="23" y="24"/>
                  </a:cubicBezTo>
                  <a:cubicBezTo>
                    <a:pt x="16" y="31"/>
                    <a:pt x="12" y="40"/>
                    <a:pt x="12" y="50"/>
                  </a:cubicBezTo>
                  <a:cubicBezTo>
                    <a:pt x="12" y="182"/>
                    <a:pt x="12" y="182"/>
                    <a:pt x="12" y="182"/>
                  </a:cubicBezTo>
                  <a:cubicBezTo>
                    <a:pt x="12" y="193"/>
                    <a:pt x="16" y="201"/>
                    <a:pt x="23" y="209"/>
                  </a:cubicBezTo>
                  <a:cubicBezTo>
                    <a:pt x="31" y="216"/>
                    <a:pt x="39" y="220"/>
                    <a:pt x="50" y="220"/>
                  </a:cubicBezTo>
                  <a:cubicBezTo>
                    <a:pt x="132" y="220"/>
                    <a:pt x="132" y="220"/>
                    <a:pt x="132" y="220"/>
                  </a:cubicBezTo>
                  <a:cubicBezTo>
                    <a:pt x="132" y="232"/>
                    <a:pt x="132" y="232"/>
                    <a:pt x="132" y="232"/>
                  </a:cubicBezTo>
                  <a:cubicBezTo>
                    <a:pt x="50" y="232"/>
                    <a:pt x="50" y="232"/>
                    <a:pt x="50" y="232"/>
                  </a:cubicBezTo>
                  <a:cubicBezTo>
                    <a:pt x="36" y="232"/>
                    <a:pt x="24" y="227"/>
                    <a:pt x="15" y="217"/>
                  </a:cubicBezTo>
                  <a:cubicBezTo>
                    <a:pt x="5" y="208"/>
                    <a:pt x="0" y="196"/>
                    <a:pt x="0" y="182"/>
                  </a:cubicBezTo>
                  <a:cubicBezTo>
                    <a:pt x="0" y="50"/>
                    <a:pt x="0" y="50"/>
                    <a:pt x="0" y="50"/>
                  </a:cubicBezTo>
                  <a:cubicBezTo>
                    <a:pt x="0" y="36"/>
                    <a:pt x="5" y="25"/>
                    <a:pt x="15" y="15"/>
                  </a:cubicBezTo>
                  <a:cubicBezTo>
                    <a:pt x="24" y="5"/>
                    <a:pt x="36" y="0"/>
                    <a:pt x="50" y="0"/>
                  </a:cubicBezTo>
                  <a:lnTo>
                    <a:pt x="132" y="0"/>
                  </a:lnTo>
                  <a:close/>
                  <a:moveTo>
                    <a:pt x="21" y="50"/>
                  </a:moveTo>
                  <a:cubicBezTo>
                    <a:pt x="21" y="42"/>
                    <a:pt x="24" y="35"/>
                    <a:pt x="29" y="29"/>
                  </a:cubicBezTo>
                  <a:cubicBezTo>
                    <a:pt x="35" y="24"/>
                    <a:pt x="42" y="21"/>
                    <a:pt x="50" y="21"/>
                  </a:cubicBezTo>
                  <a:cubicBezTo>
                    <a:pt x="132" y="21"/>
                    <a:pt x="132" y="21"/>
                    <a:pt x="132" y="21"/>
                  </a:cubicBezTo>
                  <a:cubicBezTo>
                    <a:pt x="132" y="33"/>
                    <a:pt x="132" y="33"/>
                    <a:pt x="132" y="33"/>
                  </a:cubicBezTo>
                  <a:cubicBezTo>
                    <a:pt x="50" y="33"/>
                    <a:pt x="50" y="33"/>
                    <a:pt x="50" y="33"/>
                  </a:cubicBezTo>
                  <a:cubicBezTo>
                    <a:pt x="45" y="33"/>
                    <a:pt x="41" y="35"/>
                    <a:pt x="38" y="38"/>
                  </a:cubicBezTo>
                  <a:cubicBezTo>
                    <a:pt x="35" y="42"/>
                    <a:pt x="33" y="45"/>
                    <a:pt x="33" y="50"/>
                  </a:cubicBezTo>
                  <a:cubicBezTo>
                    <a:pt x="33" y="83"/>
                    <a:pt x="33" y="83"/>
                    <a:pt x="33" y="83"/>
                  </a:cubicBezTo>
                  <a:cubicBezTo>
                    <a:pt x="132" y="83"/>
                    <a:pt x="132" y="83"/>
                    <a:pt x="132" y="83"/>
                  </a:cubicBezTo>
                  <a:cubicBezTo>
                    <a:pt x="132" y="96"/>
                    <a:pt x="132" y="96"/>
                    <a:pt x="132" y="96"/>
                  </a:cubicBezTo>
                  <a:cubicBezTo>
                    <a:pt x="21" y="96"/>
                    <a:pt x="21" y="96"/>
                    <a:pt x="21" y="96"/>
                  </a:cubicBezTo>
                  <a:lnTo>
                    <a:pt x="21" y="50"/>
                  </a:lnTo>
                  <a:close/>
                  <a:moveTo>
                    <a:pt x="21" y="104"/>
                  </a:moveTo>
                  <a:cubicBezTo>
                    <a:pt x="132" y="104"/>
                    <a:pt x="132" y="104"/>
                    <a:pt x="132" y="104"/>
                  </a:cubicBezTo>
                  <a:cubicBezTo>
                    <a:pt x="132" y="116"/>
                    <a:pt x="132" y="116"/>
                    <a:pt x="132" y="116"/>
                  </a:cubicBezTo>
                  <a:cubicBezTo>
                    <a:pt x="33" y="116"/>
                    <a:pt x="33" y="116"/>
                    <a:pt x="33" y="116"/>
                  </a:cubicBezTo>
                  <a:cubicBezTo>
                    <a:pt x="33" y="182"/>
                    <a:pt x="33" y="182"/>
                    <a:pt x="33" y="182"/>
                  </a:cubicBezTo>
                  <a:cubicBezTo>
                    <a:pt x="33" y="187"/>
                    <a:pt x="35" y="191"/>
                    <a:pt x="38" y="194"/>
                  </a:cubicBezTo>
                  <a:cubicBezTo>
                    <a:pt x="41" y="197"/>
                    <a:pt x="45" y="199"/>
                    <a:pt x="50" y="199"/>
                  </a:cubicBezTo>
                  <a:cubicBezTo>
                    <a:pt x="132" y="199"/>
                    <a:pt x="132" y="199"/>
                    <a:pt x="132" y="199"/>
                  </a:cubicBezTo>
                  <a:cubicBezTo>
                    <a:pt x="132" y="211"/>
                    <a:pt x="132" y="211"/>
                    <a:pt x="132" y="211"/>
                  </a:cubicBezTo>
                  <a:cubicBezTo>
                    <a:pt x="50" y="211"/>
                    <a:pt x="50" y="211"/>
                    <a:pt x="50" y="211"/>
                  </a:cubicBezTo>
                  <a:cubicBezTo>
                    <a:pt x="42" y="211"/>
                    <a:pt x="35" y="209"/>
                    <a:pt x="29" y="203"/>
                  </a:cubicBezTo>
                  <a:cubicBezTo>
                    <a:pt x="24" y="197"/>
                    <a:pt x="21" y="190"/>
                    <a:pt x="21" y="182"/>
                  </a:cubicBezTo>
                  <a:lnTo>
                    <a:pt x="21" y="104"/>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3">
              <a:extLst>
                <a:ext uri="{FF2B5EF4-FFF2-40B4-BE49-F238E27FC236}">
                  <a16:creationId xmlns:a16="http://schemas.microsoft.com/office/drawing/2014/main" id="{94FA205B-256D-0516-BB3D-558E76028DD1}"/>
                </a:ext>
              </a:extLst>
            </p:cNvPr>
            <p:cNvSpPr>
              <a:spLocks noEditPoints="1"/>
            </p:cNvSpPr>
            <p:nvPr userDrawn="1"/>
          </p:nvSpPr>
          <p:spPr bwMode="auto">
            <a:xfrm>
              <a:off x="4958" y="2552"/>
              <a:ext cx="391" cy="551"/>
            </a:xfrm>
            <a:custGeom>
              <a:avLst/>
              <a:gdLst>
                <a:gd name="T0" fmla="*/ 309548631 w 165"/>
                <a:gd name="T1" fmla="*/ 0 h 232"/>
                <a:gd name="T2" fmla="*/ 363029971 w 165"/>
                <a:gd name="T3" fmla="*/ 24547155 h 232"/>
                <a:gd name="T4" fmla="*/ 386832786 w 165"/>
                <a:gd name="T5" fmla="*/ 79781492 h 232"/>
                <a:gd name="T6" fmla="*/ 386832786 w 165"/>
                <a:gd name="T7" fmla="*/ 564828430 h 232"/>
                <a:gd name="T8" fmla="*/ 358797870 w 165"/>
                <a:gd name="T9" fmla="*/ 564828430 h 232"/>
                <a:gd name="T10" fmla="*/ 358797870 w 165"/>
                <a:gd name="T11" fmla="*/ 79781492 h 232"/>
                <a:gd name="T12" fmla="*/ 344252405 w 165"/>
                <a:gd name="T13" fmla="*/ 46120372 h 232"/>
                <a:gd name="T14" fmla="*/ 309548631 w 165"/>
                <a:gd name="T15" fmla="*/ 31976658 h 232"/>
                <a:gd name="T16" fmla="*/ 77129169 w 165"/>
                <a:gd name="T17" fmla="*/ 31976658 h 232"/>
                <a:gd name="T18" fmla="*/ 42581549 w 165"/>
                <a:gd name="T19" fmla="*/ 46120372 h 232"/>
                <a:gd name="T20" fmla="*/ 27493911 w 165"/>
                <a:gd name="T21" fmla="*/ 79781492 h 232"/>
                <a:gd name="T22" fmla="*/ 27493911 w 165"/>
                <a:gd name="T23" fmla="*/ 564828430 h 232"/>
                <a:gd name="T24" fmla="*/ 0 w 165"/>
                <a:gd name="T25" fmla="*/ 564828430 h 232"/>
                <a:gd name="T26" fmla="*/ 0 w 165"/>
                <a:gd name="T27" fmla="*/ 79781492 h 232"/>
                <a:gd name="T28" fmla="*/ 20815816 w 165"/>
                <a:gd name="T29" fmla="*/ 24547155 h 232"/>
                <a:gd name="T30" fmla="*/ 77129169 w 165"/>
                <a:gd name="T31" fmla="*/ 0 h 232"/>
                <a:gd name="T32" fmla="*/ 309548631 w 165"/>
                <a:gd name="T33" fmla="*/ 0 h 232"/>
                <a:gd name="T34" fmla="*/ 182772758 w 165"/>
                <a:gd name="T35" fmla="*/ 51413739 h 232"/>
                <a:gd name="T36" fmla="*/ 182772758 w 165"/>
                <a:gd name="T37" fmla="*/ 263208180 h 232"/>
                <a:gd name="T38" fmla="*/ 154391061 w 165"/>
                <a:gd name="T39" fmla="*/ 263208180 h 232"/>
                <a:gd name="T40" fmla="*/ 154391061 w 165"/>
                <a:gd name="T41" fmla="*/ 79781492 h 232"/>
                <a:gd name="T42" fmla="*/ 77129169 w 165"/>
                <a:gd name="T43" fmla="*/ 79781492 h 232"/>
                <a:gd name="T44" fmla="*/ 77129169 w 165"/>
                <a:gd name="T45" fmla="*/ 564828430 h 232"/>
                <a:gd name="T46" fmla="*/ 46283478 w 165"/>
                <a:gd name="T47" fmla="*/ 564828430 h 232"/>
                <a:gd name="T48" fmla="*/ 46283478 w 165"/>
                <a:gd name="T49" fmla="*/ 79781492 h 232"/>
                <a:gd name="T50" fmla="*/ 56311393 w 165"/>
                <a:gd name="T51" fmla="*/ 60526659 h 232"/>
                <a:gd name="T52" fmla="*/ 77129169 w 165"/>
                <a:gd name="T53" fmla="*/ 51413739 h 232"/>
                <a:gd name="T54" fmla="*/ 182772758 w 165"/>
                <a:gd name="T55" fmla="*/ 51413739 h 232"/>
                <a:gd name="T56" fmla="*/ 309548631 w 165"/>
                <a:gd name="T57" fmla="*/ 51413739 h 232"/>
                <a:gd name="T58" fmla="*/ 329989272 w 165"/>
                <a:gd name="T59" fmla="*/ 60526659 h 232"/>
                <a:gd name="T60" fmla="*/ 337199511 w 165"/>
                <a:gd name="T61" fmla="*/ 79781492 h 232"/>
                <a:gd name="T62" fmla="*/ 337199511 w 165"/>
                <a:gd name="T63" fmla="*/ 564828430 h 232"/>
                <a:gd name="T64" fmla="*/ 309548631 w 165"/>
                <a:gd name="T65" fmla="*/ 564828430 h 232"/>
                <a:gd name="T66" fmla="*/ 309548631 w 165"/>
                <a:gd name="T67" fmla="*/ 79781492 h 232"/>
                <a:gd name="T68" fmla="*/ 232402284 w 165"/>
                <a:gd name="T69" fmla="*/ 79781492 h 232"/>
                <a:gd name="T70" fmla="*/ 232402284 w 165"/>
                <a:gd name="T71" fmla="*/ 263208180 h 232"/>
                <a:gd name="T72" fmla="*/ 203534936 w 165"/>
                <a:gd name="T73" fmla="*/ 263208180 h 232"/>
                <a:gd name="T74" fmla="*/ 203534936 w 165"/>
                <a:gd name="T75" fmla="*/ 51413739 h 232"/>
                <a:gd name="T76" fmla="*/ 309548631 w 165"/>
                <a:gd name="T77" fmla="*/ 51413739 h 23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65" h="232">
                  <a:moveTo>
                    <a:pt x="132" y="0"/>
                  </a:moveTo>
                  <a:cubicBezTo>
                    <a:pt x="141" y="0"/>
                    <a:pt x="149" y="4"/>
                    <a:pt x="155" y="10"/>
                  </a:cubicBezTo>
                  <a:cubicBezTo>
                    <a:pt x="162" y="16"/>
                    <a:pt x="165" y="24"/>
                    <a:pt x="165" y="33"/>
                  </a:cubicBezTo>
                  <a:cubicBezTo>
                    <a:pt x="165" y="232"/>
                    <a:pt x="165" y="232"/>
                    <a:pt x="165" y="232"/>
                  </a:cubicBezTo>
                  <a:cubicBezTo>
                    <a:pt x="153" y="232"/>
                    <a:pt x="153" y="232"/>
                    <a:pt x="153" y="232"/>
                  </a:cubicBezTo>
                  <a:cubicBezTo>
                    <a:pt x="153" y="33"/>
                    <a:pt x="153" y="33"/>
                    <a:pt x="153" y="33"/>
                  </a:cubicBezTo>
                  <a:cubicBezTo>
                    <a:pt x="153" y="28"/>
                    <a:pt x="151" y="23"/>
                    <a:pt x="147" y="19"/>
                  </a:cubicBezTo>
                  <a:cubicBezTo>
                    <a:pt x="143" y="15"/>
                    <a:pt x="138" y="13"/>
                    <a:pt x="132" y="13"/>
                  </a:cubicBezTo>
                  <a:cubicBezTo>
                    <a:pt x="33" y="13"/>
                    <a:pt x="33" y="13"/>
                    <a:pt x="33" y="13"/>
                  </a:cubicBezTo>
                  <a:cubicBezTo>
                    <a:pt x="27" y="13"/>
                    <a:pt x="22" y="15"/>
                    <a:pt x="18" y="19"/>
                  </a:cubicBezTo>
                  <a:cubicBezTo>
                    <a:pt x="14" y="23"/>
                    <a:pt x="12" y="28"/>
                    <a:pt x="12" y="33"/>
                  </a:cubicBezTo>
                  <a:cubicBezTo>
                    <a:pt x="12" y="232"/>
                    <a:pt x="12" y="232"/>
                    <a:pt x="12" y="232"/>
                  </a:cubicBezTo>
                  <a:cubicBezTo>
                    <a:pt x="0" y="232"/>
                    <a:pt x="0" y="232"/>
                    <a:pt x="0" y="232"/>
                  </a:cubicBezTo>
                  <a:cubicBezTo>
                    <a:pt x="0" y="33"/>
                    <a:pt x="0" y="33"/>
                    <a:pt x="0" y="33"/>
                  </a:cubicBezTo>
                  <a:cubicBezTo>
                    <a:pt x="0" y="24"/>
                    <a:pt x="3" y="16"/>
                    <a:pt x="9" y="10"/>
                  </a:cubicBezTo>
                  <a:cubicBezTo>
                    <a:pt x="16" y="4"/>
                    <a:pt x="24" y="0"/>
                    <a:pt x="33" y="0"/>
                  </a:cubicBezTo>
                  <a:lnTo>
                    <a:pt x="132" y="0"/>
                  </a:lnTo>
                  <a:close/>
                  <a:moveTo>
                    <a:pt x="78" y="21"/>
                  </a:moveTo>
                  <a:cubicBezTo>
                    <a:pt x="78" y="108"/>
                    <a:pt x="78" y="108"/>
                    <a:pt x="78" y="108"/>
                  </a:cubicBezTo>
                  <a:cubicBezTo>
                    <a:pt x="66" y="108"/>
                    <a:pt x="66" y="108"/>
                    <a:pt x="66" y="108"/>
                  </a:cubicBezTo>
                  <a:cubicBezTo>
                    <a:pt x="66" y="33"/>
                    <a:pt x="66" y="33"/>
                    <a:pt x="66" y="33"/>
                  </a:cubicBezTo>
                  <a:cubicBezTo>
                    <a:pt x="33" y="33"/>
                    <a:pt x="33" y="33"/>
                    <a:pt x="33" y="33"/>
                  </a:cubicBezTo>
                  <a:cubicBezTo>
                    <a:pt x="33" y="232"/>
                    <a:pt x="33" y="232"/>
                    <a:pt x="33" y="232"/>
                  </a:cubicBezTo>
                  <a:cubicBezTo>
                    <a:pt x="20" y="232"/>
                    <a:pt x="20" y="232"/>
                    <a:pt x="20" y="232"/>
                  </a:cubicBezTo>
                  <a:cubicBezTo>
                    <a:pt x="20" y="33"/>
                    <a:pt x="20" y="33"/>
                    <a:pt x="20" y="33"/>
                  </a:cubicBezTo>
                  <a:cubicBezTo>
                    <a:pt x="20" y="30"/>
                    <a:pt x="21" y="27"/>
                    <a:pt x="24" y="25"/>
                  </a:cubicBezTo>
                  <a:cubicBezTo>
                    <a:pt x="26" y="22"/>
                    <a:pt x="29" y="21"/>
                    <a:pt x="33" y="21"/>
                  </a:cubicBezTo>
                  <a:lnTo>
                    <a:pt x="78" y="21"/>
                  </a:lnTo>
                  <a:close/>
                  <a:moveTo>
                    <a:pt x="132" y="21"/>
                  </a:moveTo>
                  <a:cubicBezTo>
                    <a:pt x="135" y="21"/>
                    <a:pt x="138" y="22"/>
                    <a:pt x="141" y="25"/>
                  </a:cubicBezTo>
                  <a:cubicBezTo>
                    <a:pt x="143" y="27"/>
                    <a:pt x="144" y="30"/>
                    <a:pt x="144" y="33"/>
                  </a:cubicBezTo>
                  <a:cubicBezTo>
                    <a:pt x="144" y="232"/>
                    <a:pt x="144" y="232"/>
                    <a:pt x="144" y="232"/>
                  </a:cubicBezTo>
                  <a:cubicBezTo>
                    <a:pt x="132" y="232"/>
                    <a:pt x="132" y="232"/>
                    <a:pt x="132" y="232"/>
                  </a:cubicBezTo>
                  <a:cubicBezTo>
                    <a:pt x="132" y="33"/>
                    <a:pt x="132" y="33"/>
                    <a:pt x="132" y="33"/>
                  </a:cubicBezTo>
                  <a:cubicBezTo>
                    <a:pt x="99" y="33"/>
                    <a:pt x="99" y="33"/>
                    <a:pt x="99" y="33"/>
                  </a:cubicBezTo>
                  <a:cubicBezTo>
                    <a:pt x="99" y="108"/>
                    <a:pt x="99" y="108"/>
                    <a:pt x="99" y="108"/>
                  </a:cubicBezTo>
                  <a:cubicBezTo>
                    <a:pt x="87" y="108"/>
                    <a:pt x="87" y="108"/>
                    <a:pt x="87" y="108"/>
                  </a:cubicBezTo>
                  <a:cubicBezTo>
                    <a:pt x="87" y="21"/>
                    <a:pt x="87" y="21"/>
                    <a:pt x="87" y="21"/>
                  </a:cubicBezTo>
                  <a:lnTo>
                    <a:pt x="132" y="21"/>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5" name="Freeform 14">
              <a:extLst>
                <a:ext uri="{FF2B5EF4-FFF2-40B4-BE49-F238E27FC236}">
                  <a16:creationId xmlns:a16="http://schemas.microsoft.com/office/drawing/2014/main" id="{D25F6D42-D1B1-3B5F-77B2-79D9D55F826D}"/>
                </a:ext>
              </a:extLst>
            </p:cNvPr>
            <p:cNvSpPr>
              <a:spLocks noEditPoints="1"/>
            </p:cNvSpPr>
            <p:nvPr userDrawn="1"/>
          </p:nvSpPr>
          <p:spPr bwMode="auto">
            <a:xfrm>
              <a:off x="5412" y="2552"/>
              <a:ext cx="313" cy="551"/>
            </a:xfrm>
            <a:custGeom>
              <a:avLst/>
              <a:gdLst>
                <a:gd name="T0" fmla="*/ 234667157 w 132"/>
                <a:gd name="T1" fmla="*/ 0 h 232"/>
                <a:gd name="T2" fmla="*/ 291517195 w 132"/>
                <a:gd name="T3" fmla="*/ 24547155 h 232"/>
                <a:gd name="T4" fmla="*/ 312488786 w 132"/>
                <a:gd name="T5" fmla="*/ 79781492 h 232"/>
                <a:gd name="T6" fmla="*/ 312488786 w 132"/>
                <a:gd name="T7" fmla="*/ 202009418 h 232"/>
                <a:gd name="T8" fmla="*/ 291517195 w 132"/>
                <a:gd name="T9" fmla="*/ 258572736 h 232"/>
                <a:gd name="T10" fmla="*/ 234667157 w 132"/>
                <a:gd name="T11" fmla="*/ 283050061 h 232"/>
                <a:gd name="T12" fmla="*/ 77977488 w 132"/>
                <a:gd name="T13" fmla="*/ 283050061 h 232"/>
                <a:gd name="T14" fmla="*/ 77977488 w 132"/>
                <a:gd name="T15" fmla="*/ 564828430 h 232"/>
                <a:gd name="T16" fmla="*/ 46760663 w 132"/>
                <a:gd name="T17" fmla="*/ 564828430 h 232"/>
                <a:gd name="T18" fmla="*/ 46760663 w 132"/>
                <a:gd name="T19" fmla="*/ 253283286 h 232"/>
                <a:gd name="T20" fmla="*/ 234667157 w 132"/>
                <a:gd name="T21" fmla="*/ 253283286 h 232"/>
                <a:gd name="T22" fmla="*/ 269717845 w 132"/>
                <a:gd name="T23" fmla="*/ 238499835 h 232"/>
                <a:gd name="T24" fmla="*/ 284788810 w 132"/>
                <a:gd name="T25" fmla="*/ 202009418 h 232"/>
                <a:gd name="T26" fmla="*/ 284788810 w 132"/>
                <a:gd name="T27" fmla="*/ 79781492 h 232"/>
                <a:gd name="T28" fmla="*/ 269717845 w 132"/>
                <a:gd name="T29" fmla="*/ 46120372 h 232"/>
                <a:gd name="T30" fmla="*/ 234667157 w 132"/>
                <a:gd name="T31" fmla="*/ 31976658 h 232"/>
                <a:gd name="T32" fmla="*/ 115836743 w 132"/>
                <a:gd name="T33" fmla="*/ 31976658 h 232"/>
                <a:gd name="T34" fmla="*/ 54699961 w 132"/>
                <a:gd name="T35" fmla="*/ 58299493 h 232"/>
                <a:gd name="T36" fmla="*/ 27860863 w 132"/>
                <a:gd name="T37" fmla="*/ 122107630 h 232"/>
                <a:gd name="T38" fmla="*/ 27860863 w 132"/>
                <a:gd name="T39" fmla="*/ 564828430 h 232"/>
                <a:gd name="T40" fmla="*/ 0 w 132"/>
                <a:gd name="T41" fmla="*/ 564828430 h 232"/>
                <a:gd name="T42" fmla="*/ 0 w 132"/>
                <a:gd name="T43" fmla="*/ 122107630 h 232"/>
                <a:gd name="T44" fmla="*/ 32885075 w 132"/>
                <a:gd name="T45" fmla="*/ 37103839 h 232"/>
                <a:gd name="T46" fmla="*/ 115836743 w 132"/>
                <a:gd name="T47" fmla="*/ 0 h 232"/>
                <a:gd name="T48" fmla="*/ 234667157 w 132"/>
                <a:gd name="T49" fmla="*/ 0 h 232"/>
                <a:gd name="T50" fmla="*/ 262918698 w 132"/>
                <a:gd name="T51" fmla="*/ 202009418 h 232"/>
                <a:gd name="T52" fmla="*/ 255645496 w 132"/>
                <a:gd name="T53" fmla="*/ 224358826 h 232"/>
                <a:gd name="T54" fmla="*/ 234667157 w 132"/>
                <a:gd name="T55" fmla="*/ 233836064 h 232"/>
                <a:gd name="T56" fmla="*/ 46760663 w 132"/>
                <a:gd name="T57" fmla="*/ 233836064 h 232"/>
                <a:gd name="T58" fmla="*/ 46760663 w 132"/>
                <a:gd name="T59" fmla="*/ 122107630 h 232"/>
                <a:gd name="T60" fmla="*/ 69064519 w 132"/>
                <a:gd name="T61" fmla="*/ 70832843 h 232"/>
                <a:gd name="T62" fmla="*/ 115836743 w 132"/>
                <a:gd name="T63" fmla="*/ 51413739 h 232"/>
                <a:gd name="T64" fmla="*/ 234667157 w 132"/>
                <a:gd name="T65" fmla="*/ 51413739 h 232"/>
                <a:gd name="T66" fmla="*/ 255645496 w 132"/>
                <a:gd name="T67" fmla="*/ 60526659 h 232"/>
                <a:gd name="T68" fmla="*/ 262918698 w 132"/>
                <a:gd name="T69" fmla="*/ 79781492 h 232"/>
                <a:gd name="T70" fmla="*/ 262918698 w 132"/>
                <a:gd name="T71" fmla="*/ 202009418 h 232"/>
                <a:gd name="T72" fmla="*/ 77977488 w 132"/>
                <a:gd name="T73" fmla="*/ 202009418 h 232"/>
                <a:gd name="T74" fmla="*/ 234667157 w 132"/>
                <a:gd name="T75" fmla="*/ 202009418 h 232"/>
                <a:gd name="T76" fmla="*/ 234667157 w 132"/>
                <a:gd name="T77" fmla="*/ 79781492 h 232"/>
                <a:gd name="T78" fmla="*/ 115836743 w 132"/>
                <a:gd name="T79" fmla="*/ 79781492 h 232"/>
                <a:gd name="T80" fmla="*/ 89678239 w 132"/>
                <a:gd name="T81" fmla="*/ 92335711 h 232"/>
                <a:gd name="T82" fmla="*/ 77977488 w 132"/>
                <a:gd name="T83" fmla="*/ 122107630 h 232"/>
                <a:gd name="T84" fmla="*/ 77977488 w 132"/>
                <a:gd name="T85" fmla="*/ 202009418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99" y="0"/>
                  </a:moveTo>
                  <a:cubicBezTo>
                    <a:pt x="108" y="0"/>
                    <a:pt x="116" y="4"/>
                    <a:pt x="123" y="10"/>
                  </a:cubicBezTo>
                  <a:cubicBezTo>
                    <a:pt x="129" y="16"/>
                    <a:pt x="132" y="24"/>
                    <a:pt x="132" y="33"/>
                  </a:cubicBezTo>
                  <a:cubicBezTo>
                    <a:pt x="132" y="83"/>
                    <a:pt x="132" y="83"/>
                    <a:pt x="132" y="83"/>
                  </a:cubicBezTo>
                  <a:cubicBezTo>
                    <a:pt x="132" y="92"/>
                    <a:pt x="129" y="100"/>
                    <a:pt x="123" y="106"/>
                  </a:cubicBezTo>
                  <a:cubicBezTo>
                    <a:pt x="116" y="113"/>
                    <a:pt x="108" y="116"/>
                    <a:pt x="99" y="116"/>
                  </a:cubicBezTo>
                  <a:cubicBezTo>
                    <a:pt x="33" y="116"/>
                    <a:pt x="33" y="116"/>
                    <a:pt x="33" y="116"/>
                  </a:cubicBezTo>
                  <a:cubicBezTo>
                    <a:pt x="33" y="232"/>
                    <a:pt x="33" y="232"/>
                    <a:pt x="33" y="232"/>
                  </a:cubicBezTo>
                  <a:cubicBezTo>
                    <a:pt x="20" y="232"/>
                    <a:pt x="20" y="232"/>
                    <a:pt x="20" y="232"/>
                  </a:cubicBezTo>
                  <a:cubicBezTo>
                    <a:pt x="20" y="104"/>
                    <a:pt x="20" y="104"/>
                    <a:pt x="20" y="104"/>
                  </a:cubicBezTo>
                  <a:cubicBezTo>
                    <a:pt x="99" y="104"/>
                    <a:pt x="99" y="104"/>
                    <a:pt x="99" y="104"/>
                  </a:cubicBezTo>
                  <a:cubicBezTo>
                    <a:pt x="105" y="104"/>
                    <a:pt x="110" y="102"/>
                    <a:pt x="114" y="98"/>
                  </a:cubicBezTo>
                  <a:cubicBezTo>
                    <a:pt x="118" y="94"/>
                    <a:pt x="120" y="89"/>
                    <a:pt x="120" y="83"/>
                  </a:cubicBezTo>
                  <a:cubicBezTo>
                    <a:pt x="120" y="33"/>
                    <a:pt x="120" y="33"/>
                    <a:pt x="120" y="33"/>
                  </a:cubicBezTo>
                  <a:cubicBezTo>
                    <a:pt x="120" y="28"/>
                    <a:pt x="118" y="23"/>
                    <a:pt x="114" y="19"/>
                  </a:cubicBezTo>
                  <a:cubicBezTo>
                    <a:pt x="110" y="15"/>
                    <a:pt x="105" y="13"/>
                    <a:pt x="99" y="13"/>
                  </a:cubicBezTo>
                  <a:cubicBezTo>
                    <a:pt x="49" y="13"/>
                    <a:pt x="49" y="13"/>
                    <a:pt x="49" y="13"/>
                  </a:cubicBezTo>
                  <a:cubicBezTo>
                    <a:pt x="39" y="13"/>
                    <a:pt x="30" y="16"/>
                    <a:pt x="23" y="24"/>
                  </a:cubicBezTo>
                  <a:cubicBezTo>
                    <a:pt x="16" y="31"/>
                    <a:pt x="12" y="40"/>
                    <a:pt x="12" y="50"/>
                  </a:cubicBezTo>
                  <a:cubicBezTo>
                    <a:pt x="12" y="232"/>
                    <a:pt x="12" y="232"/>
                    <a:pt x="12" y="232"/>
                  </a:cubicBezTo>
                  <a:cubicBezTo>
                    <a:pt x="0" y="232"/>
                    <a:pt x="0" y="232"/>
                    <a:pt x="0" y="232"/>
                  </a:cubicBezTo>
                  <a:cubicBezTo>
                    <a:pt x="0" y="50"/>
                    <a:pt x="0" y="50"/>
                    <a:pt x="0" y="50"/>
                  </a:cubicBezTo>
                  <a:cubicBezTo>
                    <a:pt x="0" y="36"/>
                    <a:pt x="5" y="25"/>
                    <a:pt x="14" y="15"/>
                  </a:cubicBezTo>
                  <a:cubicBezTo>
                    <a:pt x="24" y="5"/>
                    <a:pt x="36" y="0"/>
                    <a:pt x="49" y="0"/>
                  </a:cubicBezTo>
                  <a:lnTo>
                    <a:pt x="99" y="0"/>
                  </a:lnTo>
                  <a:close/>
                  <a:moveTo>
                    <a:pt x="111" y="83"/>
                  </a:moveTo>
                  <a:cubicBezTo>
                    <a:pt x="111" y="87"/>
                    <a:pt x="110" y="89"/>
                    <a:pt x="108" y="92"/>
                  </a:cubicBezTo>
                  <a:cubicBezTo>
                    <a:pt x="105" y="94"/>
                    <a:pt x="102" y="96"/>
                    <a:pt x="99" y="96"/>
                  </a:cubicBezTo>
                  <a:cubicBezTo>
                    <a:pt x="20" y="96"/>
                    <a:pt x="20" y="96"/>
                    <a:pt x="20" y="96"/>
                  </a:cubicBezTo>
                  <a:cubicBezTo>
                    <a:pt x="20" y="50"/>
                    <a:pt x="20" y="50"/>
                    <a:pt x="20" y="50"/>
                  </a:cubicBezTo>
                  <a:cubicBezTo>
                    <a:pt x="20" y="42"/>
                    <a:pt x="23" y="35"/>
                    <a:pt x="29" y="29"/>
                  </a:cubicBezTo>
                  <a:cubicBezTo>
                    <a:pt x="35" y="24"/>
                    <a:pt x="41" y="21"/>
                    <a:pt x="49" y="21"/>
                  </a:cubicBezTo>
                  <a:cubicBezTo>
                    <a:pt x="99" y="21"/>
                    <a:pt x="99" y="21"/>
                    <a:pt x="99" y="21"/>
                  </a:cubicBezTo>
                  <a:cubicBezTo>
                    <a:pt x="102" y="21"/>
                    <a:pt x="105" y="22"/>
                    <a:pt x="108" y="25"/>
                  </a:cubicBezTo>
                  <a:cubicBezTo>
                    <a:pt x="110" y="27"/>
                    <a:pt x="111" y="30"/>
                    <a:pt x="111" y="33"/>
                  </a:cubicBezTo>
                  <a:lnTo>
                    <a:pt x="111" y="83"/>
                  </a:lnTo>
                  <a:close/>
                  <a:moveTo>
                    <a:pt x="33" y="83"/>
                  </a:moveTo>
                  <a:cubicBezTo>
                    <a:pt x="99" y="83"/>
                    <a:pt x="99" y="83"/>
                    <a:pt x="99" y="83"/>
                  </a:cubicBezTo>
                  <a:cubicBezTo>
                    <a:pt x="99" y="33"/>
                    <a:pt x="99" y="33"/>
                    <a:pt x="99" y="33"/>
                  </a:cubicBezTo>
                  <a:cubicBezTo>
                    <a:pt x="49" y="33"/>
                    <a:pt x="49" y="33"/>
                    <a:pt x="49" y="33"/>
                  </a:cubicBezTo>
                  <a:cubicBezTo>
                    <a:pt x="45" y="33"/>
                    <a:pt x="41" y="35"/>
                    <a:pt x="38" y="38"/>
                  </a:cubicBezTo>
                  <a:cubicBezTo>
                    <a:pt x="34" y="42"/>
                    <a:pt x="33" y="45"/>
                    <a:pt x="33" y="50"/>
                  </a:cubicBezTo>
                  <a:lnTo>
                    <a:pt x="33" y="83"/>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6" name="Freeform 15">
              <a:extLst>
                <a:ext uri="{FF2B5EF4-FFF2-40B4-BE49-F238E27FC236}">
                  <a16:creationId xmlns:a16="http://schemas.microsoft.com/office/drawing/2014/main" id="{B8FA227A-00EC-9077-32FD-827EA833AC07}"/>
                </a:ext>
              </a:extLst>
            </p:cNvPr>
            <p:cNvSpPr>
              <a:spLocks noEditPoints="1"/>
            </p:cNvSpPr>
            <p:nvPr userDrawn="1"/>
          </p:nvSpPr>
          <p:spPr bwMode="auto">
            <a:xfrm>
              <a:off x="5774" y="2552"/>
              <a:ext cx="312" cy="551"/>
            </a:xfrm>
            <a:custGeom>
              <a:avLst/>
              <a:gdLst>
                <a:gd name="T0" fmla="*/ 26510905 w 132"/>
                <a:gd name="T1" fmla="*/ 442759715 h 232"/>
                <a:gd name="T2" fmla="*/ 51443210 w 132"/>
                <a:gd name="T3" fmla="*/ 508305993 h 232"/>
                <a:gd name="T4" fmla="*/ 110103249 w 132"/>
                <a:gd name="T5" fmla="*/ 535913430 h 232"/>
                <a:gd name="T6" fmla="*/ 295891719 w 132"/>
                <a:gd name="T7" fmla="*/ 535913430 h 232"/>
                <a:gd name="T8" fmla="*/ 295891719 w 132"/>
                <a:gd name="T9" fmla="*/ 564828430 h 232"/>
                <a:gd name="T10" fmla="*/ 110103249 w 132"/>
                <a:gd name="T11" fmla="*/ 564828430 h 232"/>
                <a:gd name="T12" fmla="*/ 31262608 w 132"/>
                <a:gd name="T13" fmla="*/ 527724589 h 232"/>
                <a:gd name="T14" fmla="*/ 0 w 132"/>
                <a:gd name="T15" fmla="*/ 442759715 h 232"/>
                <a:gd name="T16" fmla="*/ 0 w 132"/>
                <a:gd name="T17" fmla="*/ 0 h 232"/>
                <a:gd name="T18" fmla="*/ 26510905 w 132"/>
                <a:gd name="T19" fmla="*/ 0 h 232"/>
                <a:gd name="T20" fmla="*/ 26510905 w 132"/>
                <a:gd name="T21" fmla="*/ 442759715 h 232"/>
                <a:gd name="T22" fmla="*/ 295891719 w 132"/>
                <a:gd name="T23" fmla="*/ 484506888 h 232"/>
                <a:gd name="T24" fmla="*/ 295891719 w 132"/>
                <a:gd name="T25" fmla="*/ 513431020 h 232"/>
                <a:gd name="T26" fmla="*/ 110103249 w 132"/>
                <a:gd name="T27" fmla="*/ 513431020 h 232"/>
                <a:gd name="T28" fmla="*/ 65404189 w 132"/>
                <a:gd name="T29" fmla="*/ 494012295 h 232"/>
                <a:gd name="T30" fmla="*/ 44482705 w 132"/>
                <a:gd name="T31" fmla="*/ 442759715 h 232"/>
                <a:gd name="T32" fmla="*/ 44482705 w 132"/>
                <a:gd name="T33" fmla="*/ 0 h 232"/>
                <a:gd name="T34" fmla="*/ 73893437 w 132"/>
                <a:gd name="T35" fmla="*/ 0 h 232"/>
                <a:gd name="T36" fmla="*/ 73893437 w 132"/>
                <a:gd name="T37" fmla="*/ 442759715 h 232"/>
                <a:gd name="T38" fmla="*/ 85443339 w 132"/>
                <a:gd name="T39" fmla="*/ 472485538 h 232"/>
                <a:gd name="T40" fmla="*/ 110103249 w 132"/>
                <a:gd name="T41" fmla="*/ 484506888 h 232"/>
                <a:gd name="T42" fmla="*/ 295891719 w 132"/>
                <a:gd name="T43" fmla="*/ 484506888 h 2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2" h="232">
                  <a:moveTo>
                    <a:pt x="12" y="182"/>
                  </a:moveTo>
                  <a:cubicBezTo>
                    <a:pt x="12" y="193"/>
                    <a:pt x="16" y="201"/>
                    <a:pt x="23" y="209"/>
                  </a:cubicBezTo>
                  <a:cubicBezTo>
                    <a:pt x="30" y="216"/>
                    <a:pt x="39" y="220"/>
                    <a:pt x="49" y="220"/>
                  </a:cubicBezTo>
                  <a:cubicBezTo>
                    <a:pt x="132" y="220"/>
                    <a:pt x="132" y="220"/>
                    <a:pt x="132" y="220"/>
                  </a:cubicBezTo>
                  <a:cubicBezTo>
                    <a:pt x="132" y="232"/>
                    <a:pt x="132" y="232"/>
                    <a:pt x="132" y="232"/>
                  </a:cubicBezTo>
                  <a:cubicBezTo>
                    <a:pt x="49" y="232"/>
                    <a:pt x="49" y="232"/>
                    <a:pt x="49" y="232"/>
                  </a:cubicBezTo>
                  <a:cubicBezTo>
                    <a:pt x="36" y="232"/>
                    <a:pt x="24" y="227"/>
                    <a:pt x="14" y="217"/>
                  </a:cubicBezTo>
                  <a:cubicBezTo>
                    <a:pt x="4" y="208"/>
                    <a:pt x="0" y="196"/>
                    <a:pt x="0" y="182"/>
                  </a:cubicBezTo>
                  <a:cubicBezTo>
                    <a:pt x="0" y="0"/>
                    <a:pt x="0" y="0"/>
                    <a:pt x="0" y="0"/>
                  </a:cubicBezTo>
                  <a:cubicBezTo>
                    <a:pt x="12" y="0"/>
                    <a:pt x="12" y="0"/>
                    <a:pt x="12" y="0"/>
                  </a:cubicBezTo>
                  <a:lnTo>
                    <a:pt x="12" y="182"/>
                  </a:lnTo>
                  <a:close/>
                  <a:moveTo>
                    <a:pt x="132" y="199"/>
                  </a:moveTo>
                  <a:cubicBezTo>
                    <a:pt x="132" y="211"/>
                    <a:pt x="132" y="211"/>
                    <a:pt x="132" y="211"/>
                  </a:cubicBezTo>
                  <a:cubicBezTo>
                    <a:pt x="49" y="211"/>
                    <a:pt x="49" y="211"/>
                    <a:pt x="49" y="211"/>
                  </a:cubicBezTo>
                  <a:cubicBezTo>
                    <a:pt x="41" y="211"/>
                    <a:pt x="34" y="209"/>
                    <a:pt x="29" y="203"/>
                  </a:cubicBezTo>
                  <a:cubicBezTo>
                    <a:pt x="23" y="197"/>
                    <a:pt x="20" y="190"/>
                    <a:pt x="20" y="182"/>
                  </a:cubicBezTo>
                  <a:cubicBezTo>
                    <a:pt x="20" y="0"/>
                    <a:pt x="20" y="0"/>
                    <a:pt x="20" y="0"/>
                  </a:cubicBezTo>
                  <a:cubicBezTo>
                    <a:pt x="33" y="0"/>
                    <a:pt x="33" y="0"/>
                    <a:pt x="33" y="0"/>
                  </a:cubicBezTo>
                  <a:cubicBezTo>
                    <a:pt x="33" y="182"/>
                    <a:pt x="33" y="182"/>
                    <a:pt x="33" y="182"/>
                  </a:cubicBezTo>
                  <a:cubicBezTo>
                    <a:pt x="33" y="187"/>
                    <a:pt x="34" y="191"/>
                    <a:pt x="38" y="194"/>
                  </a:cubicBezTo>
                  <a:cubicBezTo>
                    <a:pt x="41" y="197"/>
                    <a:pt x="45" y="199"/>
                    <a:pt x="49" y="199"/>
                  </a:cubicBezTo>
                  <a:lnTo>
                    <a:pt x="132" y="199"/>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 name="Freeform 16">
              <a:extLst>
                <a:ext uri="{FF2B5EF4-FFF2-40B4-BE49-F238E27FC236}">
                  <a16:creationId xmlns:a16="http://schemas.microsoft.com/office/drawing/2014/main" id="{898A5518-9E2F-1B1C-0FDC-5E548ADAB873}"/>
                </a:ext>
              </a:extLst>
            </p:cNvPr>
            <p:cNvSpPr>
              <a:spLocks noEditPoints="1"/>
            </p:cNvSpPr>
            <p:nvPr userDrawn="1"/>
          </p:nvSpPr>
          <p:spPr bwMode="auto">
            <a:xfrm>
              <a:off x="6120" y="2552"/>
              <a:ext cx="331" cy="551"/>
            </a:xfrm>
            <a:custGeom>
              <a:avLst/>
              <a:gdLst>
                <a:gd name="T0" fmla="*/ 315628455 w 140"/>
                <a:gd name="T1" fmla="*/ 0 h 232"/>
                <a:gd name="T2" fmla="*/ 315628455 w 140"/>
                <a:gd name="T3" fmla="*/ 564828430 h 232"/>
                <a:gd name="T4" fmla="*/ 288722604 w 140"/>
                <a:gd name="T5" fmla="*/ 564828430 h 232"/>
                <a:gd name="T6" fmla="*/ 288722604 w 140"/>
                <a:gd name="T7" fmla="*/ 31976658 h 232"/>
                <a:gd name="T8" fmla="*/ 110489077 w 140"/>
                <a:gd name="T9" fmla="*/ 31976658 h 232"/>
                <a:gd name="T10" fmla="*/ 51651254 w 140"/>
                <a:gd name="T11" fmla="*/ 58299493 h 232"/>
                <a:gd name="T12" fmla="*/ 26606139 w 140"/>
                <a:gd name="T13" fmla="*/ 122107630 h 232"/>
                <a:gd name="T14" fmla="*/ 26606139 w 140"/>
                <a:gd name="T15" fmla="*/ 564828430 h 232"/>
                <a:gd name="T16" fmla="*/ 0 w 140"/>
                <a:gd name="T17" fmla="*/ 564828430 h 232"/>
                <a:gd name="T18" fmla="*/ 0 w 140"/>
                <a:gd name="T19" fmla="*/ 122107630 h 232"/>
                <a:gd name="T20" fmla="*/ 31354195 w 140"/>
                <a:gd name="T21" fmla="*/ 37103839 h 232"/>
                <a:gd name="T22" fmla="*/ 110489077 w 140"/>
                <a:gd name="T23" fmla="*/ 0 h 232"/>
                <a:gd name="T24" fmla="*/ 315628455 w 140"/>
                <a:gd name="T25" fmla="*/ 0 h 232"/>
                <a:gd name="T26" fmla="*/ 44631525 w 140"/>
                <a:gd name="T27" fmla="*/ 122107630 h 232"/>
                <a:gd name="T28" fmla="*/ 65649001 w 140"/>
                <a:gd name="T29" fmla="*/ 70832843 h 232"/>
                <a:gd name="T30" fmla="*/ 110489077 w 140"/>
                <a:gd name="T31" fmla="*/ 51413739 h 232"/>
                <a:gd name="T32" fmla="*/ 270477527 w 140"/>
                <a:gd name="T33" fmla="*/ 51413739 h 232"/>
                <a:gd name="T34" fmla="*/ 270477527 w 140"/>
                <a:gd name="T35" fmla="*/ 233836064 h 232"/>
                <a:gd name="T36" fmla="*/ 44631525 w 140"/>
                <a:gd name="T37" fmla="*/ 233836064 h 232"/>
                <a:gd name="T38" fmla="*/ 44631525 w 140"/>
                <a:gd name="T39" fmla="*/ 122107630 h 232"/>
                <a:gd name="T40" fmla="*/ 270477527 w 140"/>
                <a:gd name="T41" fmla="*/ 253283286 h 232"/>
                <a:gd name="T42" fmla="*/ 270477527 w 140"/>
                <a:gd name="T43" fmla="*/ 564828430 h 232"/>
                <a:gd name="T44" fmla="*/ 241121972 w 140"/>
                <a:gd name="T45" fmla="*/ 564828430 h 232"/>
                <a:gd name="T46" fmla="*/ 241121972 w 140"/>
                <a:gd name="T47" fmla="*/ 283050061 h 232"/>
                <a:gd name="T48" fmla="*/ 74130275 w 140"/>
                <a:gd name="T49" fmla="*/ 283050061 h 232"/>
                <a:gd name="T50" fmla="*/ 74130275 w 140"/>
                <a:gd name="T51" fmla="*/ 564828430 h 232"/>
                <a:gd name="T52" fmla="*/ 44631525 w 140"/>
                <a:gd name="T53" fmla="*/ 564828430 h 232"/>
                <a:gd name="T54" fmla="*/ 44631525 w 140"/>
                <a:gd name="T55" fmla="*/ 253283286 h 232"/>
                <a:gd name="T56" fmla="*/ 270477527 w 140"/>
                <a:gd name="T57" fmla="*/ 253283286 h 232"/>
                <a:gd name="T58" fmla="*/ 241121972 w 140"/>
                <a:gd name="T59" fmla="*/ 79781492 h 232"/>
                <a:gd name="T60" fmla="*/ 110489077 w 140"/>
                <a:gd name="T61" fmla="*/ 79781492 h 232"/>
                <a:gd name="T62" fmla="*/ 85974132 w 140"/>
                <a:gd name="T63" fmla="*/ 92335711 h 232"/>
                <a:gd name="T64" fmla="*/ 74130275 w 140"/>
                <a:gd name="T65" fmla="*/ 122107630 h 232"/>
                <a:gd name="T66" fmla="*/ 74130275 w 140"/>
                <a:gd name="T67" fmla="*/ 202009418 h 232"/>
                <a:gd name="T68" fmla="*/ 241121972 w 140"/>
                <a:gd name="T69" fmla="*/ 202009418 h 232"/>
                <a:gd name="T70" fmla="*/ 241121972 w 140"/>
                <a:gd name="T71" fmla="*/ 79781492 h 23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40" h="232">
                  <a:moveTo>
                    <a:pt x="140" y="0"/>
                  </a:moveTo>
                  <a:cubicBezTo>
                    <a:pt x="140" y="232"/>
                    <a:pt x="140" y="232"/>
                    <a:pt x="140" y="232"/>
                  </a:cubicBezTo>
                  <a:cubicBezTo>
                    <a:pt x="128" y="232"/>
                    <a:pt x="128" y="232"/>
                    <a:pt x="128" y="232"/>
                  </a:cubicBezTo>
                  <a:cubicBezTo>
                    <a:pt x="128" y="13"/>
                    <a:pt x="128" y="13"/>
                    <a:pt x="128" y="13"/>
                  </a:cubicBezTo>
                  <a:cubicBezTo>
                    <a:pt x="49" y="13"/>
                    <a:pt x="49" y="13"/>
                    <a:pt x="49" y="13"/>
                  </a:cubicBezTo>
                  <a:cubicBezTo>
                    <a:pt x="39" y="13"/>
                    <a:pt x="30" y="16"/>
                    <a:pt x="23" y="24"/>
                  </a:cubicBezTo>
                  <a:cubicBezTo>
                    <a:pt x="16" y="31"/>
                    <a:pt x="12" y="40"/>
                    <a:pt x="12" y="50"/>
                  </a:cubicBezTo>
                  <a:cubicBezTo>
                    <a:pt x="12" y="232"/>
                    <a:pt x="12" y="232"/>
                    <a:pt x="12" y="232"/>
                  </a:cubicBezTo>
                  <a:cubicBezTo>
                    <a:pt x="0" y="232"/>
                    <a:pt x="0" y="232"/>
                    <a:pt x="0" y="232"/>
                  </a:cubicBezTo>
                  <a:cubicBezTo>
                    <a:pt x="0" y="50"/>
                    <a:pt x="0" y="50"/>
                    <a:pt x="0" y="50"/>
                  </a:cubicBezTo>
                  <a:cubicBezTo>
                    <a:pt x="0" y="36"/>
                    <a:pt x="5" y="25"/>
                    <a:pt x="14" y="15"/>
                  </a:cubicBezTo>
                  <a:cubicBezTo>
                    <a:pt x="24" y="5"/>
                    <a:pt x="36" y="0"/>
                    <a:pt x="49" y="0"/>
                  </a:cubicBezTo>
                  <a:lnTo>
                    <a:pt x="140" y="0"/>
                  </a:lnTo>
                  <a:close/>
                  <a:moveTo>
                    <a:pt x="20" y="50"/>
                  </a:moveTo>
                  <a:cubicBezTo>
                    <a:pt x="20" y="42"/>
                    <a:pt x="23" y="35"/>
                    <a:pt x="29" y="29"/>
                  </a:cubicBezTo>
                  <a:cubicBezTo>
                    <a:pt x="35" y="24"/>
                    <a:pt x="41" y="21"/>
                    <a:pt x="49" y="21"/>
                  </a:cubicBezTo>
                  <a:cubicBezTo>
                    <a:pt x="120" y="21"/>
                    <a:pt x="120" y="21"/>
                    <a:pt x="120" y="21"/>
                  </a:cubicBezTo>
                  <a:cubicBezTo>
                    <a:pt x="120" y="96"/>
                    <a:pt x="120" y="96"/>
                    <a:pt x="120" y="96"/>
                  </a:cubicBezTo>
                  <a:cubicBezTo>
                    <a:pt x="20" y="96"/>
                    <a:pt x="20" y="96"/>
                    <a:pt x="20" y="96"/>
                  </a:cubicBezTo>
                  <a:lnTo>
                    <a:pt x="20" y="50"/>
                  </a:lnTo>
                  <a:close/>
                  <a:moveTo>
                    <a:pt x="120" y="104"/>
                  </a:moveTo>
                  <a:cubicBezTo>
                    <a:pt x="120" y="232"/>
                    <a:pt x="120" y="232"/>
                    <a:pt x="120" y="232"/>
                  </a:cubicBezTo>
                  <a:cubicBezTo>
                    <a:pt x="107" y="232"/>
                    <a:pt x="107" y="232"/>
                    <a:pt x="107" y="232"/>
                  </a:cubicBezTo>
                  <a:cubicBezTo>
                    <a:pt x="107" y="116"/>
                    <a:pt x="107" y="116"/>
                    <a:pt x="107" y="116"/>
                  </a:cubicBezTo>
                  <a:cubicBezTo>
                    <a:pt x="33" y="116"/>
                    <a:pt x="33" y="116"/>
                    <a:pt x="33" y="116"/>
                  </a:cubicBezTo>
                  <a:cubicBezTo>
                    <a:pt x="33" y="232"/>
                    <a:pt x="33" y="232"/>
                    <a:pt x="33" y="232"/>
                  </a:cubicBezTo>
                  <a:cubicBezTo>
                    <a:pt x="20" y="232"/>
                    <a:pt x="20" y="232"/>
                    <a:pt x="20" y="232"/>
                  </a:cubicBezTo>
                  <a:cubicBezTo>
                    <a:pt x="20" y="104"/>
                    <a:pt x="20" y="104"/>
                    <a:pt x="20" y="104"/>
                  </a:cubicBezTo>
                  <a:lnTo>
                    <a:pt x="120" y="104"/>
                  </a:lnTo>
                  <a:close/>
                  <a:moveTo>
                    <a:pt x="107" y="33"/>
                  </a:moveTo>
                  <a:cubicBezTo>
                    <a:pt x="49" y="33"/>
                    <a:pt x="49" y="33"/>
                    <a:pt x="49" y="33"/>
                  </a:cubicBezTo>
                  <a:cubicBezTo>
                    <a:pt x="45" y="33"/>
                    <a:pt x="41" y="35"/>
                    <a:pt x="38" y="38"/>
                  </a:cubicBezTo>
                  <a:cubicBezTo>
                    <a:pt x="34" y="42"/>
                    <a:pt x="33" y="45"/>
                    <a:pt x="33" y="50"/>
                  </a:cubicBezTo>
                  <a:cubicBezTo>
                    <a:pt x="33" y="83"/>
                    <a:pt x="33" y="83"/>
                    <a:pt x="33" y="83"/>
                  </a:cubicBezTo>
                  <a:cubicBezTo>
                    <a:pt x="107" y="83"/>
                    <a:pt x="107" y="83"/>
                    <a:pt x="107" y="83"/>
                  </a:cubicBezTo>
                  <a:lnTo>
                    <a:pt x="107" y="33"/>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8" name="Freeform 17">
              <a:extLst>
                <a:ext uri="{FF2B5EF4-FFF2-40B4-BE49-F238E27FC236}">
                  <a16:creationId xmlns:a16="http://schemas.microsoft.com/office/drawing/2014/main" id="{02346F01-C582-9ADB-6C87-BF51612C45C1}"/>
                </a:ext>
              </a:extLst>
            </p:cNvPr>
            <p:cNvSpPr>
              <a:spLocks noEditPoints="1"/>
            </p:cNvSpPr>
            <p:nvPr userDrawn="1"/>
          </p:nvSpPr>
          <p:spPr bwMode="auto">
            <a:xfrm>
              <a:off x="6517" y="2552"/>
              <a:ext cx="331" cy="551"/>
            </a:xfrm>
            <a:custGeom>
              <a:avLst/>
              <a:gdLst>
                <a:gd name="T0" fmla="*/ 0 w 331"/>
                <a:gd name="T1" fmla="*/ 0 h 551"/>
                <a:gd name="T2" fmla="*/ 331 w 331"/>
                <a:gd name="T3" fmla="*/ 0 h 551"/>
                <a:gd name="T4" fmla="*/ 331 w 331"/>
                <a:gd name="T5" fmla="*/ 31 h 551"/>
                <a:gd name="T6" fmla="*/ 0 w 331"/>
                <a:gd name="T7" fmla="*/ 31 h 551"/>
                <a:gd name="T8" fmla="*/ 0 w 331"/>
                <a:gd name="T9" fmla="*/ 0 h 551"/>
                <a:gd name="T10" fmla="*/ 156 w 331"/>
                <a:gd name="T11" fmla="*/ 50 h 551"/>
                <a:gd name="T12" fmla="*/ 156 w 331"/>
                <a:gd name="T13" fmla="*/ 551 h 551"/>
                <a:gd name="T14" fmla="*/ 128 w 331"/>
                <a:gd name="T15" fmla="*/ 551 h 551"/>
                <a:gd name="T16" fmla="*/ 128 w 331"/>
                <a:gd name="T17" fmla="*/ 79 h 551"/>
                <a:gd name="T18" fmla="*/ 0 w 331"/>
                <a:gd name="T19" fmla="*/ 79 h 551"/>
                <a:gd name="T20" fmla="*/ 0 w 331"/>
                <a:gd name="T21" fmla="*/ 50 h 551"/>
                <a:gd name="T22" fmla="*/ 156 w 331"/>
                <a:gd name="T23" fmla="*/ 50 h 551"/>
                <a:gd name="T24" fmla="*/ 331 w 331"/>
                <a:gd name="T25" fmla="*/ 50 h 551"/>
                <a:gd name="T26" fmla="*/ 331 w 331"/>
                <a:gd name="T27" fmla="*/ 79 h 551"/>
                <a:gd name="T28" fmla="*/ 206 w 331"/>
                <a:gd name="T29" fmla="*/ 79 h 551"/>
                <a:gd name="T30" fmla="*/ 206 w 331"/>
                <a:gd name="T31" fmla="*/ 551 h 551"/>
                <a:gd name="T32" fmla="*/ 175 w 331"/>
                <a:gd name="T33" fmla="*/ 551 h 551"/>
                <a:gd name="T34" fmla="*/ 175 w 331"/>
                <a:gd name="T35" fmla="*/ 50 h 551"/>
                <a:gd name="T36" fmla="*/ 331 w 331"/>
                <a:gd name="T37" fmla="*/ 50 h 5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31" h="551">
                  <a:moveTo>
                    <a:pt x="0" y="0"/>
                  </a:moveTo>
                  <a:lnTo>
                    <a:pt x="331" y="0"/>
                  </a:lnTo>
                  <a:lnTo>
                    <a:pt x="331" y="31"/>
                  </a:lnTo>
                  <a:lnTo>
                    <a:pt x="0" y="31"/>
                  </a:lnTo>
                  <a:lnTo>
                    <a:pt x="0" y="0"/>
                  </a:lnTo>
                  <a:close/>
                  <a:moveTo>
                    <a:pt x="156" y="50"/>
                  </a:moveTo>
                  <a:lnTo>
                    <a:pt x="156" y="551"/>
                  </a:lnTo>
                  <a:lnTo>
                    <a:pt x="128" y="551"/>
                  </a:lnTo>
                  <a:lnTo>
                    <a:pt x="128" y="79"/>
                  </a:lnTo>
                  <a:lnTo>
                    <a:pt x="0" y="79"/>
                  </a:lnTo>
                  <a:lnTo>
                    <a:pt x="0" y="50"/>
                  </a:lnTo>
                  <a:lnTo>
                    <a:pt x="156" y="50"/>
                  </a:lnTo>
                  <a:close/>
                  <a:moveTo>
                    <a:pt x="331" y="50"/>
                  </a:moveTo>
                  <a:lnTo>
                    <a:pt x="331" y="79"/>
                  </a:lnTo>
                  <a:lnTo>
                    <a:pt x="206" y="79"/>
                  </a:lnTo>
                  <a:lnTo>
                    <a:pt x="206" y="551"/>
                  </a:lnTo>
                  <a:lnTo>
                    <a:pt x="175" y="551"/>
                  </a:lnTo>
                  <a:lnTo>
                    <a:pt x="175" y="50"/>
                  </a:lnTo>
                  <a:lnTo>
                    <a:pt x="331" y="50"/>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9" name="Freeform 18">
              <a:extLst>
                <a:ext uri="{FF2B5EF4-FFF2-40B4-BE49-F238E27FC236}">
                  <a16:creationId xmlns:a16="http://schemas.microsoft.com/office/drawing/2014/main" id="{637A3F17-E76F-BD27-C170-DEAE65B875BA}"/>
                </a:ext>
              </a:extLst>
            </p:cNvPr>
            <p:cNvSpPr>
              <a:spLocks noEditPoints="1"/>
            </p:cNvSpPr>
            <p:nvPr userDrawn="1"/>
          </p:nvSpPr>
          <p:spPr bwMode="auto">
            <a:xfrm>
              <a:off x="6886" y="2552"/>
              <a:ext cx="312" cy="551"/>
            </a:xfrm>
            <a:custGeom>
              <a:avLst/>
              <a:gdLst>
                <a:gd name="T0" fmla="*/ 295891719 w 132"/>
                <a:gd name="T1" fmla="*/ 0 h 232"/>
                <a:gd name="T2" fmla="*/ 295891719 w 132"/>
                <a:gd name="T3" fmla="*/ 31976658 h 232"/>
                <a:gd name="T4" fmla="*/ 110103249 w 132"/>
                <a:gd name="T5" fmla="*/ 31976658 h 232"/>
                <a:gd name="T6" fmla="*/ 51443210 w 132"/>
                <a:gd name="T7" fmla="*/ 58299493 h 232"/>
                <a:gd name="T8" fmla="*/ 26510905 w 132"/>
                <a:gd name="T9" fmla="*/ 122107630 h 232"/>
                <a:gd name="T10" fmla="*/ 26510905 w 132"/>
                <a:gd name="T11" fmla="*/ 442759715 h 232"/>
                <a:gd name="T12" fmla="*/ 51443210 w 132"/>
                <a:gd name="T13" fmla="*/ 508305993 h 232"/>
                <a:gd name="T14" fmla="*/ 110103249 w 132"/>
                <a:gd name="T15" fmla="*/ 535913430 h 232"/>
                <a:gd name="T16" fmla="*/ 295891719 w 132"/>
                <a:gd name="T17" fmla="*/ 535913430 h 232"/>
                <a:gd name="T18" fmla="*/ 295891719 w 132"/>
                <a:gd name="T19" fmla="*/ 564828430 h 232"/>
                <a:gd name="T20" fmla="*/ 110103249 w 132"/>
                <a:gd name="T21" fmla="*/ 564828430 h 232"/>
                <a:gd name="T22" fmla="*/ 31262608 w 132"/>
                <a:gd name="T23" fmla="*/ 527724589 h 232"/>
                <a:gd name="T24" fmla="*/ 0 w 132"/>
                <a:gd name="T25" fmla="*/ 442759715 h 232"/>
                <a:gd name="T26" fmla="*/ 0 w 132"/>
                <a:gd name="T27" fmla="*/ 122107630 h 232"/>
                <a:gd name="T28" fmla="*/ 31262608 w 132"/>
                <a:gd name="T29" fmla="*/ 37103839 h 232"/>
                <a:gd name="T30" fmla="*/ 110103249 w 132"/>
                <a:gd name="T31" fmla="*/ 0 h 232"/>
                <a:gd name="T32" fmla="*/ 295891719 w 132"/>
                <a:gd name="T33" fmla="*/ 0 h 232"/>
                <a:gd name="T34" fmla="*/ 44482705 w 132"/>
                <a:gd name="T35" fmla="*/ 122107630 h 232"/>
                <a:gd name="T36" fmla="*/ 65404189 w 132"/>
                <a:gd name="T37" fmla="*/ 70832843 h 232"/>
                <a:gd name="T38" fmla="*/ 111981461 w 132"/>
                <a:gd name="T39" fmla="*/ 51413739 h 232"/>
                <a:gd name="T40" fmla="*/ 295891719 w 132"/>
                <a:gd name="T41" fmla="*/ 51413739 h 232"/>
                <a:gd name="T42" fmla="*/ 295891719 w 132"/>
                <a:gd name="T43" fmla="*/ 79781492 h 232"/>
                <a:gd name="T44" fmla="*/ 111981461 w 132"/>
                <a:gd name="T45" fmla="*/ 79781492 h 232"/>
                <a:gd name="T46" fmla="*/ 85443339 w 132"/>
                <a:gd name="T47" fmla="*/ 92335711 h 232"/>
                <a:gd name="T48" fmla="*/ 73893437 w 132"/>
                <a:gd name="T49" fmla="*/ 122107630 h 232"/>
                <a:gd name="T50" fmla="*/ 73893437 w 132"/>
                <a:gd name="T51" fmla="*/ 202009418 h 232"/>
                <a:gd name="T52" fmla="*/ 295891719 w 132"/>
                <a:gd name="T53" fmla="*/ 202009418 h 232"/>
                <a:gd name="T54" fmla="*/ 295891719 w 132"/>
                <a:gd name="T55" fmla="*/ 233836064 h 232"/>
                <a:gd name="T56" fmla="*/ 44482705 w 132"/>
                <a:gd name="T57" fmla="*/ 233836064 h 232"/>
                <a:gd name="T58" fmla="*/ 44482705 w 132"/>
                <a:gd name="T59" fmla="*/ 122107630 h 232"/>
                <a:gd name="T60" fmla="*/ 44482705 w 132"/>
                <a:gd name="T61" fmla="*/ 253283286 h 232"/>
                <a:gd name="T62" fmla="*/ 295891719 w 132"/>
                <a:gd name="T63" fmla="*/ 253283286 h 232"/>
                <a:gd name="T64" fmla="*/ 295891719 w 132"/>
                <a:gd name="T65" fmla="*/ 283050061 h 232"/>
                <a:gd name="T66" fmla="*/ 73893437 w 132"/>
                <a:gd name="T67" fmla="*/ 283050061 h 232"/>
                <a:gd name="T68" fmla="*/ 73893437 w 132"/>
                <a:gd name="T69" fmla="*/ 442759715 h 232"/>
                <a:gd name="T70" fmla="*/ 85443339 w 132"/>
                <a:gd name="T71" fmla="*/ 472485538 h 232"/>
                <a:gd name="T72" fmla="*/ 111981461 w 132"/>
                <a:gd name="T73" fmla="*/ 484506888 h 232"/>
                <a:gd name="T74" fmla="*/ 295891719 w 132"/>
                <a:gd name="T75" fmla="*/ 484506888 h 232"/>
                <a:gd name="T76" fmla="*/ 295891719 w 132"/>
                <a:gd name="T77" fmla="*/ 513431020 h 232"/>
                <a:gd name="T78" fmla="*/ 111981461 w 132"/>
                <a:gd name="T79" fmla="*/ 513431020 h 232"/>
                <a:gd name="T80" fmla="*/ 65404189 w 132"/>
                <a:gd name="T81" fmla="*/ 494012295 h 232"/>
                <a:gd name="T82" fmla="*/ 44482705 w 132"/>
                <a:gd name="T83" fmla="*/ 442759715 h 232"/>
                <a:gd name="T84" fmla="*/ 44482705 w 132"/>
                <a:gd name="T85" fmla="*/ 253283286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132" y="0"/>
                  </a:moveTo>
                  <a:cubicBezTo>
                    <a:pt x="132" y="13"/>
                    <a:pt x="132" y="13"/>
                    <a:pt x="132" y="13"/>
                  </a:cubicBezTo>
                  <a:cubicBezTo>
                    <a:pt x="49" y="13"/>
                    <a:pt x="49" y="13"/>
                    <a:pt x="49" y="13"/>
                  </a:cubicBezTo>
                  <a:cubicBezTo>
                    <a:pt x="39" y="13"/>
                    <a:pt x="30" y="16"/>
                    <a:pt x="23" y="24"/>
                  </a:cubicBezTo>
                  <a:cubicBezTo>
                    <a:pt x="16" y="31"/>
                    <a:pt x="12" y="40"/>
                    <a:pt x="12" y="50"/>
                  </a:cubicBezTo>
                  <a:cubicBezTo>
                    <a:pt x="12" y="182"/>
                    <a:pt x="12" y="182"/>
                    <a:pt x="12" y="182"/>
                  </a:cubicBezTo>
                  <a:cubicBezTo>
                    <a:pt x="12" y="193"/>
                    <a:pt x="16" y="201"/>
                    <a:pt x="23" y="209"/>
                  </a:cubicBezTo>
                  <a:cubicBezTo>
                    <a:pt x="30" y="216"/>
                    <a:pt x="39" y="220"/>
                    <a:pt x="49" y="220"/>
                  </a:cubicBezTo>
                  <a:cubicBezTo>
                    <a:pt x="132" y="220"/>
                    <a:pt x="132" y="220"/>
                    <a:pt x="132" y="220"/>
                  </a:cubicBezTo>
                  <a:cubicBezTo>
                    <a:pt x="132" y="232"/>
                    <a:pt x="132" y="232"/>
                    <a:pt x="132" y="232"/>
                  </a:cubicBezTo>
                  <a:cubicBezTo>
                    <a:pt x="49" y="232"/>
                    <a:pt x="49" y="232"/>
                    <a:pt x="49" y="232"/>
                  </a:cubicBezTo>
                  <a:cubicBezTo>
                    <a:pt x="36" y="232"/>
                    <a:pt x="24" y="227"/>
                    <a:pt x="14" y="217"/>
                  </a:cubicBezTo>
                  <a:cubicBezTo>
                    <a:pt x="5" y="208"/>
                    <a:pt x="0" y="196"/>
                    <a:pt x="0" y="182"/>
                  </a:cubicBezTo>
                  <a:cubicBezTo>
                    <a:pt x="0" y="50"/>
                    <a:pt x="0" y="50"/>
                    <a:pt x="0" y="50"/>
                  </a:cubicBezTo>
                  <a:cubicBezTo>
                    <a:pt x="0" y="36"/>
                    <a:pt x="5" y="25"/>
                    <a:pt x="14" y="15"/>
                  </a:cubicBezTo>
                  <a:cubicBezTo>
                    <a:pt x="24" y="5"/>
                    <a:pt x="36" y="0"/>
                    <a:pt x="49" y="0"/>
                  </a:cubicBezTo>
                  <a:lnTo>
                    <a:pt x="132" y="0"/>
                  </a:lnTo>
                  <a:close/>
                  <a:moveTo>
                    <a:pt x="20" y="50"/>
                  </a:moveTo>
                  <a:cubicBezTo>
                    <a:pt x="20" y="42"/>
                    <a:pt x="23" y="35"/>
                    <a:pt x="29" y="29"/>
                  </a:cubicBezTo>
                  <a:cubicBezTo>
                    <a:pt x="35" y="24"/>
                    <a:pt x="42" y="21"/>
                    <a:pt x="50" y="21"/>
                  </a:cubicBezTo>
                  <a:cubicBezTo>
                    <a:pt x="132" y="21"/>
                    <a:pt x="132" y="21"/>
                    <a:pt x="132" y="21"/>
                  </a:cubicBezTo>
                  <a:cubicBezTo>
                    <a:pt x="132" y="33"/>
                    <a:pt x="132" y="33"/>
                    <a:pt x="132" y="33"/>
                  </a:cubicBezTo>
                  <a:cubicBezTo>
                    <a:pt x="50" y="33"/>
                    <a:pt x="50" y="33"/>
                    <a:pt x="50" y="33"/>
                  </a:cubicBezTo>
                  <a:cubicBezTo>
                    <a:pt x="45" y="33"/>
                    <a:pt x="41" y="35"/>
                    <a:pt x="38" y="38"/>
                  </a:cubicBezTo>
                  <a:cubicBezTo>
                    <a:pt x="35" y="42"/>
                    <a:pt x="33" y="45"/>
                    <a:pt x="33" y="50"/>
                  </a:cubicBezTo>
                  <a:cubicBezTo>
                    <a:pt x="33" y="83"/>
                    <a:pt x="33" y="83"/>
                    <a:pt x="33" y="83"/>
                  </a:cubicBezTo>
                  <a:cubicBezTo>
                    <a:pt x="132" y="83"/>
                    <a:pt x="132" y="83"/>
                    <a:pt x="132" y="83"/>
                  </a:cubicBezTo>
                  <a:cubicBezTo>
                    <a:pt x="132" y="96"/>
                    <a:pt x="132" y="96"/>
                    <a:pt x="132" y="96"/>
                  </a:cubicBezTo>
                  <a:cubicBezTo>
                    <a:pt x="20" y="96"/>
                    <a:pt x="20" y="96"/>
                    <a:pt x="20" y="96"/>
                  </a:cubicBezTo>
                  <a:lnTo>
                    <a:pt x="20" y="50"/>
                  </a:lnTo>
                  <a:close/>
                  <a:moveTo>
                    <a:pt x="20" y="104"/>
                  </a:moveTo>
                  <a:cubicBezTo>
                    <a:pt x="132" y="104"/>
                    <a:pt x="132" y="104"/>
                    <a:pt x="132" y="104"/>
                  </a:cubicBezTo>
                  <a:cubicBezTo>
                    <a:pt x="132" y="116"/>
                    <a:pt x="132" y="116"/>
                    <a:pt x="132" y="116"/>
                  </a:cubicBezTo>
                  <a:cubicBezTo>
                    <a:pt x="33" y="116"/>
                    <a:pt x="33" y="116"/>
                    <a:pt x="33" y="116"/>
                  </a:cubicBezTo>
                  <a:cubicBezTo>
                    <a:pt x="33" y="182"/>
                    <a:pt x="33" y="182"/>
                    <a:pt x="33" y="182"/>
                  </a:cubicBezTo>
                  <a:cubicBezTo>
                    <a:pt x="33" y="187"/>
                    <a:pt x="35" y="191"/>
                    <a:pt x="38" y="194"/>
                  </a:cubicBezTo>
                  <a:cubicBezTo>
                    <a:pt x="41" y="197"/>
                    <a:pt x="45" y="199"/>
                    <a:pt x="50" y="199"/>
                  </a:cubicBezTo>
                  <a:cubicBezTo>
                    <a:pt x="132" y="199"/>
                    <a:pt x="132" y="199"/>
                    <a:pt x="132" y="199"/>
                  </a:cubicBezTo>
                  <a:cubicBezTo>
                    <a:pt x="132" y="211"/>
                    <a:pt x="132" y="211"/>
                    <a:pt x="132" y="211"/>
                  </a:cubicBezTo>
                  <a:cubicBezTo>
                    <a:pt x="50" y="211"/>
                    <a:pt x="50" y="211"/>
                    <a:pt x="50" y="211"/>
                  </a:cubicBezTo>
                  <a:cubicBezTo>
                    <a:pt x="42" y="211"/>
                    <a:pt x="35" y="209"/>
                    <a:pt x="29" y="203"/>
                  </a:cubicBezTo>
                  <a:cubicBezTo>
                    <a:pt x="23" y="197"/>
                    <a:pt x="20" y="190"/>
                    <a:pt x="20" y="182"/>
                  </a:cubicBezTo>
                  <a:lnTo>
                    <a:pt x="20" y="104"/>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20" name="TextBox 25">
            <a:extLst>
              <a:ext uri="{FF2B5EF4-FFF2-40B4-BE49-F238E27FC236}">
                <a16:creationId xmlns:a16="http://schemas.microsoft.com/office/drawing/2014/main" id="{A158F463-0F47-EA39-2F60-CF791043DB9E}"/>
              </a:ext>
            </a:extLst>
          </p:cNvPr>
          <p:cNvSpPr txBox="1">
            <a:spLocks noChangeArrowheads="1"/>
          </p:cNvSpPr>
          <p:nvPr/>
        </p:nvSpPr>
        <p:spPr bwMode="auto">
          <a:xfrm>
            <a:off x="11345863" y="6402388"/>
            <a:ext cx="354012" cy="261937"/>
          </a:xfrm>
          <a:prstGeom prst="rect">
            <a:avLst/>
          </a:prstGeom>
          <a:noFill/>
          <a:ln>
            <a:noFill/>
          </a:ln>
        </p:spPr>
        <p:txBody>
          <a:bodyPr wrap="none">
            <a:spAutoFit/>
          </a:bodyPr>
          <a:lstStyle>
            <a:lvl1pPr>
              <a:defRPr>
                <a:solidFill>
                  <a:schemeClr val="tx1"/>
                </a:solidFill>
                <a:latin typeface="Lato Light" panose="020F0502020204030203" pitchFamily="34" charset="0"/>
              </a:defRPr>
            </a:lvl1pPr>
            <a:lvl2pPr marL="742950" indent="-285750">
              <a:defRPr>
                <a:solidFill>
                  <a:schemeClr val="tx1"/>
                </a:solidFill>
                <a:latin typeface="Lato Light" panose="020F0502020204030203" pitchFamily="34" charset="0"/>
              </a:defRPr>
            </a:lvl2pPr>
            <a:lvl3pPr marL="1143000" indent="-228600">
              <a:defRPr>
                <a:solidFill>
                  <a:schemeClr val="tx1"/>
                </a:solidFill>
                <a:latin typeface="Lato Light" panose="020F0502020204030203" pitchFamily="34" charset="0"/>
              </a:defRPr>
            </a:lvl3pPr>
            <a:lvl4pPr marL="1600200" indent="-228600">
              <a:defRPr>
                <a:solidFill>
                  <a:schemeClr val="tx1"/>
                </a:solidFill>
                <a:latin typeface="Lato Light" panose="020F0502020204030203" pitchFamily="34" charset="0"/>
              </a:defRPr>
            </a:lvl4pPr>
            <a:lvl5pPr marL="2057400" indent="-228600">
              <a:defRPr>
                <a:solidFill>
                  <a:schemeClr val="tx1"/>
                </a:solidFill>
                <a:latin typeface="Lato Light" panose="020F0502020204030203" pitchFamily="34" charset="0"/>
              </a:defRPr>
            </a:lvl5pPr>
            <a:lvl6pPr marL="2514600" indent="-228600" eaLnBrk="0" fontAlgn="base" hangingPunct="0">
              <a:spcBef>
                <a:spcPct val="0"/>
              </a:spcBef>
              <a:spcAft>
                <a:spcPct val="0"/>
              </a:spcAft>
              <a:defRPr>
                <a:solidFill>
                  <a:schemeClr val="tx1"/>
                </a:solidFill>
                <a:latin typeface="Lato Light" panose="020F0502020204030203" pitchFamily="34" charset="0"/>
              </a:defRPr>
            </a:lvl6pPr>
            <a:lvl7pPr marL="2971800" indent="-228600" eaLnBrk="0" fontAlgn="base" hangingPunct="0">
              <a:spcBef>
                <a:spcPct val="0"/>
              </a:spcBef>
              <a:spcAft>
                <a:spcPct val="0"/>
              </a:spcAft>
              <a:defRPr>
                <a:solidFill>
                  <a:schemeClr val="tx1"/>
                </a:solidFill>
                <a:latin typeface="Lato Light" panose="020F0502020204030203" pitchFamily="34" charset="0"/>
              </a:defRPr>
            </a:lvl7pPr>
            <a:lvl8pPr marL="3429000" indent="-228600" eaLnBrk="0" fontAlgn="base" hangingPunct="0">
              <a:spcBef>
                <a:spcPct val="0"/>
              </a:spcBef>
              <a:spcAft>
                <a:spcPct val="0"/>
              </a:spcAft>
              <a:defRPr>
                <a:solidFill>
                  <a:schemeClr val="tx1"/>
                </a:solidFill>
                <a:latin typeface="Lato Light" panose="020F0502020204030203" pitchFamily="34" charset="0"/>
              </a:defRPr>
            </a:lvl8pPr>
            <a:lvl9pPr marL="3886200" indent="-228600" eaLnBrk="0" fontAlgn="base" hangingPunct="0">
              <a:spcBef>
                <a:spcPct val="0"/>
              </a:spcBef>
              <a:spcAft>
                <a:spcPct val="0"/>
              </a:spcAft>
              <a:defRPr>
                <a:solidFill>
                  <a:schemeClr val="tx1"/>
                </a:solidFill>
                <a:latin typeface="Lato Light" panose="020F0502020204030203" pitchFamily="34" charset="0"/>
              </a:defRPr>
            </a:lvl9pPr>
          </a:lstStyle>
          <a:p>
            <a:pPr algn="ctr" eaLnBrk="1" hangingPunct="1">
              <a:defRPr/>
            </a:pPr>
            <a:fld id="{60BF036C-9893-4484-9B0E-08CC4EBE4AFB}" type="slidenum">
              <a:rPr lang="en-US" altLang="tr-TR" sz="1100" smtClean="0">
                <a:solidFill>
                  <a:schemeClr val="tx2"/>
                </a:solidFill>
              </a:rPr>
              <a:pPr algn="ctr" eaLnBrk="1" hangingPunct="1">
                <a:defRPr/>
              </a:pPr>
              <a:t>‹#›</a:t>
            </a:fld>
            <a:endParaRPr lang="en-US" altLang="tr-TR" sz="1100">
              <a:solidFill>
                <a:schemeClr val="tx2"/>
              </a:solidFill>
            </a:endParaRPr>
          </a:p>
        </p:txBody>
      </p:sp>
      <p:sp>
        <p:nvSpPr>
          <p:cNvPr id="8" name="Picture Placeholder 3"/>
          <p:cNvSpPr>
            <a:spLocks noGrp="1"/>
          </p:cNvSpPr>
          <p:nvPr>
            <p:ph type="pic" sz="quarter" idx="19"/>
          </p:nvPr>
        </p:nvSpPr>
        <p:spPr>
          <a:xfrm>
            <a:off x="839461" y="2126170"/>
            <a:ext cx="2250207" cy="3451538"/>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
        <p:nvSpPr>
          <p:cNvPr id="9" name="Picture Placeholder 3"/>
          <p:cNvSpPr>
            <a:spLocks noGrp="1"/>
          </p:cNvSpPr>
          <p:nvPr>
            <p:ph type="pic" sz="quarter" idx="20"/>
          </p:nvPr>
        </p:nvSpPr>
        <p:spPr>
          <a:xfrm>
            <a:off x="6097261" y="2126170"/>
            <a:ext cx="2250207" cy="3451538"/>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Tree>
    <p:extLst>
      <p:ext uri="{BB962C8B-B14F-4D97-AF65-F5344CB8AC3E}">
        <p14:creationId xmlns:p14="http://schemas.microsoft.com/office/powerpoint/2010/main" val="31600909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5_Custom Layout">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64FD3E22-D5BE-D316-1C13-FFC9D720A75A}"/>
              </a:ext>
            </a:extLst>
          </p:cNvPr>
          <p:cNvSpPr/>
          <p:nvPr/>
        </p:nvSpPr>
        <p:spPr>
          <a:xfrm>
            <a:off x="11350625" y="6361113"/>
            <a:ext cx="344488" cy="344487"/>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2"/>
              </a:solidFill>
            </a:endParaRPr>
          </a:p>
        </p:txBody>
      </p:sp>
      <p:grpSp>
        <p:nvGrpSpPr>
          <p:cNvPr id="3" name="Group 4">
            <a:extLst>
              <a:ext uri="{FF2B5EF4-FFF2-40B4-BE49-F238E27FC236}">
                <a16:creationId xmlns:a16="http://schemas.microsoft.com/office/drawing/2014/main" id="{E26A2698-3BFF-E437-E558-6D5B2C8693BB}"/>
              </a:ext>
            </a:extLst>
          </p:cNvPr>
          <p:cNvGrpSpPr>
            <a:grpSpLocks noChangeAspect="1"/>
          </p:cNvGrpSpPr>
          <p:nvPr/>
        </p:nvGrpSpPr>
        <p:grpSpPr bwMode="auto">
          <a:xfrm>
            <a:off x="527050" y="6389688"/>
            <a:ext cx="1039813" cy="284162"/>
            <a:chOff x="297" y="1187"/>
            <a:chExt cx="7085" cy="1944"/>
          </a:xfrm>
        </p:grpSpPr>
        <p:sp>
          <p:nvSpPr>
            <p:cNvPr id="4" name="Freeform 15">
              <a:extLst>
                <a:ext uri="{FF2B5EF4-FFF2-40B4-BE49-F238E27FC236}">
                  <a16:creationId xmlns:a16="http://schemas.microsoft.com/office/drawing/2014/main" id="{E8145895-0F76-DA59-A311-717EE680BADE}"/>
                </a:ext>
              </a:extLst>
            </p:cNvPr>
            <p:cNvSpPr>
              <a:spLocks noEditPoints="1"/>
            </p:cNvSpPr>
            <p:nvPr userDrawn="1"/>
          </p:nvSpPr>
          <p:spPr bwMode="auto">
            <a:xfrm>
              <a:off x="297" y="1189"/>
              <a:ext cx="1266" cy="1105"/>
            </a:xfrm>
            <a:custGeom>
              <a:avLst/>
              <a:gdLst>
                <a:gd name="T0" fmla="*/ 592814223 w 535"/>
                <a:gd name="T1" fmla="*/ 490470457 h 466"/>
                <a:gd name="T2" fmla="*/ 475447313 w 535"/>
                <a:gd name="T3" fmla="*/ 198813566 h 466"/>
                <a:gd name="T4" fmla="*/ 254086917 w 535"/>
                <a:gd name="T5" fmla="*/ 767261907 h 466"/>
                <a:gd name="T6" fmla="*/ 205935911 w 535"/>
                <a:gd name="T7" fmla="*/ 898255873 h 466"/>
                <a:gd name="T8" fmla="*/ 135177273 w 535"/>
                <a:gd name="T9" fmla="*/ 1082812292 h 466"/>
                <a:gd name="T10" fmla="*/ 135177273 w 535"/>
                <a:gd name="T11" fmla="*/ 1079972834 h 466"/>
                <a:gd name="T12" fmla="*/ 102568007 w 535"/>
                <a:gd name="T13" fmla="*/ 1104057219 h 466"/>
                <a:gd name="T14" fmla="*/ 25381052 w 535"/>
                <a:gd name="T15" fmla="*/ 1104057219 h 466"/>
                <a:gd name="T16" fmla="*/ 0 w 535"/>
                <a:gd name="T17" fmla="*/ 1087116478 h 466"/>
                <a:gd name="T18" fmla="*/ 2031267 w 535"/>
                <a:gd name="T19" fmla="*/ 1078264271 h 466"/>
                <a:gd name="T20" fmla="*/ 4806699 w 535"/>
                <a:gd name="T21" fmla="*/ 1068152912 h 466"/>
                <a:gd name="T22" fmla="*/ 423281075 w 535"/>
                <a:gd name="T23" fmla="*/ 19018883 h 466"/>
                <a:gd name="T24" fmla="*/ 425157884 w 535"/>
                <a:gd name="T25" fmla="*/ 16871626 h 466"/>
                <a:gd name="T26" fmla="*/ 423281075 w 535"/>
                <a:gd name="T27" fmla="*/ 19018883 h 466"/>
                <a:gd name="T28" fmla="*/ 430186005 w 535"/>
                <a:gd name="T29" fmla="*/ 7115093 h 466"/>
                <a:gd name="T30" fmla="*/ 453467932 w 535"/>
                <a:gd name="T31" fmla="*/ 0 h 466"/>
                <a:gd name="T32" fmla="*/ 500809590 w 535"/>
                <a:gd name="T33" fmla="*/ 0 h 466"/>
                <a:gd name="T34" fmla="*/ 522062318 w 535"/>
                <a:gd name="T35" fmla="*/ 7115093 h 466"/>
                <a:gd name="T36" fmla="*/ 528624526 w 535"/>
                <a:gd name="T37" fmla="*/ 19018883 h 466"/>
                <a:gd name="T38" fmla="*/ 530657417 w 535"/>
                <a:gd name="T39" fmla="*/ 19018883 h 466"/>
                <a:gd name="T40" fmla="*/ 532753721 w 535"/>
                <a:gd name="T41" fmla="*/ 23986629 h 466"/>
                <a:gd name="T42" fmla="*/ 530657417 w 535"/>
                <a:gd name="T43" fmla="*/ 21137875 h 466"/>
                <a:gd name="T44" fmla="*/ 656507488 w 535"/>
                <a:gd name="T45" fmla="*/ 336755356 h 466"/>
                <a:gd name="T46" fmla="*/ 592814223 w 535"/>
                <a:gd name="T47" fmla="*/ 490470457 h 466"/>
                <a:gd name="T48" fmla="*/ 1063415281 w 535"/>
                <a:gd name="T49" fmla="*/ 1007003229 h 466"/>
                <a:gd name="T50" fmla="*/ 1020096784 w 535"/>
                <a:gd name="T51" fmla="*/ 898255873 h 466"/>
                <a:gd name="T52" fmla="*/ 862287051 w 535"/>
                <a:gd name="T53" fmla="*/ 490470457 h 466"/>
                <a:gd name="T54" fmla="*/ 745075518 w 535"/>
                <a:gd name="T55" fmla="*/ 198813566 h 466"/>
                <a:gd name="T56" fmla="*/ 524093625 w 535"/>
                <a:gd name="T57" fmla="*/ 767261907 h 466"/>
                <a:gd name="T58" fmla="*/ 473909525 w 535"/>
                <a:gd name="T59" fmla="*/ 898255873 h 466"/>
                <a:gd name="T60" fmla="*/ 405184384 w 535"/>
                <a:gd name="T61" fmla="*/ 1082812292 h 466"/>
                <a:gd name="T62" fmla="*/ 405184384 w 535"/>
                <a:gd name="T63" fmla="*/ 1079972834 h 466"/>
                <a:gd name="T64" fmla="*/ 372851835 w 535"/>
                <a:gd name="T65" fmla="*/ 1104057219 h 466"/>
                <a:gd name="T66" fmla="*/ 295029932 w 535"/>
                <a:gd name="T67" fmla="*/ 1104057219 h 466"/>
                <a:gd name="T68" fmla="*/ 269628205 w 535"/>
                <a:gd name="T69" fmla="*/ 1087116478 h 466"/>
                <a:gd name="T70" fmla="*/ 272403609 w 535"/>
                <a:gd name="T71" fmla="*/ 1078264271 h 466"/>
                <a:gd name="T72" fmla="*/ 274527635 w 535"/>
                <a:gd name="T73" fmla="*/ 1068152912 h 466"/>
                <a:gd name="T74" fmla="*/ 693246507 w 535"/>
                <a:gd name="T75" fmla="*/ 19018883 h 466"/>
                <a:gd name="T76" fmla="*/ 694891188 w 535"/>
                <a:gd name="T77" fmla="*/ 16871626 h 466"/>
                <a:gd name="T78" fmla="*/ 693246507 w 535"/>
                <a:gd name="T79" fmla="*/ 19018883 h 466"/>
                <a:gd name="T80" fmla="*/ 699814170 w 535"/>
                <a:gd name="T81" fmla="*/ 7115093 h 466"/>
                <a:gd name="T82" fmla="*/ 722963600 w 535"/>
                <a:gd name="T83" fmla="*/ 0 h 466"/>
                <a:gd name="T84" fmla="*/ 770453496 w 535"/>
                <a:gd name="T85" fmla="*/ 0 h 466"/>
                <a:gd name="T86" fmla="*/ 791690909 w 535"/>
                <a:gd name="T87" fmla="*/ 7115093 h 466"/>
                <a:gd name="T88" fmla="*/ 798593889 w 535"/>
                <a:gd name="T89" fmla="*/ 19018883 h 466"/>
                <a:gd name="T90" fmla="*/ 800282813 w 535"/>
                <a:gd name="T91" fmla="*/ 19018883 h 466"/>
                <a:gd name="T92" fmla="*/ 800282813 w 535"/>
                <a:gd name="T93" fmla="*/ 23986629 h 466"/>
                <a:gd name="T94" fmla="*/ 800282813 w 535"/>
                <a:gd name="T95" fmla="*/ 21137875 h 466"/>
                <a:gd name="T96" fmla="*/ 1221874959 w 535"/>
                <a:gd name="T97" fmla="*/ 1068152912 h 466"/>
                <a:gd name="T98" fmla="*/ 1223907795 w 535"/>
                <a:gd name="T99" fmla="*/ 1073239556 h 466"/>
                <a:gd name="T100" fmla="*/ 1223907795 w 535"/>
                <a:gd name="T101" fmla="*/ 1087116478 h 466"/>
                <a:gd name="T102" fmla="*/ 1198604492 w 535"/>
                <a:gd name="T103" fmla="*/ 1104057219 h 466"/>
                <a:gd name="T104" fmla="*/ 1123315401 w 535"/>
                <a:gd name="T105" fmla="*/ 1104057219 h 466"/>
                <a:gd name="T106" fmla="*/ 1091504023 w 535"/>
                <a:gd name="T107" fmla="*/ 1082812292 h 466"/>
                <a:gd name="T108" fmla="*/ 1063415281 w 535"/>
                <a:gd name="T109" fmla="*/ 1007003229 h 4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35" h="466">
                  <a:moveTo>
                    <a:pt x="259" y="207"/>
                  </a:moveTo>
                  <a:cubicBezTo>
                    <a:pt x="208" y="84"/>
                    <a:pt x="208" y="84"/>
                    <a:pt x="208" y="84"/>
                  </a:cubicBezTo>
                  <a:cubicBezTo>
                    <a:pt x="111" y="324"/>
                    <a:pt x="111" y="324"/>
                    <a:pt x="111" y="324"/>
                  </a:cubicBezTo>
                  <a:cubicBezTo>
                    <a:pt x="90" y="379"/>
                    <a:pt x="90" y="379"/>
                    <a:pt x="90" y="379"/>
                  </a:cubicBezTo>
                  <a:cubicBezTo>
                    <a:pt x="59" y="457"/>
                    <a:pt x="59" y="457"/>
                    <a:pt x="59" y="457"/>
                  </a:cubicBezTo>
                  <a:cubicBezTo>
                    <a:pt x="59" y="456"/>
                    <a:pt x="59" y="456"/>
                    <a:pt x="59" y="456"/>
                  </a:cubicBezTo>
                  <a:cubicBezTo>
                    <a:pt x="56" y="462"/>
                    <a:pt x="51" y="466"/>
                    <a:pt x="45" y="466"/>
                  </a:cubicBezTo>
                  <a:cubicBezTo>
                    <a:pt x="11" y="466"/>
                    <a:pt x="11" y="466"/>
                    <a:pt x="11" y="466"/>
                  </a:cubicBezTo>
                  <a:cubicBezTo>
                    <a:pt x="4" y="466"/>
                    <a:pt x="0" y="464"/>
                    <a:pt x="0" y="459"/>
                  </a:cubicBezTo>
                  <a:cubicBezTo>
                    <a:pt x="0" y="458"/>
                    <a:pt x="0" y="457"/>
                    <a:pt x="1" y="455"/>
                  </a:cubicBezTo>
                  <a:cubicBezTo>
                    <a:pt x="2" y="451"/>
                    <a:pt x="2" y="451"/>
                    <a:pt x="2" y="451"/>
                  </a:cubicBezTo>
                  <a:cubicBezTo>
                    <a:pt x="185" y="8"/>
                    <a:pt x="185" y="8"/>
                    <a:pt x="185" y="8"/>
                  </a:cubicBezTo>
                  <a:cubicBezTo>
                    <a:pt x="185" y="8"/>
                    <a:pt x="185" y="7"/>
                    <a:pt x="186" y="7"/>
                  </a:cubicBezTo>
                  <a:cubicBezTo>
                    <a:pt x="185" y="8"/>
                    <a:pt x="185" y="8"/>
                    <a:pt x="185" y="8"/>
                  </a:cubicBezTo>
                  <a:cubicBezTo>
                    <a:pt x="188" y="3"/>
                    <a:pt x="188" y="3"/>
                    <a:pt x="188" y="3"/>
                  </a:cubicBezTo>
                  <a:cubicBezTo>
                    <a:pt x="190" y="1"/>
                    <a:pt x="193" y="0"/>
                    <a:pt x="198" y="0"/>
                  </a:cubicBezTo>
                  <a:cubicBezTo>
                    <a:pt x="219" y="0"/>
                    <a:pt x="219" y="0"/>
                    <a:pt x="219" y="0"/>
                  </a:cubicBezTo>
                  <a:cubicBezTo>
                    <a:pt x="224" y="0"/>
                    <a:pt x="227" y="1"/>
                    <a:pt x="228" y="3"/>
                  </a:cubicBezTo>
                  <a:cubicBezTo>
                    <a:pt x="231" y="8"/>
                    <a:pt x="231" y="8"/>
                    <a:pt x="231" y="8"/>
                  </a:cubicBezTo>
                  <a:cubicBezTo>
                    <a:pt x="231" y="8"/>
                    <a:pt x="231" y="8"/>
                    <a:pt x="232" y="8"/>
                  </a:cubicBezTo>
                  <a:cubicBezTo>
                    <a:pt x="233" y="10"/>
                    <a:pt x="233" y="10"/>
                    <a:pt x="233" y="10"/>
                  </a:cubicBezTo>
                  <a:cubicBezTo>
                    <a:pt x="232" y="9"/>
                    <a:pt x="232" y="9"/>
                    <a:pt x="232" y="9"/>
                  </a:cubicBezTo>
                  <a:cubicBezTo>
                    <a:pt x="287" y="142"/>
                    <a:pt x="287" y="142"/>
                    <a:pt x="287" y="142"/>
                  </a:cubicBezTo>
                  <a:lnTo>
                    <a:pt x="259" y="207"/>
                  </a:lnTo>
                  <a:close/>
                  <a:moveTo>
                    <a:pt x="465" y="425"/>
                  </a:moveTo>
                  <a:cubicBezTo>
                    <a:pt x="446" y="379"/>
                    <a:pt x="446" y="379"/>
                    <a:pt x="446" y="379"/>
                  </a:cubicBezTo>
                  <a:cubicBezTo>
                    <a:pt x="377" y="207"/>
                    <a:pt x="377" y="207"/>
                    <a:pt x="377" y="207"/>
                  </a:cubicBezTo>
                  <a:cubicBezTo>
                    <a:pt x="326" y="84"/>
                    <a:pt x="326" y="84"/>
                    <a:pt x="326" y="84"/>
                  </a:cubicBezTo>
                  <a:cubicBezTo>
                    <a:pt x="229" y="324"/>
                    <a:pt x="229" y="324"/>
                    <a:pt x="229" y="324"/>
                  </a:cubicBezTo>
                  <a:cubicBezTo>
                    <a:pt x="207" y="379"/>
                    <a:pt x="207" y="379"/>
                    <a:pt x="207" y="379"/>
                  </a:cubicBezTo>
                  <a:cubicBezTo>
                    <a:pt x="177" y="457"/>
                    <a:pt x="177" y="457"/>
                    <a:pt x="177" y="457"/>
                  </a:cubicBezTo>
                  <a:cubicBezTo>
                    <a:pt x="177" y="456"/>
                    <a:pt x="177" y="456"/>
                    <a:pt x="177" y="456"/>
                  </a:cubicBezTo>
                  <a:cubicBezTo>
                    <a:pt x="174" y="462"/>
                    <a:pt x="169" y="466"/>
                    <a:pt x="163" y="466"/>
                  </a:cubicBezTo>
                  <a:cubicBezTo>
                    <a:pt x="129" y="466"/>
                    <a:pt x="129" y="466"/>
                    <a:pt x="129" y="466"/>
                  </a:cubicBezTo>
                  <a:cubicBezTo>
                    <a:pt x="122" y="466"/>
                    <a:pt x="118" y="464"/>
                    <a:pt x="118" y="459"/>
                  </a:cubicBezTo>
                  <a:cubicBezTo>
                    <a:pt x="118" y="458"/>
                    <a:pt x="118" y="457"/>
                    <a:pt x="119" y="455"/>
                  </a:cubicBezTo>
                  <a:cubicBezTo>
                    <a:pt x="120" y="451"/>
                    <a:pt x="120" y="451"/>
                    <a:pt x="120" y="451"/>
                  </a:cubicBezTo>
                  <a:cubicBezTo>
                    <a:pt x="303" y="8"/>
                    <a:pt x="303" y="8"/>
                    <a:pt x="303" y="8"/>
                  </a:cubicBezTo>
                  <a:cubicBezTo>
                    <a:pt x="303" y="8"/>
                    <a:pt x="303" y="7"/>
                    <a:pt x="304" y="7"/>
                  </a:cubicBezTo>
                  <a:cubicBezTo>
                    <a:pt x="303" y="8"/>
                    <a:pt x="303" y="8"/>
                    <a:pt x="303" y="8"/>
                  </a:cubicBezTo>
                  <a:cubicBezTo>
                    <a:pt x="306" y="3"/>
                    <a:pt x="306" y="3"/>
                    <a:pt x="306" y="3"/>
                  </a:cubicBezTo>
                  <a:cubicBezTo>
                    <a:pt x="308" y="1"/>
                    <a:pt x="311" y="0"/>
                    <a:pt x="316" y="0"/>
                  </a:cubicBezTo>
                  <a:cubicBezTo>
                    <a:pt x="337" y="0"/>
                    <a:pt x="337" y="0"/>
                    <a:pt x="337" y="0"/>
                  </a:cubicBezTo>
                  <a:cubicBezTo>
                    <a:pt x="342" y="0"/>
                    <a:pt x="344" y="1"/>
                    <a:pt x="346" y="3"/>
                  </a:cubicBezTo>
                  <a:cubicBezTo>
                    <a:pt x="349" y="8"/>
                    <a:pt x="349" y="8"/>
                    <a:pt x="349" y="8"/>
                  </a:cubicBezTo>
                  <a:cubicBezTo>
                    <a:pt x="349" y="8"/>
                    <a:pt x="349" y="8"/>
                    <a:pt x="350" y="8"/>
                  </a:cubicBezTo>
                  <a:cubicBezTo>
                    <a:pt x="350" y="10"/>
                    <a:pt x="350" y="10"/>
                    <a:pt x="350" y="10"/>
                  </a:cubicBezTo>
                  <a:cubicBezTo>
                    <a:pt x="350" y="9"/>
                    <a:pt x="350" y="9"/>
                    <a:pt x="350" y="9"/>
                  </a:cubicBezTo>
                  <a:cubicBezTo>
                    <a:pt x="534" y="451"/>
                    <a:pt x="534" y="451"/>
                    <a:pt x="534" y="451"/>
                  </a:cubicBezTo>
                  <a:cubicBezTo>
                    <a:pt x="535" y="453"/>
                    <a:pt x="535" y="453"/>
                    <a:pt x="535" y="453"/>
                  </a:cubicBezTo>
                  <a:cubicBezTo>
                    <a:pt x="535" y="455"/>
                    <a:pt x="535" y="457"/>
                    <a:pt x="535" y="459"/>
                  </a:cubicBezTo>
                  <a:cubicBezTo>
                    <a:pt x="535" y="464"/>
                    <a:pt x="532" y="466"/>
                    <a:pt x="524" y="466"/>
                  </a:cubicBezTo>
                  <a:cubicBezTo>
                    <a:pt x="491" y="466"/>
                    <a:pt x="491" y="466"/>
                    <a:pt x="491" y="466"/>
                  </a:cubicBezTo>
                  <a:cubicBezTo>
                    <a:pt x="479" y="466"/>
                    <a:pt x="477" y="456"/>
                    <a:pt x="477" y="457"/>
                  </a:cubicBezTo>
                  <a:lnTo>
                    <a:pt x="465" y="425"/>
                  </a:lnTo>
                  <a:close/>
                </a:path>
              </a:pathLst>
            </a:custGeom>
            <a:solidFill>
              <a:srgbClr val="2580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 name="Freeform 6">
              <a:extLst>
                <a:ext uri="{FF2B5EF4-FFF2-40B4-BE49-F238E27FC236}">
                  <a16:creationId xmlns:a16="http://schemas.microsoft.com/office/drawing/2014/main" id="{B0CC7E00-26CC-396F-1834-B7D31EDF7AF2}"/>
                </a:ext>
              </a:extLst>
            </p:cNvPr>
            <p:cNvSpPr>
              <a:spLocks noEditPoints="1"/>
            </p:cNvSpPr>
            <p:nvPr userDrawn="1"/>
          </p:nvSpPr>
          <p:spPr bwMode="auto">
            <a:xfrm>
              <a:off x="1456" y="1189"/>
              <a:ext cx="986" cy="1105"/>
            </a:xfrm>
            <a:custGeom>
              <a:avLst/>
              <a:gdLst>
                <a:gd name="T0" fmla="*/ 26658435 w 417"/>
                <a:gd name="T1" fmla="*/ 1104057219 h 466"/>
                <a:gd name="T2" fmla="*/ 0 w 417"/>
                <a:gd name="T3" fmla="*/ 1084997487 h 466"/>
                <a:gd name="T4" fmla="*/ 0 w 417"/>
                <a:gd name="T5" fmla="*/ 1071148297 h 466"/>
                <a:gd name="T6" fmla="*/ 2016564 w 417"/>
                <a:gd name="T7" fmla="*/ 1065967725 h 466"/>
                <a:gd name="T8" fmla="*/ 440005146 w 417"/>
                <a:gd name="T9" fmla="*/ 19018883 h 466"/>
                <a:gd name="T10" fmla="*/ 469546985 w 417"/>
                <a:gd name="T11" fmla="*/ 0 h 466"/>
                <a:gd name="T12" fmla="*/ 474377529 w 417"/>
                <a:gd name="T13" fmla="*/ 0 h 466"/>
                <a:gd name="T14" fmla="*/ 505945896 w 417"/>
                <a:gd name="T15" fmla="*/ 21137875 h 466"/>
                <a:gd name="T16" fmla="*/ 612172944 w 417"/>
                <a:gd name="T17" fmla="*/ 284828039 h 466"/>
                <a:gd name="T18" fmla="*/ 830540312 w 417"/>
                <a:gd name="T19" fmla="*/ 805128453 h 466"/>
                <a:gd name="T20" fmla="*/ 936767478 w 417"/>
                <a:gd name="T21" fmla="*/ 1065967725 h 466"/>
                <a:gd name="T22" fmla="*/ 936767478 w 417"/>
                <a:gd name="T23" fmla="*/ 1065967725 h 466"/>
                <a:gd name="T24" fmla="*/ 941198430 w 417"/>
                <a:gd name="T25" fmla="*/ 1084997487 h 466"/>
                <a:gd name="T26" fmla="*/ 914535082 w 417"/>
                <a:gd name="T27" fmla="*/ 1104057219 h 466"/>
                <a:gd name="T28" fmla="*/ 26658435 w 417"/>
                <a:gd name="T29" fmla="*/ 1104057219 h 466"/>
                <a:gd name="T30" fmla="*/ 173692259 w 417"/>
                <a:gd name="T31" fmla="*/ 974102843 h 466"/>
                <a:gd name="T32" fmla="*/ 332252753 w 417"/>
                <a:gd name="T33" fmla="*/ 974102843 h 466"/>
                <a:gd name="T34" fmla="*/ 767506131 w 417"/>
                <a:gd name="T35" fmla="*/ 974102843 h 466"/>
                <a:gd name="T36" fmla="*/ 471651445 w 417"/>
                <a:gd name="T37" fmla="*/ 238808028 h 466"/>
                <a:gd name="T38" fmla="*/ 173692259 w 417"/>
                <a:gd name="T39" fmla="*/ 974102843 h 4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17" h="466">
                  <a:moveTo>
                    <a:pt x="12" y="466"/>
                  </a:moveTo>
                  <a:cubicBezTo>
                    <a:pt x="4" y="466"/>
                    <a:pt x="0" y="463"/>
                    <a:pt x="0" y="458"/>
                  </a:cubicBezTo>
                  <a:cubicBezTo>
                    <a:pt x="0" y="455"/>
                    <a:pt x="0" y="453"/>
                    <a:pt x="0" y="452"/>
                  </a:cubicBezTo>
                  <a:cubicBezTo>
                    <a:pt x="1" y="450"/>
                    <a:pt x="1" y="450"/>
                    <a:pt x="1" y="450"/>
                  </a:cubicBezTo>
                  <a:cubicBezTo>
                    <a:pt x="195" y="8"/>
                    <a:pt x="195" y="8"/>
                    <a:pt x="195" y="8"/>
                  </a:cubicBezTo>
                  <a:cubicBezTo>
                    <a:pt x="196" y="5"/>
                    <a:pt x="197" y="0"/>
                    <a:pt x="208" y="0"/>
                  </a:cubicBezTo>
                  <a:cubicBezTo>
                    <a:pt x="210" y="0"/>
                    <a:pt x="210" y="0"/>
                    <a:pt x="210" y="0"/>
                  </a:cubicBezTo>
                  <a:cubicBezTo>
                    <a:pt x="222" y="0"/>
                    <a:pt x="222" y="7"/>
                    <a:pt x="224" y="9"/>
                  </a:cubicBezTo>
                  <a:cubicBezTo>
                    <a:pt x="239" y="46"/>
                    <a:pt x="255" y="83"/>
                    <a:pt x="271" y="120"/>
                  </a:cubicBezTo>
                  <a:cubicBezTo>
                    <a:pt x="368" y="340"/>
                    <a:pt x="368" y="340"/>
                    <a:pt x="368" y="340"/>
                  </a:cubicBezTo>
                  <a:cubicBezTo>
                    <a:pt x="384" y="377"/>
                    <a:pt x="400" y="414"/>
                    <a:pt x="415" y="450"/>
                  </a:cubicBezTo>
                  <a:cubicBezTo>
                    <a:pt x="415" y="450"/>
                    <a:pt x="415" y="450"/>
                    <a:pt x="415" y="450"/>
                  </a:cubicBezTo>
                  <a:cubicBezTo>
                    <a:pt x="417" y="458"/>
                    <a:pt x="417" y="458"/>
                    <a:pt x="417" y="458"/>
                  </a:cubicBezTo>
                  <a:cubicBezTo>
                    <a:pt x="417" y="463"/>
                    <a:pt x="413" y="466"/>
                    <a:pt x="405" y="466"/>
                  </a:cubicBezTo>
                  <a:lnTo>
                    <a:pt x="12" y="466"/>
                  </a:lnTo>
                  <a:close/>
                  <a:moveTo>
                    <a:pt x="77" y="411"/>
                  </a:moveTo>
                  <a:cubicBezTo>
                    <a:pt x="147" y="411"/>
                    <a:pt x="147" y="411"/>
                    <a:pt x="147" y="411"/>
                  </a:cubicBezTo>
                  <a:cubicBezTo>
                    <a:pt x="340" y="411"/>
                    <a:pt x="340" y="411"/>
                    <a:pt x="340" y="411"/>
                  </a:cubicBezTo>
                  <a:cubicBezTo>
                    <a:pt x="209" y="101"/>
                    <a:pt x="209" y="101"/>
                    <a:pt x="209" y="101"/>
                  </a:cubicBezTo>
                  <a:lnTo>
                    <a:pt x="77" y="411"/>
                  </a:lnTo>
                  <a:close/>
                </a:path>
              </a:pathLst>
            </a:custGeom>
            <a:solidFill>
              <a:srgbClr val="1993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 name="Freeform 7">
              <a:extLst>
                <a:ext uri="{FF2B5EF4-FFF2-40B4-BE49-F238E27FC236}">
                  <a16:creationId xmlns:a16="http://schemas.microsoft.com/office/drawing/2014/main" id="{7045D5CB-35C7-2971-A81B-23B51258CDAF}"/>
                </a:ext>
              </a:extLst>
            </p:cNvPr>
            <p:cNvSpPr>
              <a:spLocks noEditPoints="1"/>
            </p:cNvSpPr>
            <p:nvPr userDrawn="1"/>
          </p:nvSpPr>
          <p:spPr bwMode="auto">
            <a:xfrm>
              <a:off x="2501" y="1189"/>
              <a:ext cx="1594" cy="1942"/>
            </a:xfrm>
            <a:custGeom>
              <a:avLst/>
              <a:gdLst>
                <a:gd name="T0" fmla="*/ 1483443497 w 674"/>
                <a:gd name="T1" fmla="*/ 1714655374 h 819"/>
                <a:gd name="T2" fmla="*/ 1526729097 w 674"/>
                <a:gd name="T3" fmla="*/ 1761916426 h 819"/>
                <a:gd name="T4" fmla="*/ 1526729097 w 674"/>
                <a:gd name="T5" fmla="*/ 1892482889 h 819"/>
                <a:gd name="T6" fmla="*/ 1483443497 w 674"/>
                <a:gd name="T7" fmla="*/ 1939529634 h 819"/>
                <a:gd name="T8" fmla="*/ 45037621 w 674"/>
                <a:gd name="T9" fmla="*/ 1939529634 h 819"/>
                <a:gd name="T10" fmla="*/ 2021131 w 674"/>
                <a:gd name="T11" fmla="*/ 1892482889 h 819"/>
                <a:gd name="T12" fmla="*/ 2021131 w 674"/>
                <a:gd name="T13" fmla="*/ 1747816468 h 819"/>
                <a:gd name="T14" fmla="*/ 4779945 w 674"/>
                <a:gd name="T15" fmla="*/ 1718918526 h 819"/>
                <a:gd name="T16" fmla="*/ 1173181872 w 674"/>
                <a:gd name="T17" fmla="*/ 224874255 h 819"/>
                <a:gd name="T18" fmla="*/ 67999529 w 674"/>
                <a:gd name="T19" fmla="*/ 224874255 h 819"/>
                <a:gd name="T20" fmla="*/ 23082570 w 674"/>
                <a:gd name="T21" fmla="*/ 177827380 h 819"/>
                <a:gd name="T22" fmla="*/ 23082570 w 674"/>
                <a:gd name="T23" fmla="*/ 39995312 h 819"/>
                <a:gd name="T24" fmla="*/ 67999529 w 674"/>
                <a:gd name="T25" fmla="*/ 0 h 819"/>
                <a:gd name="T26" fmla="*/ 1415437178 w 674"/>
                <a:gd name="T27" fmla="*/ 0 h 819"/>
                <a:gd name="T28" fmla="*/ 1460854109 w 674"/>
                <a:gd name="T29" fmla="*/ 45085377 h 819"/>
                <a:gd name="T30" fmla="*/ 1460854109 w 674"/>
                <a:gd name="T31" fmla="*/ 191701471 h 819"/>
                <a:gd name="T32" fmla="*/ 1458729657 w 674"/>
                <a:gd name="T33" fmla="*/ 205471911 h 819"/>
                <a:gd name="T34" fmla="*/ 1451728403 w 674"/>
                <a:gd name="T35" fmla="*/ 224874255 h 819"/>
                <a:gd name="T36" fmla="*/ 1453837196 w 674"/>
                <a:gd name="T37" fmla="*/ 220773085 h 819"/>
                <a:gd name="T38" fmla="*/ 298805398 w 674"/>
                <a:gd name="T39" fmla="*/ 1714655374 h 819"/>
                <a:gd name="T40" fmla="*/ 892477599 w 674"/>
                <a:gd name="T41" fmla="*/ 1714655374 h 819"/>
                <a:gd name="T42" fmla="*/ 1483443497 w 674"/>
                <a:gd name="T43" fmla="*/ 1714655374 h 819"/>
                <a:gd name="T44" fmla="*/ 901071203 w 674"/>
                <a:gd name="T45" fmla="*/ 1338067130 h 819"/>
                <a:gd name="T46" fmla="*/ 1485464242 w 674"/>
                <a:gd name="T47" fmla="*/ 1338067130 h 819"/>
                <a:gd name="T48" fmla="*/ 1526729097 w 674"/>
                <a:gd name="T49" fmla="*/ 1380181100 h 819"/>
                <a:gd name="T50" fmla="*/ 1526729097 w 674"/>
                <a:gd name="T51" fmla="*/ 1518014804 h 819"/>
                <a:gd name="T52" fmla="*/ 1485464242 w 674"/>
                <a:gd name="T53" fmla="*/ 1565124966 h 819"/>
                <a:gd name="T54" fmla="*/ 899479284 w 674"/>
                <a:gd name="T55" fmla="*/ 1565124966 h 819"/>
                <a:gd name="T56" fmla="*/ 858051680 w 674"/>
                <a:gd name="T57" fmla="*/ 1525126678 h 819"/>
                <a:gd name="T58" fmla="*/ 858051680 w 674"/>
                <a:gd name="T59" fmla="*/ 1385323779 h 819"/>
                <a:gd name="T60" fmla="*/ 872788267 w 674"/>
                <a:gd name="T61" fmla="*/ 1354121744 h 819"/>
                <a:gd name="T62" fmla="*/ 901071203 w 674"/>
                <a:gd name="T63" fmla="*/ 1338067130 h 81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74" h="819">
                  <a:moveTo>
                    <a:pt x="655" y="724"/>
                  </a:moveTo>
                  <a:cubicBezTo>
                    <a:pt x="654" y="724"/>
                    <a:pt x="674" y="721"/>
                    <a:pt x="674" y="744"/>
                  </a:cubicBezTo>
                  <a:cubicBezTo>
                    <a:pt x="674" y="799"/>
                    <a:pt x="674" y="799"/>
                    <a:pt x="674" y="799"/>
                  </a:cubicBezTo>
                  <a:cubicBezTo>
                    <a:pt x="674" y="809"/>
                    <a:pt x="666" y="819"/>
                    <a:pt x="655" y="819"/>
                  </a:cubicBezTo>
                  <a:cubicBezTo>
                    <a:pt x="20" y="819"/>
                    <a:pt x="20" y="819"/>
                    <a:pt x="20" y="819"/>
                  </a:cubicBezTo>
                  <a:cubicBezTo>
                    <a:pt x="10" y="819"/>
                    <a:pt x="0" y="811"/>
                    <a:pt x="1" y="799"/>
                  </a:cubicBezTo>
                  <a:cubicBezTo>
                    <a:pt x="1" y="738"/>
                    <a:pt x="1" y="738"/>
                    <a:pt x="1" y="738"/>
                  </a:cubicBezTo>
                  <a:cubicBezTo>
                    <a:pt x="0" y="735"/>
                    <a:pt x="2" y="730"/>
                    <a:pt x="2" y="726"/>
                  </a:cubicBezTo>
                  <a:cubicBezTo>
                    <a:pt x="518" y="95"/>
                    <a:pt x="518" y="95"/>
                    <a:pt x="518" y="95"/>
                  </a:cubicBezTo>
                  <a:cubicBezTo>
                    <a:pt x="30" y="95"/>
                    <a:pt x="30" y="95"/>
                    <a:pt x="30" y="95"/>
                  </a:cubicBezTo>
                  <a:cubicBezTo>
                    <a:pt x="15" y="95"/>
                    <a:pt x="10" y="88"/>
                    <a:pt x="10" y="75"/>
                  </a:cubicBezTo>
                  <a:cubicBezTo>
                    <a:pt x="10" y="17"/>
                    <a:pt x="10" y="17"/>
                    <a:pt x="10" y="17"/>
                  </a:cubicBezTo>
                  <a:cubicBezTo>
                    <a:pt x="10" y="5"/>
                    <a:pt x="15" y="0"/>
                    <a:pt x="30" y="0"/>
                  </a:cubicBezTo>
                  <a:cubicBezTo>
                    <a:pt x="625" y="0"/>
                    <a:pt x="625" y="0"/>
                    <a:pt x="625" y="0"/>
                  </a:cubicBezTo>
                  <a:cubicBezTo>
                    <a:pt x="637" y="0"/>
                    <a:pt x="645" y="6"/>
                    <a:pt x="645" y="19"/>
                  </a:cubicBezTo>
                  <a:cubicBezTo>
                    <a:pt x="645" y="81"/>
                    <a:pt x="645" y="81"/>
                    <a:pt x="645" y="81"/>
                  </a:cubicBezTo>
                  <a:cubicBezTo>
                    <a:pt x="645" y="82"/>
                    <a:pt x="645" y="85"/>
                    <a:pt x="644" y="87"/>
                  </a:cubicBezTo>
                  <a:cubicBezTo>
                    <a:pt x="641" y="95"/>
                    <a:pt x="641" y="95"/>
                    <a:pt x="641" y="95"/>
                  </a:cubicBezTo>
                  <a:cubicBezTo>
                    <a:pt x="642" y="93"/>
                    <a:pt x="642" y="93"/>
                    <a:pt x="642" y="93"/>
                  </a:cubicBezTo>
                  <a:cubicBezTo>
                    <a:pt x="132" y="724"/>
                    <a:pt x="132" y="724"/>
                    <a:pt x="132" y="724"/>
                  </a:cubicBezTo>
                  <a:cubicBezTo>
                    <a:pt x="394" y="724"/>
                    <a:pt x="394" y="724"/>
                    <a:pt x="394" y="724"/>
                  </a:cubicBezTo>
                  <a:lnTo>
                    <a:pt x="655" y="724"/>
                  </a:lnTo>
                  <a:close/>
                  <a:moveTo>
                    <a:pt x="398" y="565"/>
                  </a:moveTo>
                  <a:cubicBezTo>
                    <a:pt x="656" y="565"/>
                    <a:pt x="656" y="565"/>
                    <a:pt x="656" y="565"/>
                  </a:cubicBezTo>
                  <a:cubicBezTo>
                    <a:pt x="666" y="565"/>
                    <a:pt x="674" y="573"/>
                    <a:pt x="674" y="583"/>
                  </a:cubicBezTo>
                  <a:cubicBezTo>
                    <a:pt x="674" y="641"/>
                    <a:pt x="674" y="641"/>
                    <a:pt x="674" y="641"/>
                  </a:cubicBezTo>
                  <a:cubicBezTo>
                    <a:pt x="674" y="652"/>
                    <a:pt x="666" y="661"/>
                    <a:pt x="656" y="661"/>
                  </a:cubicBezTo>
                  <a:cubicBezTo>
                    <a:pt x="397" y="661"/>
                    <a:pt x="397" y="661"/>
                    <a:pt x="397" y="661"/>
                  </a:cubicBezTo>
                  <a:cubicBezTo>
                    <a:pt x="386" y="661"/>
                    <a:pt x="379" y="654"/>
                    <a:pt x="379" y="644"/>
                  </a:cubicBezTo>
                  <a:cubicBezTo>
                    <a:pt x="379" y="585"/>
                    <a:pt x="379" y="585"/>
                    <a:pt x="379" y="585"/>
                  </a:cubicBezTo>
                  <a:cubicBezTo>
                    <a:pt x="380" y="580"/>
                    <a:pt x="382" y="576"/>
                    <a:pt x="385" y="572"/>
                  </a:cubicBezTo>
                  <a:cubicBezTo>
                    <a:pt x="385" y="572"/>
                    <a:pt x="386" y="565"/>
                    <a:pt x="398" y="565"/>
                  </a:cubicBezTo>
                  <a:close/>
                </a:path>
              </a:pathLst>
            </a:custGeom>
            <a:solidFill>
              <a:srgbClr val="9EBE5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 name="Freeform 8">
              <a:extLst>
                <a:ext uri="{FF2B5EF4-FFF2-40B4-BE49-F238E27FC236}">
                  <a16:creationId xmlns:a16="http://schemas.microsoft.com/office/drawing/2014/main" id="{83F3DD7E-D28E-2A0E-832F-E90A95946A80}"/>
                </a:ext>
              </a:extLst>
            </p:cNvPr>
            <p:cNvSpPr>
              <a:spLocks noEditPoints="1"/>
            </p:cNvSpPr>
            <p:nvPr userDrawn="1"/>
          </p:nvSpPr>
          <p:spPr bwMode="auto">
            <a:xfrm>
              <a:off x="4133" y="1189"/>
              <a:ext cx="986" cy="1105"/>
            </a:xfrm>
            <a:custGeom>
              <a:avLst/>
              <a:gdLst>
                <a:gd name="T0" fmla="*/ 26658435 w 417"/>
                <a:gd name="T1" fmla="*/ 1104057219 h 466"/>
                <a:gd name="T2" fmla="*/ 2016564 w 417"/>
                <a:gd name="T3" fmla="*/ 1084997487 h 466"/>
                <a:gd name="T4" fmla="*/ 2016564 w 417"/>
                <a:gd name="T5" fmla="*/ 1071148297 h 466"/>
                <a:gd name="T6" fmla="*/ 4768183 w 417"/>
                <a:gd name="T7" fmla="*/ 1065967725 h 466"/>
                <a:gd name="T8" fmla="*/ 440005146 w 417"/>
                <a:gd name="T9" fmla="*/ 19018883 h 466"/>
                <a:gd name="T10" fmla="*/ 471651445 w 417"/>
                <a:gd name="T11" fmla="*/ 0 h 466"/>
                <a:gd name="T12" fmla="*/ 476419656 w 417"/>
                <a:gd name="T13" fmla="*/ 0 h 466"/>
                <a:gd name="T14" fmla="*/ 505945896 w 417"/>
                <a:gd name="T15" fmla="*/ 21137875 h 466"/>
                <a:gd name="T16" fmla="*/ 612172944 w 417"/>
                <a:gd name="T17" fmla="*/ 284828039 h 466"/>
                <a:gd name="T18" fmla="*/ 833293680 w 417"/>
                <a:gd name="T19" fmla="*/ 805128453 h 466"/>
                <a:gd name="T20" fmla="*/ 939517011 w 417"/>
                <a:gd name="T21" fmla="*/ 1065967725 h 466"/>
                <a:gd name="T22" fmla="*/ 936767478 w 417"/>
                <a:gd name="T23" fmla="*/ 1065967725 h 466"/>
                <a:gd name="T24" fmla="*/ 941198430 w 417"/>
                <a:gd name="T25" fmla="*/ 1084997487 h 466"/>
                <a:gd name="T26" fmla="*/ 916425650 w 417"/>
                <a:gd name="T27" fmla="*/ 1104057219 h 466"/>
                <a:gd name="T28" fmla="*/ 26658435 w 417"/>
                <a:gd name="T29" fmla="*/ 1104057219 h 466"/>
                <a:gd name="T30" fmla="*/ 173692259 w 417"/>
                <a:gd name="T31" fmla="*/ 974102843 h 466"/>
                <a:gd name="T32" fmla="*/ 332252753 w 417"/>
                <a:gd name="T33" fmla="*/ 974102843 h 466"/>
                <a:gd name="T34" fmla="*/ 767506131 w 417"/>
                <a:gd name="T35" fmla="*/ 974102843 h 466"/>
                <a:gd name="T36" fmla="*/ 471651445 w 417"/>
                <a:gd name="T37" fmla="*/ 238808028 h 466"/>
                <a:gd name="T38" fmla="*/ 173692259 w 417"/>
                <a:gd name="T39" fmla="*/ 974102843 h 4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17" h="466">
                  <a:moveTo>
                    <a:pt x="12" y="466"/>
                  </a:moveTo>
                  <a:cubicBezTo>
                    <a:pt x="4" y="466"/>
                    <a:pt x="0" y="463"/>
                    <a:pt x="1" y="458"/>
                  </a:cubicBezTo>
                  <a:cubicBezTo>
                    <a:pt x="0" y="455"/>
                    <a:pt x="0" y="453"/>
                    <a:pt x="1" y="452"/>
                  </a:cubicBezTo>
                  <a:cubicBezTo>
                    <a:pt x="2" y="450"/>
                    <a:pt x="2" y="450"/>
                    <a:pt x="2" y="450"/>
                  </a:cubicBezTo>
                  <a:cubicBezTo>
                    <a:pt x="195" y="8"/>
                    <a:pt x="195" y="8"/>
                    <a:pt x="195" y="8"/>
                  </a:cubicBezTo>
                  <a:cubicBezTo>
                    <a:pt x="197" y="5"/>
                    <a:pt x="198" y="0"/>
                    <a:pt x="209" y="0"/>
                  </a:cubicBezTo>
                  <a:cubicBezTo>
                    <a:pt x="211" y="0"/>
                    <a:pt x="211" y="0"/>
                    <a:pt x="211" y="0"/>
                  </a:cubicBezTo>
                  <a:cubicBezTo>
                    <a:pt x="222" y="0"/>
                    <a:pt x="223" y="7"/>
                    <a:pt x="224" y="9"/>
                  </a:cubicBezTo>
                  <a:cubicBezTo>
                    <a:pt x="239" y="46"/>
                    <a:pt x="255" y="83"/>
                    <a:pt x="271" y="120"/>
                  </a:cubicBezTo>
                  <a:cubicBezTo>
                    <a:pt x="369" y="340"/>
                    <a:pt x="369" y="340"/>
                    <a:pt x="369" y="340"/>
                  </a:cubicBezTo>
                  <a:cubicBezTo>
                    <a:pt x="385" y="377"/>
                    <a:pt x="401" y="414"/>
                    <a:pt x="416" y="450"/>
                  </a:cubicBezTo>
                  <a:cubicBezTo>
                    <a:pt x="415" y="450"/>
                    <a:pt x="415" y="450"/>
                    <a:pt x="415" y="450"/>
                  </a:cubicBezTo>
                  <a:cubicBezTo>
                    <a:pt x="417" y="458"/>
                    <a:pt x="417" y="458"/>
                    <a:pt x="417" y="458"/>
                  </a:cubicBezTo>
                  <a:cubicBezTo>
                    <a:pt x="417" y="463"/>
                    <a:pt x="414" y="466"/>
                    <a:pt x="406" y="466"/>
                  </a:cubicBezTo>
                  <a:lnTo>
                    <a:pt x="12" y="466"/>
                  </a:lnTo>
                  <a:close/>
                  <a:moveTo>
                    <a:pt x="77" y="411"/>
                  </a:moveTo>
                  <a:cubicBezTo>
                    <a:pt x="147" y="411"/>
                    <a:pt x="147" y="411"/>
                    <a:pt x="147" y="411"/>
                  </a:cubicBezTo>
                  <a:cubicBezTo>
                    <a:pt x="340" y="411"/>
                    <a:pt x="340" y="411"/>
                    <a:pt x="340" y="411"/>
                  </a:cubicBezTo>
                  <a:cubicBezTo>
                    <a:pt x="209" y="101"/>
                    <a:pt x="209" y="101"/>
                    <a:pt x="209" y="101"/>
                  </a:cubicBezTo>
                  <a:lnTo>
                    <a:pt x="77" y="411"/>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 name="Freeform 9">
              <a:extLst>
                <a:ext uri="{FF2B5EF4-FFF2-40B4-BE49-F238E27FC236}">
                  <a16:creationId xmlns:a16="http://schemas.microsoft.com/office/drawing/2014/main" id="{96F0EEC0-E39D-0905-0FF2-D7805A053E42}"/>
                </a:ext>
              </a:extLst>
            </p:cNvPr>
            <p:cNvSpPr>
              <a:spLocks noEditPoints="1"/>
            </p:cNvSpPr>
            <p:nvPr userDrawn="1"/>
          </p:nvSpPr>
          <p:spPr bwMode="auto">
            <a:xfrm>
              <a:off x="5259" y="1187"/>
              <a:ext cx="941" cy="1107"/>
            </a:xfrm>
            <a:custGeom>
              <a:avLst/>
              <a:gdLst>
                <a:gd name="T0" fmla="*/ 897379222 w 398"/>
                <a:gd name="T1" fmla="*/ 30594420 h 467"/>
                <a:gd name="T2" fmla="*/ 890358234 w 398"/>
                <a:gd name="T3" fmla="*/ 1076168270 h 467"/>
                <a:gd name="T4" fmla="*/ 863748004 w 398"/>
                <a:gd name="T5" fmla="*/ 1100058818 h 467"/>
                <a:gd name="T6" fmla="*/ 771485685 w 398"/>
                <a:gd name="T7" fmla="*/ 1100058818 h 467"/>
                <a:gd name="T8" fmla="*/ 125893508 w 398"/>
                <a:gd name="T9" fmla="*/ 184128005 h 467"/>
                <a:gd name="T10" fmla="*/ 122136901 w 398"/>
                <a:gd name="T11" fmla="*/ 754173992 h 467"/>
                <a:gd name="T12" fmla="*/ 376580847 w 398"/>
                <a:gd name="T13" fmla="*/ 754173992 h 467"/>
                <a:gd name="T14" fmla="*/ 398430025 w 398"/>
                <a:gd name="T15" fmla="*/ 777275989 h 467"/>
                <a:gd name="T16" fmla="*/ 398430025 w 398"/>
                <a:gd name="T17" fmla="*/ 854743724 h 467"/>
                <a:gd name="T18" fmla="*/ 376580847 w 398"/>
                <a:gd name="T19" fmla="*/ 883384289 h 467"/>
                <a:gd name="T20" fmla="*/ 24536535 w 398"/>
                <a:gd name="T21" fmla="*/ 878310296 h 467"/>
                <a:gd name="T22" fmla="*/ 23013058 w 398"/>
                <a:gd name="T23" fmla="*/ 878310296 h 467"/>
                <a:gd name="T24" fmla="*/ 0 w 398"/>
                <a:gd name="T25" fmla="*/ 859366371 h 467"/>
                <a:gd name="T26" fmla="*/ 6865536 w 398"/>
                <a:gd name="T27" fmla="*/ 25974653 h 467"/>
                <a:gd name="T28" fmla="*/ 31374522 w 398"/>
                <a:gd name="T29" fmla="*/ 2072546 h 467"/>
                <a:gd name="T30" fmla="*/ 125893508 w 398"/>
                <a:gd name="T31" fmla="*/ 2072546 h 467"/>
                <a:gd name="T32" fmla="*/ 148746381 w 398"/>
                <a:gd name="T33" fmla="*/ 13823806 h 467"/>
                <a:gd name="T34" fmla="*/ 768580627 w 398"/>
                <a:gd name="T35" fmla="*/ 885333514 h 467"/>
                <a:gd name="T36" fmla="*/ 775022528 w 398"/>
                <a:gd name="T37" fmla="*/ 23886284 h 467"/>
                <a:gd name="T38" fmla="*/ 798083455 w 398"/>
                <a:gd name="T39" fmla="*/ 7074865 h 467"/>
                <a:gd name="T40" fmla="*/ 870741434 w 398"/>
                <a:gd name="T41" fmla="*/ 7074865 h 467"/>
                <a:gd name="T42" fmla="*/ 888769892 w 398"/>
                <a:gd name="T43" fmla="*/ 13823806 h 467"/>
                <a:gd name="T44" fmla="*/ 897379222 w 398"/>
                <a:gd name="T45" fmla="*/ 30594420 h 467"/>
                <a:gd name="T46" fmla="*/ 502483131 w 398"/>
                <a:gd name="T47" fmla="*/ 967923553 h 467"/>
                <a:gd name="T48" fmla="*/ 525479561 w 398"/>
                <a:gd name="T49" fmla="*/ 991784983 h 467"/>
                <a:gd name="T50" fmla="*/ 525479561 w 398"/>
                <a:gd name="T51" fmla="*/ 1069462303 h 467"/>
                <a:gd name="T52" fmla="*/ 502483131 w 398"/>
                <a:gd name="T53" fmla="*/ 1097986322 h 467"/>
                <a:gd name="T54" fmla="*/ 23013058 w 398"/>
                <a:gd name="T55" fmla="*/ 1097986322 h 467"/>
                <a:gd name="T56" fmla="*/ 0 w 398"/>
                <a:gd name="T57" fmla="*/ 1074095937 h 467"/>
                <a:gd name="T58" fmla="*/ 0 w 398"/>
                <a:gd name="T59" fmla="*/ 993579494 h 467"/>
                <a:gd name="T60" fmla="*/ 24536535 w 398"/>
                <a:gd name="T61" fmla="*/ 967923553 h 467"/>
                <a:gd name="T62" fmla="*/ 264174943 w 398"/>
                <a:gd name="T63" fmla="*/ 967923553 h 467"/>
                <a:gd name="T64" fmla="*/ 502483131 w 398"/>
                <a:gd name="T65" fmla="*/ 967923553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98" h="467">
                  <a:moveTo>
                    <a:pt x="398" y="13"/>
                  </a:moveTo>
                  <a:cubicBezTo>
                    <a:pt x="395" y="457"/>
                    <a:pt x="395" y="457"/>
                    <a:pt x="395" y="457"/>
                  </a:cubicBezTo>
                  <a:cubicBezTo>
                    <a:pt x="395" y="464"/>
                    <a:pt x="390" y="467"/>
                    <a:pt x="383" y="467"/>
                  </a:cubicBezTo>
                  <a:cubicBezTo>
                    <a:pt x="342" y="467"/>
                    <a:pt x="342" y="467"/>
                    <a:pt x="342" y="467"/>
                  </a:cubicBezTo>
                  <a:cubicBezTo>
                    <a:pt x="56" y="78"/>
                    <a:pt x="56" y="78"/>
                    <a:pt x="56" y="78"/>
                  </a:cubicBezTo>
                  <a:cubicBezTo>
                    <a:pt x="54" y="320"/>
                    <a:pt x="54" y="320"/>
                    <a:pt x="54" y="320"/>
                  </a:cubicBezTo>
                  <a:cubicBezTo>
                    <a:pt x="167" y="320"/>
                    <a:pt x="167" y="320"/>
                    <a:pt x="167" y="320"/>
                  </a:cubicBezTo>
                  <a:cubicBezTo>
                    <a:pt x="173" y="320"/>
                    <a:pt x="177" y="324"/>
                    <a:pt x="177" y="330"/>
                  </a:cubicBezTo>
                  <a:cubicBezTo>
                    <a:pt x="177" y="363"/>
                    <a:pt x="177" y="363"/>
                    <a:pt x="177" y="363"/>
                  </a:cubicBezTo>
                  <a:cubicBezTo>
                    <a:pt x="177" y="369"/>
                    <a:pt x="173" y="375"/>
                    <a:pt x="167" y="375"/>
                  </a:cubicBezTo>
                  <a:cubicBezTo>
                    <a:pt x="11" y="373"/>
                    <a:pt x="11" y="373"/>
                    <a:pt x="11" y="373"/>
                  </a:cubicBezTo>
                  <a:cubicBezTo>
                    <a:pt x="10" y="373"/>
                    <a:pt x="10" y="373"/>
                    <a:pt x="10" y="373"/>
                  </a:cubicBezTo>
                  <a:cubicBezTo>
                    <a:pt x="4" y="373"/>
                    <a:pt x="1" y="370"/>
                    <a:pt x="0" y="365"/>
                  </a:cubicBezTo>
                  <a:cubicBezTo>
                    <a:pt x="3" y="11"/>
                    <a:pt x="3" y="11"/>
                    <a:pt x="3" y="11"/>
                  </a:cubicBezTo>
                  <a:cubicBezTo>
                    <a:pt x="3" y="5"/>
                    <a:pt x="7" y="0"/>
                    <a:pt x="14" y="1"/>
                  </a:cubicBezTo>
                  <a:cubicBezTo>
                    <a:pt x="56" y="1"/>
                    <a:pt x="56" y="1"/>
                    <a:pt x="56" y="1"/>
                  </a:cubicBezTo>
                  <a:cubicBezTo>
                    <a:pt x="60" y="1"/>
                    <a:pt x="64" y="3"/>
                    <a:pt x="66" y="6"/>
                  </a:cubicBezTo>
                  <a:cubicBezTo>
                    <a:pt x="341" y="376"/>
                    <a:pt x="341" y="376"/>
                    <a:pt x="341" y="376"/>
                  </a:cubicBezTo>
                  <a:cubicBezTo>
                    <a:pt x="344" y="10"/>
                    <a:pt x="344" y="10"/>
                    <a:pt x="344" y="10"/>
                  </a:cubicBezTo>
                  <a:cubicBezTo>
                    <a:pt x="345" y="5"/>
                    <a:pt x="349" y="3"/>
                    <a:pt x="354" y="3"/>
                  </a:cubicBezTo>
                  <a:cubicBezTo>
                    <a:pt x="386" y="3"/>
                    <a:pt x="386" y="3"/>
                    <a:pt x="386" y="3"/>
                  </a:cubicBezTo>
                  <a:cubicBezTo>
                    <a:pt x="389" y="3"/>
                    <a:pt x="391" y="4"/>
                    <a:pt x="394" y="6"/>
                  </a:cubicBezTo>
                  <a:cubicBezTo>
                    <a:pt x="396" y="7"/>
                    <a:pt x="398" y="10"/>
                    <a:pt x="398" y="13"/>
                  </a:cubicBezTo>
                  <a:close/>
                  <a:moveTo>
                    <a:pt x="223" y="411"/>
                  </a:moveTo>
                  <a:cubicBezTo>
                    <a:pt x="229" y="411"/>
                    <a:pt x="233" y="415"/>
                    <a:pt x="233" y="421"/>
                  </a:cubicBezTo>
                  <a:cubicBezTo>
                    <a:pt x="233" y="454"/>
                    <a:pt x="233" y="454"/>
                    <a:pt x="233" y="454"/>
                  </a:cubicBezTo>
                  <a:cubicBezTo>
                    <a:pt x="233" y="460"/>
                    <a:pt x="230" y="466"/>
                    <a:pt x="223" y="466"/>
                  </a:cubicBezTo>
                  <a:cubicBezTo>
                    <a:pt x="10" y="466"/>
                    <a:pt x="10" y="466"/>
                    <a:pt x="10" y="466"/>
                  </a:cubicBezTo>
                  <a:cubicBezTo>
                    <a:pt x="4" y="466"/>
                    <a:pt x="0" y="462"/>
                    <a:pt x="0" y="456"/>
                  </a:cubicBezTo>
                  <a:cubicBezTo>
                    <a:pt x="0" y="422"/>
                    <a:pt x="0" y="422"/>
                    <a:pt x="0" y="422"/>
                  </a:cubicBezTo>
                  <a:cubicBezTo>
                    <a:pt x="0" y="416"/>
                    <a:pt x="4" y="411"/>
                    <a:pt x="11" y="411"/>
                  </a:cubicBezTo>
                  <a:cubicBezTo>
                    <a:pt x="117" y="411"/>
                    <a:pt x="117" y="411"/>
                    <a:pt x="117" y="411"/>
                  </a:cubicBezTo>
                  <a:lnTo>
                    <a:pt x="223" y="411"/>
                  </a:lnTo>
                  <a:close/>
                </a:path>
              </a:pathLst>
            </a:custGeom>
            <a:solidFill>
              <a:srgbClr val="C03B2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9" name="Freeform 10">
              <a:extLst>
                <a:ext uri="{FF2B5EF4-FFF2-40B4-BE49-F238E27FC236}">
                  <a16:creationId xmlns:a16="http://schemas.microsoft.com/office/drawing/2014/main" id="{E6F57104-3E9A-86DE-CC91-728A8EBD696B}"/>
                </a:ext>
              </a:extLst>
            </p:cNvPr>
            <p:cNvSpPr>
              <a:spLocks noEditPoints="1"/>
            </p:cNvSpPr>
            <p:nvPr userDrawn="1"/>
          </p:nvSpPr>
          <p:spPr bwMode="auto">
            <a:xfrm>
              <a:off x="6280" y="1189"/>
              <a:ext cx="1102" cy="1105"/>
            </a:xfrm>
            <a:custGeom>
              <a:avLst/>
              <a:gdLst>
                <a:gd name="T0" fmla="*/ 154128366 w 466"/>
                <a:gd name="T1" fmla="*/ 943010351 h 466"/>
                <a:gd name="T2" fmla="*/ 0 w 466"/>
                <a:gd name="T3" fmla="*/ 552442640 h 466"/>
                <a:gd name="T4" fmla="*/ 154128366 w 466"/>
                <a:gd name="T5" fmla="*/ 163833771 h 466"/>
                <a:gd name="T6" fmla="*/ 527029454 w 466"/>
                <a:gd name="T7" fmla="*/ 0 h 466"/>
                <a:gd name="T8" fmla="*/ 900145882 w 466"/>
                <a:gd name="T9" fmla="*/ 163833771 h 466"/>
                <a:gd name="T10" fmla="*/ 1054209675 w 466"/>
                <a:gd name="T11" fmla="*/ 552442640 h 466"/>
                <a:gd name="T12" fmla="*/ 900145882 w 466"/>
                <a:gd name="T13" fmla="*/ 943010351 h 466"/>
                <a:gd name="T14" fmla="*/ 527029454 w 466"/>
                <a:gd name="T15" fmla="*/ 1104057219 h 466"/>
                <a:gd name="T16" fmla="*/ 154128366 w 466"/>
                <a:gd name="T17" fmla="*/ 943010351 h 466"/>
                <a:gd name="T18" fmla="*/ 237118879 w 466"/>
                <a:gd name="T19" fmla="*/ 248554821 h 466"/>
                <a:gd name="T20" fmla="*/ 117706387 w 466"/>
                <a:gd name="T21" fmla="*/ 552442640 h 466"/>
                <a:gd name="T22" fmla="*/ 237118879 w 466"/>
                <a:gd name="T23" fmla="*/ 855407497 h 466"/>
                <a:gd name="T24" fmla="*/ 527029454 w 466"/>
                <a:gd name="T25" fmla="*/ 983016883 h 466"/>
                <a:gd name="T26" fmla="*/ 817155276 w 466"/>
                <a:gd name="T27" fmla="*/ 855407497 h 466"/>
                <a:gd name="T28" fmla="*/ 938406617 w 466"/>
                <a:gd name="T29" fmla="*/ 552442640 h 466"/>
                <a:gd name="T30" fmla="*/ 817155276 w 466"/>
                <a:gd name="T31" fmla="*/ 248554821 h 466"/>
                <a:gd name="T32" fmla="*/ 527029454 w 466"/>
                <a:gd name="T33" fmla="*/ 121039414 h 466"/>
                <a:gd name="T34" fmla="*/ 237118879 w 466"/>
                <a:gd name="T35" fmla="*/ 248554821 h 4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6" h="466">
                  <a:moveTo>
                    <a:pt x="68" y="398"/>
                  </a:moveTo>
                  <a:cubicBezTo>
                    <a:pt x="24" y="354"/>
                    <a:pt x="2" y="299"/>
                    <a:pt x="0" y="233"/>
                  </a:cubicBezTo>
                  <a:cubicBezTo>
                    <a:pt x="2" y="167"/>
                    <a:pt x="24" y="112"/>
                    <a:pt x="68" y="69"/>
                  </a:cubicBezTo>
                  <a:cubicBezTo>
                    <a:pt x="112" y="24"/>
                    <a:pt x="167" y="2"/>
                    <a:pt x="233" y="0"/>
                  </a:cubicBezTo>
                  <a:cubicBezTo>
                    <a:pt x="299" y="2"/>
                    <a:pt x="354" y="24"/>
                    <a:pt x="398" y="69"/>
                  </a:cubicBezTo>
                  <a:cubicBezTo>
                    <a:pt x="442" y="112"/>
                    <a:pt x="465" y="167"/>
                    <a:pt x="466" y="233"/>
                  </a:cubicBezTo>
                  <a:cubicBezTo>
                    <a:pt x="465" y="299"/>
                    <a:pt x="442" y="354"/>
                    <a:pt x="398" y="398"/>
                  </a:cubicBezTo>
                  <a:cubicBezTo>
                    <a:pt x="354" y="441"/>
                    <a:pt x="299" y="464"/>
                    <a:pt x="233" y="466"/>
                  </a:cubicBezTo>
                  <a:cubicBezTo>
                    <a:pt x="167" y="464"/>
                    <a:pt x="112" y="441"/>
                    <a:pt x="68" y="398"/>
                  </a:cubicBezTo>
                  <a:close/>
                  <a:moveTo>
                    <a:pt x="105" y="105"/>
                  </a:moveTo>
                  <a:cubicBezTo>
                    <a:pt x="70" y="139"/>
                    <a:pt x="53" y="181"/>
                    <a:pt x="52" y="233"/>
                  </a:cubicBezTo>
                  <a:cubicBezTo>
                    <a:pt x="53" y="284"/>
                    <a:pt x="70" y="327"/>
                    <a:pt x="105" y="361"/>
                  </a:cubicBezTo>
                  <a:cubicBezTo>
                    <a:pt x="139" y="395"/>
                    <a:pt x="181" y="413"/>
                    <a:pt x="233" y="415"/>
                  </a:cubicBezTo>
                  <a:cubicBezTo>
                    <a:pt x="284" y="413"/>
                    <a:pt x="327" y="395"/>
                    <a:pt x="361" y="361"/>
                  </a:cubicBezTo>
                  <a:cubicBezTo>
                    <a:pt x="395" y="327"/>
                    <a:pt x="413" y="284"/>
                    <a:pt x="415" y="233"/>
                  </a:cubicBezTo>
                  <a:cubicBezTo>
                    <a:pt x="413" y="181"/>
                    <a:pt x="395" y="139"/>
                    <a:pt x="361" y="105"/>
                  </a:cubicBezTo>
                  <a:cubicBezTo>
                    <a:pt x="327" y="71"/>
                    <a:pt x="284" y="53"/>
                    <a:pt x="233" y="51"/>
                  </a:cubicBezTo>
                  <a:cubicBezTo>
                    <a:pt x="181" y="53"/>
                    <a:pt x="139" y="71"/>
                    <a:pt x="105" y="105"/>
                  </a:cubicBezTo>
                  <a:close/>
                </a:path>
              </a:pathLst>
            </a:custGeom>
            <a:solidFill>
              <a:srgbClr val="64324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1">
              <a:extLst>
                <a:ext uri="{FF2B5EF4-FFF2-40B4-BE49-F238E27FC236}">
                  <a16:creationId xmlns:a16="http://schemas.microsoft.com/office/drawing/2014/main" id="{D04A2954-2F3B-5AD0-F958-B67854C3CE33}"/>
                </a:ext>
              </a:extLst>
            </p:cNvPr>
            <p:cNvSpPr>
              <a:spLocks noEditPoints="1"/>
            </p:cNvSpPr>
            <p:nvPr userDrawn="1"/>
          </p:nvSpPr>
          <p:spPr bwMode="auto">
            <a:xfrm>
              <a:off x="4230" y="2552"/>
              <a:ext cx="334" cy="551"/>
            </a:xfrm>
            <a:custGeom>
              <a:avLst/>
              <a:gdLst>
                <a:gd name="T0" fmla="*/ 0 w 334"/>
                <a:gd name="T1" fmla="*/ 0 h 551"/>
                <a:gd name="T2" fmla="*/ 334 w 334"/>
                <a:gd name="T3" fmla="*/ 0 h 551"/>
                <a:gd name="T4" fmla="*/ 334 w 334"/>
                <a:gd name="T5" fmla="*/ 31 h 551"/>
                <a:gd name="T6" fmla="*/ 0 w 334"/>
                <a:gd name="T7" fmla="*/ 31 h 551"/>
                <a:gd name="T8" fmla="*/ 0 w 334"/>
                <a:gd name="T9" fmla="*/ 0 h 551"/>
                <a:gd name="T10" fmla="*/ 156 w 334"/>
                <a:gd name="T11" fmla="*/ 50 h 551"/>
                <a:gd name="T12" fmla="*/ 156 w 334"/>
                <a:gd name="T13" fmla="*/ 551 h 551"/>
                <a:gd name="T14" fmla="*/ 128 w 334"/>
                <a:gd name="T15" fmla="*/ 551 h 551"/>
                <a:gd name="T16" fmla="*/ 128 w 334"/>
                <a:gd name="T17" fmla="*/ 79 h 551"/>
                <a:gd name="T18" fmla="*/ 0 w 334"/>
                <a:gd name="T19" fmla="*/ 79 h 551"/>
                <a:gd name="T20" fmla="*/ 0 w 334"/>
                <a:gd name="T21" fmla="*/ 50 h 551"/>
                <a:gd name="T22" fmla="*/ 156 w 334"/>
                <a:gd name="T23" fmla="*/ 50 h 551"/>
                <a:gd name="T24" fmla="*/ 334 w 334"/>
                <a:gd name="T25" fmla="*/ 50 h 551"/>
                <a:gd name="T26" fmla="*/ 334 w 334"/>
                <a:gd name="T27" fmla="*/ 79 h 551"/>
                <a:gd name="T28" fmla="*/ 206 w 334"/>
                <a:gd name="T29" fmla="*/ 79 h 551"/>
                <a:gd name="T30" fmla="*/ 206 w 334"/>
                <a:gd name="T31" fmla="*/ 551 h 551"/>
                <a:gd name="T32" fmla="*/ 175 w 334"/>
                <a:gd name="T33" fmla="*/ 551 h 551"/>
                <a:gd name="T34" fmla="*/ 175 w 334"/>
                <a:gd name="T35" fmla="*/ 50 h 551"/>
                <a:gd name="T36" fmla="*/ 334 w 334"/>
                <a:gd name="T37" fmla="*/ 50 h 5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34" h="551">
                  <a:moveTo>
                    <a:pt x="0" y="0"/>
                  </a:moveTo>
                  <a:lnTo>
                    <a:pt x="334" y="0"/>
                  </a:lnTo>
                  <a:lnTo>
                    <a:pt x="334" y="31"/>
                  </a:lnTo>
                  <a:lnTo>
                    <a:pt x="0" y="31"/>
                  </a:lnTo>
                  <a:lnTo>
                    <a:pt x="0" y="0"/>
                  </a:lnTo>
                  <a:close/>
                  <a:moveTo>
                    <a:pt x="156" y="50"/>
                  </a:moveTo>
                  <a:lnTo>
                    <a:pt x="156" y="551"/>
                  </a:lnTo>
                  <a:lnTo>
                    <a:pt x="128" y="551"/>
                  </a:lnTo>
                  <a:lnTo>
                    <a:pt x="128" y="79"/>
                  </a:lnTo>
                  <a:lnTo>
                    <a:pt x="0" y="79"/>
                  </a:lnTo>
                  <a:lnTo>
                    <a:pt x="0" y="50"/>
                  </a:lnTo>
                  <a:lnTo>
                    <a:pt x="156" y="50"/>
                  </a:lnTo>
                  <a:close/>
                  <a:moveTo>
                    <a:pt x="334" y="50"/>
                  </a:moveTo>
                  <a:lnTo>
                    <a:pt x="334" y="79"/>
                  </a:lnTo>
                  <a:lnTo>
                    <a:pt x="206" y="79"/>
                  </a:lnTo>
                  <a:lnTo>
                    <a:pt x="206" y="551"/>
                  </a:lnTo>
                  <a:lnTo>
                    <a:pt x="175" y="551"/>
                  </a:lnTo>
                  <a:lnTo>
                    <a:pt x="175" y="50"/>
                  </a:lnTo>
                  <a:lnTo>
                    <a:pt x="334" y="50"/>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5" name="Freeform 12">
              <a:extLst>
                <a:ext uri="{FF2B5EF4-FFF2-40B4-BE49-F238E27FC236}">
                  <a16:creationId xmlns:a16="http://schemas.microsoft.com/office/drawing/2014/main" id="{D1EA1C10-C480-BCE7-77A3-8DDDBBDC0ED5}"/>
                </a:ext>
              </a:extLst>
            </p:cNvPr>
            <p:cNvSpPr>
              <a:spLocks noEditPoints="1"/>
            </p:cNvSpPr>
            <p:nvPr userDrawn="1"/>
          </p:nvSpPr>
          <p:spPr bwMode="auto">
            <a:xfrm>
              <a:off x="4599" y="2552"/>
              <a:ext cx="312" cy="551"/>
            </a:xfrm>
            <a:custGeom>
              <a:avLst/>
              <a:gdLst>
                <a:gd name="T0" fmla="*/ 295891719 w 132"/>
                <a:gd name="T1" fmla="*/ 0 h 232"/>
                <a:gd name="T2" fmla="*/ 295891719 w 132"/>
                <a:gd name="T3" fmla="*/ 31976658 h 232"/>
                <a:gd name="T4" fmla="*/ 111981461 w 132"/>
                <a:gd name="T5" fmla="*/ 31976658 h 232"/>
                <a:gd name="T6" fmla="*/ 51443210 w 132"/>
                <a:gd name="T7" fmla="*/ 58299493 h 232"/>
                <a:gd name="T8" fmla="*/ 26510905 w 132"/>
                <a:gd name="T9" fmla="*/ 122107630 h 232"/>
                <a:gd name="T10" fmla="*/ 26510905 w 132"/>
                <a:gd name="T11" fmla="*/ 442759715 h 232"/>
                <a:gd name="T12" fmla="*/ 51443210 w 132"/>
                <a:gd name="T13" fmla="*/ 508305993 h 232"/>
                <a:gd name="T14" fmla="*/ 111981461 w 132"/>
                <a:gd name="T15" fmla="*/ 535913430 h 232"/>
                <a:gd name="T16" fmla="*/ 295891719 w 132"/>
                <a:gd name="T17" fmla="*/ 535913430 h 232"/>
                <a:gd name="T18" fmla="*/ 295891719 w 132"/>
                <a:gd name="T19" fmla="*/ 564828430 h 232"/>
                <a:gd name="T20" fmla="*/ 111981461 w 132"/>
                <a:gd name="T21" fmla="*/ 564828430 h 232"/>
                <a:gd name="T22" fmla="*/ 33265636 w 132"/>
                <a:gd name="T23" fmla="*/ 527724589 h 232"/>
                <a:gd name="T24" fmla="*/ 0 w 132"/>
                <a:gd name="T25" fmla="*/ 442759715 h 232"/>
                <a:gd name="T26" fmla="*/ 0 w 132"/>
                <a:gd name="T27" fmla="*/ 122107630 h 232"/>
                <a:gd name="T28" fmla="*/ 33265636 w 132"/>
                <a:gd name="T29" fmla="*/ 37103839 h 232"/>
                <a:gd name="T30" fmla="*/ 111981461 w 132"/>
                <a:gd name="T31" fmla="*/ 0 h 232"/>
                <a:gd name="T32" fmla="*/ 295891719 w 132"/>
                <a:gd name="T33" fmla="*/ 0 h 232"/>
                <a:gd name="T34" fmla="*/ 47376772 w 132"/>
                <a:gd name="T35" fmla="*/ 122107630 h 232"/>
                <a:gd name="T36" fmla="*/ 65404189 w 132"/>
                <a:gd name="T37" fmla="*/ 70832843 h 232"/>
                <a:gd name="T38" fmla="*/ 111981461 w 132"/>
                <a:gd name="T39" fmla="*/ 51413739 h 232"/>
                <a:gd name="T40" fmla="*/ 295891719 w 132"/>
                <a:gd name="T41" fmla="*/ 51413739 h 232"/>
                <a:gd name="T42" fmla="*/ 295891719 w 132"/>
                <a:gd name="T43" fmla="*/ 79781492 h 232"/>
                <a:gd name="T44" fmla="*/ 111981461 w 132"/>
                <a:gd name="T45" fmla="*/ 79781492 h 232"/>
                <a:gd name="T46" fmla="*/ 85443339 w 132"/>
                <a:gd name="T47" fmla="*/ 92335711 h 232"/>
                <a:gd name="T48" fmla="*/ 73893437 w 132"/>
                <a:gd name="T49" fmla="*/ 122107630 h 232"/>
                <a:gd name="T50" fmla="*/ 73893437 w 132"/>
                <a:gd name="T51" fmla="*/ 202009418 h 232"/>
                <a:gd name="T52" fmla="*/ 295891719 w 132"/>
                <a:gd name="T53" fmla="*/ 202009418 h 232"/>
                <a:gd name="T54" fmla="*/ 295891719 w 132"/>
                <a:gd name="T55" fmla="*/ 233836064 h 232"/>
                <a:gd name="T56" fmla="*/ 47376772 w 132"/>
                <a:gd name="T57" fmla="*/ 233836064 h 232"/>
                <a:gd name="T58" fmla="*/ 47376772 w 132"/>
                <a:gd name="T59" fmla="*/ 122107630 h 232"/>
                <a:gd name="T60" fmla="*/ 47376772 w 132"/>
                <a:gd name="T61" fmla="*/ 253283286 h 232"/>
                <a:gd name="T62" fmla="*/ 295891719 w 132"/>
                <a:gd name="T63" fmla="*/ 253283286 h 232"/>
                <a:gd name="T64" fmla="*/ 295891719 w 132"/>
                <a:gd name="T65" fmla="*/ 283050061 h 232"/>
                <a:gd name="T66" fmla="*/ 73893437 w 132"/>
                <a:gd name="T67" fmla="*/ 283050061 h 232"/>
                <a:gd name="T68" fmla="*/ 73893437 w 132"/>
                <a:gd name="T69" fmla="*/ 442759715 h 232"/>
                <a:gd name="T70" fmla="*/ 85443339 w 132"/>
                <a:gd name="T71" fmla="*/ 472485538 h 232"/>
                <a:gd name="T72" fmla="*/ 111981461 w 132"/>
                <a:gd name="T73" fmla="*/ 484506888 h 232"/>
                <a:gd name="T74" fmla="*/ 295891719 w 132"/>
                <a:gd name="T75" fmla="*/ 484506888 h 232"/>
                <a:gd name="T76" fmla="*/ 295891719 w 132"/>
                <a:gd name="T77" fmla="*/ 513431020 h 232"/>
                <a:gd name="T78" fmla="*/ 111981461 w 132"/>
                <a:gd name="T79" fmla="*/ 513431020 h 232"/>
                <a:gd name="T80" fmla="*/ 65404189 w 132"/>
                <a:gd name="T81" fmla="*/ 494012295 h 232"/>
                <a:gd name="T82" fmla="*/ 47376772 w 132"/>
                <a:gd name="T83" fmla="*/ 442759715 h 232"/>
                <a:gd name="T84" fmla="*/ 47376772 w 132"/>
                <a:gd name="T85" fmla="*/ 253283286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132" y="0"/>
                  </a:moveTo>
                  <a:cubicBezTo>
                    <a:pt x="132" y="13"/>
                    <a:pt x="132" y="13"/>
                    <a:pt x="132" y="13"/>
                  </a:cubicBezTo>
                  <a:cubicBezTo>
                    <a:pt x="50" y="13"/>
                    <a:pt x="50" y="13"/>
                    <a:pt x="50" y="13"/>
                  </a:cubicBezTo>
                  <a:cubicBezTo>
                    <a:pt x="39" y="13"/>
                    <a:pt x="31" y="16"/>
                    <a:pt x="23" y="24"/>
                  </a:cubicBezTo>
                  <a:cubicBezTo>
                    <a:pt x="16" y="31"/>
                    <a:pt x="12" y="40"/>
                    <a:pt x="12" y="50"/>
                  </a:cubicBezTo>
                  <a:cubicBezTo>
                    <a:pt x="12" y="182"/>
                    <a:pt x="12" y="182"/>
                    <a:pt x="12" y="182"/>
                  </a:cubicBezTo>
                  <a:cubicBezTo>
                    <a:pt x="12" y="193"/>
                    <a:pt x="16" y="201"/>
                    <a:pt x="23" y="209"/>
                  </a:cubicBezTo>
                  <a:cubicBezTo>
                    <a:pt x="31" y="216"/>
                    <a:pt x="39" y="220"/>
                    <a:pt x="50" y="220"/>
                  </a:cubicBezTo>
                  <a:cubicBezTo>
                    <a:pt x="132" y="220"/>
                    <a:pt x="132" y="220"/>
                    <a:pt x="132" y="220"/>
                  </a:cubicBezTo>
                  <a:cubicBezTo>
                    <a:pt x="132" y="232"/>
                    <a:pt x="132" y="232"/>
                    <a:pt x="132" y="232"/>
                  </a:cubicBezTo>
                  <a:cubicBezTo>
                    <a:pt x="50" y="232"/>
                    <a:pt x="50" y="232"/>
                    <a:pt x="50" y="232"/>
                  </a:cubicBezTo>
                  <a:cubicBezTo>
                    <a:pt x="36" y="232"/>
                    <a:pt x="24" y="227"/>
                    <a:pt x="15" y="217"/>
                  </a:cubicBezTo>
                  <a:cubicBezTo>
                    <a:pt x="5" y="208"/>
                    <a:pt x="0" y="196"/>
                    <a:pt x="0" y="182"/>
                  </a:cubicBezTo>
                  <a:cubicBezTo>
                    <a:pt x="0" y="50"/>
                    <a:pt x="0" y="50"/>
                    <a:pt x="0" y="50"/>
                  </a:cubicBezTo>
                  <a:cubicBezTo>
                    <a:pt x="0" y="36"/>
                    <a:pt x="5" y="25"/>
                    <a:pt x="15" y="15"/>
                  </a:cubicBezTo>
                  <a:cubicBezTo>
                    <a:pt x="24" y="5"/>
                    <a:pt x="36" y="0"/>
                    <a:pt x="50" y="0"/>
                  </a:cubicBezTo>
                  <a:lnTo>
                    <a:pt x="132" y="0"/>
                  </a:lnTo>
                  <a:close/>
                  <a:moveTo>
                    <a:pt x="21" y="50"/>
                  </a:moveTo>
                  <a:cubicBezTo>
                    <a:pt x="21" y="42"/>
                    <a:pt x="24" y="35"/>
                    <a:pt x="29" y="29"/>
                  </a:cubicBezTo>
                  <a:cubicBezTo>
                    <a:pt x="35" y="24"/>
                    <a:pt x="42" y="21"/>
                    <a:pt x="50" y="21"/>
                  </a:cubicBezTo>
                  <a:cubicBezTo>
                    <a:pt x="132" y="21"/>
                    <a:pt x="132" y="21"/>
                    <a:pt x="132" y="21"/>
                  </a:cubicBezTo>
                  <a:cubicBezTo>
                    <a:pt x="132" y="33"/>
                    <a:pt x="132" y="33"/>
                    <a:pt x="132" y="33"/>
                  </a:cubicBezTo>
                  <a:cubicBezTo>
                    <a:pt x="50" y="33"/>
                    <a:pt x="50" y="33"/>
                    <a:pt x="50" y="33"/>
                  </a:cubicBezTo>
                  <a:cubicBezTo>
                    <a:pt x="45" y="33"/>
                    <a:pt x="41" y="35"/>
                    <a:pt x="38" y="38"/>
                  </a:cubicBezTo>
                  <a:cubicBezTo>
                    <a:pt x="35" y="42"/>
                    <a:pt x="33" y="45"/>
                    <a:pt x="33" y="50"/>
                  </a:cubicBezTo>
                  <a:cubicBezTo>
                    <a:pt x="33" y="83"/>
                    <a:pt x="33" y="83"/>
                    <a:pt x="33" y="83"/>
                  </a:cubicBezTo>
                  <a:cubicBezTo>
                    <a:pt x="132" y="83"/>
                    <a:pt x="132" y="83"/>
                    <a:pt x="132" y="83"/>
                  </a:cubicBezTo>
                  <a:cubicBezTo>
                    <a:pt x="132" y="96"/>
                    <a:pt x="132" y="96"/>
                    <a:pt x="132" y="96"/>
                  </a:cubicBezTo>
                  <a:cubicBezTo>
                    <a:pt x="21" y="96"/>
                    <a:pt x="21" y="96"/>
                    <a:pt x="21" y="96"/>
                  </a:cubicBezTo>
                  <a:lnTo>
                    <a:pt x="21" y="50"/>
                  </a:lnTo>
                  <a:close/>
                  <a:moveTo>
                    <a:pt x="21" y="104"/>
                  </a:moveTo>
                  <a:cubicBezTo>
                    <a:pt x="132" y="104"/>
                    <a:pt x="132" y="104"/>
                    <a:pt x="132" y="104"/>
                  </a:cubicBezTo>
                  <a:cubicBezTo>
                    <a:pt x="132" y="116"/>
                    <a:pt x="132" y="116"/>
                    <a:pt x="132" y="116"/>
                  </a:cubicBezTo>
                  <a:cubicBezTo>
                    <a:pt x="33" y="116"/>
                    <a:pt x="33" y="116"/>
                    <a:pt x="33" y="116"/>
                  </a:cubicBezTo>
                  <a:cubicBezTo>
                    <a:pt x="33" y="182"/>
                    <a:pt x="33" y="182"/>
                    <a:pt x="33" y="182"/>
                  </a:cubicBezTo>
                  <a:cubicBezTo>
                    <a:pt x="33" y="187"/>
                    <a:pt x="35" y="191"/>
                    <a:pt x="38" y="194"/>
                  </a:cubicBezTo>
                  <a:cubicBezTo>
                    <a:pt x="41" y="197"/>
                    <a:pt x="45" y="199"/>
                    <a:pt x="50" y="199"/>
                  </a:cubicBezTo>
                  <a:cubicBezTo>
                    <a:pt x="132" y="199"/>
                    <a:pt x="132" y="199"/>
                    <a:pt x="132" y="199"/>
                  </a:cubicBezTo>
                  <a:cubicBezTo>
                    <a:pt x="132" y="211"/>
                    <a:pt x="132" y="211"/>
                    <a:pt x="132" y="211"/>
                  </a:cubicBezTo>
                  <a:cubicBezTo>
                    <a:pt x="50" y="211"/>
                    <a:pt x="50" y="211"/>
                    <a:pt x="50" y="211"/>
                  </a:cubicBezTo>
                  <a:cubicBezTo>
                    <a:pt x="42" y="211"/>
                    <a:pt x="35" y="209"/>
                    <a:pt x="29" y="203"/>
                  </a:cubicBezTo>
                  <a:cubicBezTo>
                    <a:pt x="24" y="197"/>
                    <a:pt x="21" y="190"/>
                    <a:pt x="21" y="182"/>
                  </a:cubicBezTo>
                  <a:lnTo>
                    <a:pt x="21" y="104"/>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6" name="Freeform 13">
              <a:extLst>
                <a:ext uri="{FF2B5EF4-FFF2-40B4-BE49-F238E27FC236}">
                  <a16:creationId xmlns:a16="http://schemas.microsoft.com/office/drawing/2014/main" id="{18B6B00B-CC72-E1DB-8287-73506B27737E}"/>
                </a:ext>
              </a:extLst>
            </p:cNvPr>
            <p:cNvSpPr>
              <a:spLocks noEditPoints="1"/>
            </p:cNvSpPr>
            <p:nvPr userDrawn="1"/>
          </p:nvSpPr>
          <p:spPr bwMode="auto">
            <a:xfrm>
              <a:off x="4958" y="2552"/>
              <a:ext cx="391" cy="551"/>
            </a:xfrm>
            <a:custGeom>
              <a:avLst/>
              <a:gdLst>
                <a:gd name="T0" fmla="*/ 309548631 w 165"/>
                <a:gd name="T1" fmla="*/ 0 h 232"/>
                <a:gd name="T2" fmla="*/ 363029971 w 165"/>
                <a:gd name="T3" fmla="*/ 24547155 h 232"/>
                <a:gd name="T4" fmla="*/ 386832786 w 165"/>
                <a:gd name="T5" fmla="*/ 79781492 h 232"/>
                <a:gd name="T6" fmla="*/ 386832786 w 165"/>
                <a:gd name="T7" fmla="*/ 564828430 h 232"/>
                <a:gd name="T8" fmla="*/ 358797870 w 165"/>
                <a:gd name="T9" fmla="*/ 564828430 h 232"/>
                <a:gd name="T10" fmla="*/ 358797870 w 165"/>
                <a:gd name="T11" fmla="*/ 79781492 h 232"/>
                <a:gd name="T12" fmla="*/ 344252405 w 165"/>
                <a:gd name="T13" fmla="*/ 46120372 h 232"/>
                <a:gd name="T14" fmla="*/ 309548631 w 165"/>
                <a:gd name="T15" fmla="*/ 31976658 h 232"/>
                <a:gd name="T16" fmla="*/ 77129169 w 165"/>
                <a:gd name="T17" fmla="*/ 31976658 h 232"/>
                <a:gd name="T18" fmla="*/ 42581549 w 165"/>
                <a:gd name="T19" fmla="*/ 46120372 h 232"/>
                <a:gd name="T20" fmla="*/ 27493911 w 165"/>
                <a:gd name="T21" fmla="*/ 79781492 h 232"/>
                <a:gd name="T22" fmla="*/ 27493911 w 165"/>
                <a:gd name="T23" fmla="*/ 564828430 h 232"/>
                <a:gd name="T24" fmla="*/ 0 w 165"/>
                <a:gd name="T25" fmla="*/ 564828430 h 232"/>
                <a:gd name="T26" fmla="*/ 0 w 165"/>
                <a:gd name="T27" fmla="*/ 79781492 h 232"/>
                <a:gd name="T28" fmla="*/ 20815816 w 165"/>
                <a:gd name="T29" fmla="*/ 24547155 h 232"/>
                <a:gd name="T30" fmla="*/ 77129169 w 165"/>
                <a:gd name="T31" fmla="*/ 0 h 232"/>
                <a:gd name="T32" fmla="*/ 309548631 w 165"/>
                <a:gd name="T33" fmla="*/ 0 h 232"/>
                <a:gd name="T34" fmla="*/ 182772758 w 165"/>
                <a:gd name="T35" fmla="*/ 51413739 h 232"/>
                <a:gd name="T36" fmla="*/ 182772758 w 165"/>
                <a:gd name="T37" fmla="*/ 263208180 h 232"/>
                <a:gd name="T38" fmla="*/ 154391061 w 165"/>
                <a:gd name="T39" fmla="*/ 263208180 h 232"/>
                <a:gd name="T40" fmla="*/ 154391061 w 165"/>
                <a:gd name="T41" fmla="*/ 79781492 h 232"/>
                <a:gd name="T42" fmla="*/ 77129169 w 165"/>
                <a:gd name="T43" fmla="*/ 79781492 h 232"/>
                <a:gd name="T44" fmla="*/ 77129169 w 165"/>
                <a:gd name="T45" fmla="*/ 564828430 h 232"/>
                <a:gd name="T46" fmla="*/ 46283478 w 165"/>
                <a:gd name="T47" fmla="*/ 564828430 h 232"/>
                <a:gd name="T48" fmla="*/ 46283478 w 165"/>
                <a:gd name="T49" fmla="*/ 79781492 h 232"/>
                <a:gd name="T50" fmla="*/ 56311393 w 165"/>
                <a:gd name="T51" fmla="*/ 60526659 h 232"/>
                <a:gd name="T52" fmla="*/ 77129169 w 165"/>
                <a:gd name="T53" fmla="*/ 51413739 h 232"/>
                <a:gd name="T54" fmla="*/ 182772758 w 165"/>
                <a:gd name="T55" fmla="*/ 51413739 h 232"/>
                <a:gd name="T56" fmla="*/ 309548631 w 165"/>
                <a:gd name="T57" fmla="*/ 51413739 h 232"/>
                <a:gd name="T58" fmla="*/ 329989272 w 165"/>
                <a:gd name="T59" fmla="*/ 60526659 h 232"/>
                <a:gd name="T60" fmla="*/ 337199511 w 165"/>
                <a:gd name="T61" fmla="*/ 79781492 h 232"/>
                <a:gd name="T62" fmla="*/ 337199511 w 165"/>
                <a:gd name="T63" fmla="*/ 564828430 h 232"/>
                <a:gd name="T64" fmla="*/ 309548631 w 165"/>
                <a:gd name="T65" fmla="*/ 564828430 h 232"/>
                <a:gd name="T66" fmla="*/ 309548631 w 165"/>
                <a:gd name="T67" fmla="*/ 79781492 h 232"/>
                <a:gd name="T68" fmla="*/ 232402284 w 165"/>
                <a:gd name="T69" fmla="*/ 79781492 h 232"/>
                <a:gd name="T70" fmla="*/ 232402284 w 165"/>
                <a:gd name="T71" fmla="*/ 263208180 h 232"/>
                <a:gd name="T72" fmla="*/ 203534936 w 165"/>
                <a:gd name="T73" fmla="*/ 263208180 h 232"/>
                <a:gd name="T74" fmla="*/ 203534936 w 165"/>
                <a:gd name="T75" fmla="*/ 51413739 h 232"/>
                <a:gd name="T76" fmla="*/ 309548631 w 165"/>
                <a:gd name="T77" fmla="*/ 51413739 h 23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65" h="232">
                  <a:moveTo>
                    <a:pt x="132" y="0"/>
                  </a:moveTo>
                  <a:cubicBezTo>
                    <a:pt x="141" y="0"/>
                    <a:pt x="149" y="4"/>
                    <a:pt x="155" y="10"/>
                  </a:cubicBezTo>
                  <a:cubicBezTo>
                    <a:pt x="162" y="16"/>
                    <a:pt x="165" y="24"/>
                    <a:pt x="165" y="33"/>
                  </a:cubicBezTo>
                  <a:cubicBezTo>
                    <a:pt x="165" y="232"/>
                    <a:pt x="165" y="232"/>
                    <a:pt x="165" y="232"/>
                  </a:cubicBezTo>
                  <a:cubicBezTo>
                    <a:pt x="153" y="232"/>
                    <a:pt x="153" y="232"/>
                    <a:pt x="153" y="232"/>
                  </a:cubicBezTo>
                  <a:cubicBezTo>
                    <a:pt x="153" y="33"/>
                    <a:pt x="153" y="33"/>
                    <a:pt x="153" y="33"/>
                  </a:cubicBezTo>
                  <a:cubicBezTo>
                    <a:pt x="153" y="28"/>
                    <a:pt x="151" y="23"/>
                    <a:pt x="147" y="19"/>
                  </a:cubicBezTo>
                  <a:cubicBezTo>
                    <a:pt x="143" y="15"/>
                    <a:pt x="138" y="13"/>
                    <a:pt x="132" y="13"/>
                  </a:cubicBezTo>
                  <a:cubicBezTo>
                    <a:pt x="33" y="13"/>
                    <a:pt x="33" y="13"/>
                    <a:pt x="33" y="13"/>
                  </a:cubicBezTo>
                  <a:cubicBezTo>
                    <a:pt x="27" y="13"/>
                    <a:pt x="22" y="15"/>
                    <a:pt x="18" y="19"/>
                  </a:cubicBezTo>
                  <a:cubicBezTo>
                    <a:pt x="14" y="23"/>
                    <a:pt x="12" y="28"/>
                    <a:pt x="12" y="33"/>
                  </a:cubicBezTo>
                  <a:cubicBezTo>
                    <a:pt x="12" y="232"/>
                    <a:pt x="12" y="232"/>
                    <a:pt x="12" y="232"/>
                  </a:cubicBezTo>
                  <a:cubicBezTo>
                    <a:pt x="0" y="232"/>
                    <a:pt x="0" y="232"/>
                    <a:pt x="0" y="232"/>
                  </a:cubicBezTo>
                  <a:cubicBezTo>
                    <a:pt x="0" y="33"/>
                    <a:pt x="0" y="33"/>
                    <a:pt x="0" y="33"/>
                  </a:cubicBezTo>
                  <a:cubicBezTo>
                    <a:pt x="0" y="24"/>
                    <a:pt x="3" y="16"/>
                    <a:pt x="9" y="10"/>
                  </a:cubicBezTo>
                  <a:cubicBezTo>
                    <a:pt x="16" y="4"/>
                    <a:pt x="24" y="0"/>
                    <a:pt x="33" y="0"/>
                  </a:cubicBezTo>
                  <a:lnTo>
                    <a:pt x="132" y="0"/>
                  </a:lnTo>
                  <a:close/>
                  <a:moveTo>
                    <a:pt x="78" y="21"/>
                  </a:moveTo>
                  <a:cubicBezTo>
                    <a:pt x="78" y="108"/>
                    <a:pt x="78" y="108"/>
                    <a:pt x="78" y="108"/>
                  </a:cubicBezTo>
                  <a:cubicBezTo>
                    <a:pt x="66" y="108"/>
                    <a:pt x="66" y="108"/>
                    <a:pt x="66" y="108"/>
                  </a:cubicBezTo>
                  <a:cubicBezTo>
                    <a:pt x="66" y="33"/>
                    <a:pt x="66" y="33"/>
                    <a:pt x="66" y="33"/>
                  </a:cubicBezTo>
                  <a:cubicBezTo>
                    <a:pt x="33" y="33"/>
                    <a:pt x="33" y="33"/>
                    <a:pt x="33" y="33"/>
                  </a:cubicBezTo>
                  <a:cubicBezTo>
                    <a:pt x="33" y="232"/>
                    <a:pt x="33" y="232"/>
                    <a:pt x="33" y="232"/>
                  </a:cubicBezTo>
                  <a:cubicBezTo>
                    <a:pt x="20" y="232"/>
                    <a:pt x="20" y="232"/>
                    <a:pt x="20" y="232"/>
                  </a:cubicBezTo>
                  <a:cubicBezTo>
                    <a:pt x="20" y="33"/>
                    <a:pt x="20" y="33"/>
                    <a:pt x="20" y="33"/>
                  </a:cubicBezTo>
                  <a:cubicBezTo>
                    <a:pt x="20" y="30"/>
                    <a:pt x="21" y="27"/>
                    <a:pt x="24" y="25"/>
                  </a:cubicBezTo>
                  <a:cubicBezTo>
                    <a:pt x="26" y="22"/>
                    <a:pt x="29" y="21"/>
                    <a:pt x="33" y="21"/>
                  </a:cubicBezTo>
                  <a:lnTo>
                    <a:pt x="78" y="21"/>
                  </a:lnTo>
                  <a:close/>
                  <a:moveTo>
                    <a:pt x="132" y="21"/>
                  </a:moveTo>
                  <a:cubicBezTo>
                    <a:pt x="135" y="21"/>
                    <a:pt x="138" y="22"/>
                    <a:pt x="141" y="25"/>
                  </a:cubicBezTo>
                  <a:cubicBezTo>
                    <a:pt x="143" y="27"/>
                    <a:pt x="144" y="30"/>
                    <a:pt x="144" y="33"/>
                  </a:cubicBezTo>
                  <a:cubicBezTo>
                    <a:pt x="144" y="232"/>
                    <a:pt x="144" y="232"/>
                    <a:pt x="144" y="232"/>
                  </a:cubicBezTo>
                  <a:cubicBezTo>
                    <a:pt x="132" y="232"/>
                    <a:pt x="132" y="232"/>
                    <a:pt x="132" y="232"/>
                  </a:cubicBezTo>
                  <a:cubicBezTo>
                    <a:pt x="132" y="33"/>
                    <a:pt x="132" y="33"/>
                    <a:pt x="132" y="33"/>
                  </a:cubicBezTo>
                  <a:cubicBezTo>
                    <a:pt x="99" y="33"/>
                    <a:pt x="99" y="33"/>
                    <a:pt x="99" y="33"/>
                  </a:cubicBezTo>
                  <a:cubicBezTo>
                    <a:pt x="99" y="108"/>
                    <a:pt x="99" y="108"/>
                    <a:pt x="99" y="108"/>
                  </a:cubicBezTo>
                  <a:cubicBezTo>
                    <a:pt x="87" y="108"/>
                    <a:pt x="87" y="108"/>
                    <a:pt x="87" y="108"/>
                  </a:cubicBezTo>
                  <a:cubicBezTo>
                    <a:pt x="87" y="21"/>
                    <a:pt x="87" y="21"/>
                    <a:pt x="87" y="21"/>
                  </a:cubicBezTo>
                  <a:lnTo>
                    <a:pt x="132" y="21"/>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 name="Freeform 14">
              <a:extLst>
                <a:ext uri="{FF2B5EF4-FFF2-40B4-BE49-F238E27FC236}">
                  <a16:creationId xmlns:a16="http://schemas.microsoft.com/office/drawing/2014/main" id="{6DDBA0D9-08B5-3480-C873-3FA3704AC93D}"/>
                </a:ext>
              </a:extLst>
            </p:cNvPr>
            <p:cNvSpPr>
              <a:spLocks noEditPoints="1"/>
            </p:cNvSpPr>
            <p:nvPr userDrawn="1"/>
          </p:nvSpPr>
          <p:spPr bwMode="auto">
            <a:xfrm>
              <a:off x="5412" y="2552"/>
              <a:ext cx="313" cy="551"/>
            </a:xfrm>
            <a:custGeom>
              <a:avLst/>
              <a:gdLst>
                <a:gd name="T0" fmla="*/ 234667157 w 132"/>
                <a:gd name="T1" fmla="*/ 0 h 232"/>
                <a:gd name="T2" fmla="*/ 291517195 w 132"/>
                <a:gd name="T3" fmla="*/ 24547155 h 232"/>
                <a:gd name="T4" fmla="*/ 312488786 w 132"/>
                <a:gd name="T5" fmla="*/ 79781492 h 232"/>
                <a:gd name="T6" fmla="*/ 312488786 w 132"/>
                <a:gd name="T7" fmla="*/ 202009418 h 232"/>
                <a:gd name="T8" fmla="*/ 291517195 w 132"/>
                <a:gd name="T9" fmla="*/ 258572736 h 232"/>
                <a:gd name="T10" fmla="*/ 234667157 w 132"/>
                <a:gd name="T11" fmla="*/ 283050061 h 232"/>
                <a:gd name="T12" fmla="*/ 77977488 w 132"/>
                <a:gd name="T13" fmla="*/ 283050061 h 232"/>
                <a:gd name="T14" fmla="*/ 77977488 w 132"/>
                <a:gd name="T15" fmla="*/ 564828430 h 232"/>
                <a:gd name="T16" fmla="*/ 46760663 w 132"/>
                <a:gd name="T17" fmla="*/ 564828430 h 232"/>
                <a:gd name="T18" fmla="*/ 46760663 w 132"/>
                <a:gd name="T19" fmla="*/ 253283286 h 232"/>
                <a:gd name="T20" fmla="*/ 234667157 w 132"/>
                <a:gd name="T21" fmla="*/ 253283286 h 232"/>
                <a:gd name="T22" fmla="*/ 269717845 w 132"/>
                <a:gd name="T23" fmla="*/ 238499835 h 232"/>
                <a:gd name="T24" fmla="*/ 284788810 w 132"/>
                <a:gd name="T25" fmla="*/ 202009418 h 232"/>
                <a:gd name="T26" fmla="*/ 284788810 w 132"/>
                <a:gd name="T27" fmla="*/ 79781492 h 232"/>
                <a:gd name="T28" fmla="*/ 269717845 w 132"/>
                <a:gd name="T29" fmla="*/ 46120372 h 232"/>
                <a:gd name="T30" fmla="*/ 234667157 w 132"/>
                <a:gd name="T31" fmla="*/ 31976658 h 232"/>
                <a:gd name="T32" fmla="*/ 115836743 w 132"/>
                <a:gd name="T33" fmla="*/ 31976658 h 232"/>
                <a:gd name="T34" fmla="*/ 54699961 w 132"/>
                <a:gd name="T35" fmla="*/ 58299493 h 232"/>
                <a:gd name="T36" fmla="*/ 27860863 w 132"/>
                <a:gd name="T37" fmla="*/ 122107630 h 232"/>
                <a:gd name="T38" fmla="*/ 27860863 w 132"/>
                <a:gd name="T39" fmla="*/ 564828430 h 232"/>
                <a:gd name="T40" fmla="*/ 0 w 132"/>
                <a:gd name="T41" fmla="*/ 564828430 h 232"/>
                <a:gd name="T42" fmla="*/ 0 w 132"/>
                <a:gd name="T43" fmla="*/ 122107630 h 232"/>
                <a:gd name="T44" fmla="*/ 32885075 w 132"/>
                <a:gd name="T45" fmla="*/ 37103839 h 232"/>
                <a:gd name="T46" fmla="*/ 115836743 w 132"/>
                <a:gd name="T47" fmla="*/ 0 h 232"/>
                <a:gd name="T48" fmla="*/ 234667157 w 132"/>
                <a:gd name="T49" fmla="*/ 0 h 232"/>
                <a:gd name="T50" fmla="*/ 262918698 w 132"/>
                <a:gd name="T51" fmla="*/ 202009418 h 232"/>
                <a:gd name="T52" fmla="*/ 255645496 w 132"/>
                <a:gd name="T53" fmla="*/ 224358826 h 232"/>
                <a:gd name="T54" fmla="*/ 234667157 w 132"/>
                <a:gd name="T55" fmla="*/ 233836064 h 232"/>
                <a:gd name="T56" fmla="*/ 46760663 w 132"/>
                <a:gd name="T57" fmla="*/ 233836064 h 232"/>
                <a:gd name="T58" fmla="*/ 46760663 w 132"/>
                <a:gd name="T59" fmla="*/ 122107630 h 232"/>
                <a:gd name="T60" fmla="*/ 69064519 w 132"/>
                <a:gd name="T61" fmla="*/ 70832843 h 232"/>
                <a:gd name="T62" fmla="*/ 115836743 w 132"/>
                <a:gd name="T63" fmla="*/ 51413739 h 232"/>
                <a:gd name="T64" fmla="*/ 234667157 w 132"/>
                <a:gd name="T65" fmla="*/ 51413739 h 232"/>
                <a:gd name="T66" fmla="*/ 255645496 w 132"/>
                <a:gd name="T67" fmla="*/ 60526659 h 232"/>
                <a:gd name="T68" fmla="*/ 262918698 w 132"/>
                <a:gd name="T69" fmla="*/ 79781492 h 232"/>
                <a:gd name="T70" fmla="*/ 262918698 w 132"/>
                <a:gd name="T71" fmla="*/ 202009418 h 232"/>
                <a:gd name="T72" fmla="*/ 77977488 w 132"/>
                <a:gd name="T73" fmla="*/ 202009418 h 232"/>
                <a:gd name="T74" fmla="*/ 234667157 w 132"/>
                <a:gd name="T75" fmla="*/ 202009418 h 232"/>
                <a:gd name="T76" fmla="*/ 234667157 w 132"/>
                <a:gd name="T77" fmla="*/ 79781492 h 232"/>
                <a:gd name="T78" fmla="*/ 115836743 w 132"/>
                <a:gd name="T79" fmla="*/ 79781492 h 232"/>
                <a:gd name="T80" fmla="*/ 89678239 w 132"/>
                <a:gd name="T81" fmla="*/ 92335711 h 232"/>
                <a:gd name="T82" fmla="*/ 77977488 w 132"/>
                <a:gd name="T83" fmla="*/ 122107630 h 232"/>
                <a:gd name="T84" fmla="*/ 77977488 w 132"/>
                <a:gd name="T85" fmla="*/ 202009418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99" y="0"/>
                  </a:moveTo>
                  <a:cubicBezTo>
                    <a:pt x="108" y="0"/>
                    <a:pt x="116" y="4"/>
                    <a:pt x="123" y="10"/>
                  </a:cubicBezTo>
                  <a:cubicBezTo>
                    <a:pt x="129" y="16"/>
                    <a:pt x="132" y="24"/>
                    <a:pt x="132" y="33"/>
                  </a:cubicBezTo>
                  <a:cubicBezTo>
                    <a:pt x="132" y="83"/>
                    <a:pt x="132" y="83"/>
                    <a:pt x="132" y="83"/>
                  </a:cubicBezTo>
                  <a:cubicBezTo>
                    <a:pt x="132" y="92"/>
                    <a:pt x="129" y="100"/>
                    <a:pt x="123" y="106"/>
                  </a:cubicBezTo>
                  <a:cubicBezTo>
                    <a:pt x="116" y="113"/>
                    <a:pt x="108" y="116"/>
                    <a:pt x="99" y="116"/>
                  </a:cubicBezTo>
                  <a:cubicBezTo>
                    <a:pt x="33" y="116"/>
                    <a:pt x="33" y="116"/>
                    <a:pt x="33" y="116"/>
                  </a:cubicBezTo>
                  <a:cubicBezTo>
                    <a:pt x="33" y="232"/>
                    <a:pt x="33" y="232"/>
                    <a:pt x="33" y="232"/>
                  </a:cubicBezTo>
                  <a:cubicBezTo>
                    <a:pt x="20" y="232"/>
                    <a:pt x="20" y="232"/>
                    <a:pt x="20" y="232"/>
                  </a:cubicBezTo>
                  <a:cubicBezTo>
                    <a:pt x="20" y="104"/>
                    <a:pt x="20" y="104"/>
                    <a:pt x="20" y="104"/>
                  </a:cubicBezTo>
                  <a:cubicBezTo>
                    <a:pt x="99" y="104"/>
                    <a:pt x="99" y="104"/>
                    <a:pt x="99" y="104"/>
                  </a:cubicBezTo>
                  <a:cubicBezTo>
                    <a:pt x="105" y="104"/>
                    <a:pt x="110" y="102"/>
                    <a:pt x="114" y="98"/>
                  </a:cubicBezTo>
                  <a:cubicBezTo>
                    <a:pt x="118" y="94"/>
                    <a:pt x="120" y="89"/>
                    <a:pt x="120" y="83"/>
                  </a:cubicBezTo>
                  <a:cubicBezTo>
                    <a:pt x="120" y="33"/>
                    <a:pt x="120" y="33"/>
                    <a:pt x="120" y="33"/>
                  </a:cubicBezTo>
                  <a:cubicBezTo>
                    <a:pt x="120" y="28"/>
                    <a:pt x="118" y="23"/>
                    <a:pt x="114" y="19"/>
                  </a:cubicBezTo>
                  <a:cubicBezTo>
                    <a:pt x="110" y="15"/>
                    <a:pt x="105" y="13"/>
                    <a:pt x="99" y="13"/>
                  </a:cubicBezTo>
                  <a:cubicBezTo>
                    <a:pt x="49" y="13"/>
                    <a:pt x="49" y="13"/>
                    <a:pt x="49" y="13"/>
                  </a:cubicBezTo>
                  <a:cubicBezTo>
                    <a:pt x="39" y="13"/>
                    <a:pt x="30" y="16"/>
                    <a:pt x="23" y="24"/>
                  </a:cubicBezTo>
                  <a:cubicBezTo>
                    <a:pt x="16" y="31"/>
                    <a:pt x="12" y="40"/>
                    <a:pt x="12" y="50"/>
                  </a:cubicBezTo>
                  <a:cubicBezTo>
                    <a:pt x="12" y="232"/>
                    <a:pt x="12" y="232"/>
                    <a:pt x="12" y="232"/>
                  </a:cubicBezTo>
                  <a:cubicBezTo>
                    <a:pt x="0" y="232"/>
                    <a:pt x="0" y="232"/>
                    <a:pt x="0" y="232"/>
                  </a:cubicBezTo>
                  <a:cubicBezTo>
                    <a:pt x="0" y="50"/>
                    <a:pt x="0" y="50"/>
                    <a:pt x="0" y="50"/>
                  </a:cubicBezTo>
                  <a:cubicBezTo>
                    <a:pt x="0" y="36"/>
                    <a:pt x="5" y="25"/>
                    <a:pt x="14" y="15"/>
                  </a:cubicBezTo>
                  <a:cubicBezTo>
                    <a:pt x="24" y="5"/>
                    <a:pt x="36" y="0"/>
                    <a:pt x="49" y="0"/>
                  </a:cubicBezTo>
                  <a:lnTo>
                    <a:pt x="99" y="0"/>
                  </a:lnTo>
                  <a:close/>
                  <a:moveTo>
                    <a:pt x="111" y="83"/>
                  </a:moveTo>
                  <a:cubicBezTo>
                    <a:pt x="111" y="87"/>
                    <a:pt x="110" y="89"/>
                    <a:pt x="108" y="92"/>
                  </a:cubicBezTo>
                  <a:cubicBezTo>
                    <a:pt x="105" y="94"/>
                    <a:pt x="102" y="96"/>
                    <a:pt x="99" y="96"/>
                  </a:cubicBezTo>
                  <a:cubicBezTo>
                    <a:pt x="20" y="96"/>
                    <a:pt x="20" y="96"/>
                    <a:pt x="20" y="96"/>
                  </a:cubicBezTo>
                  <a:cubicBezTo>
                    <a:pt x="20" y="50"/>
                    <a:pt x="20" y="50"/>
                    <a:pt x="20" y="50"/>
                  </a:cubicBezTo>
                  <a:cubicBezTo>
                    <a:pt x="20" y="42"/>
                    <a:pt x="23" y="35"/>
                    <a:pt x="29" y="29"/>
                  </a:cubicBezTo>
                  <a:cubicBezTo>
                    <a:pt x="35" y="24"/>
                    <a:pt x="41" y="21"/>
                    <a:pt x="49" y="21"/>
                  </a:cubicBezTo>
                  <a:cubicBezTo>
                    <a:pt x="99" y="21"/>
                    <a:pt x="99" y="21"/>
                    <a:pt x="99" y="21"/>
                  </a:cubicBezTo>
                  <a:cubicBezTo>
                    <a:pt x="102" y="21"/>
                    <a:pt x="105" y="22"/>
                    <a:pt x="108" y="25"/>
                  </a:cubicBezTo>
                  <a:cubicBezTo>
                    <a:pt x="110" y="27"/>
                    <a:pt x="111" y="30"/>
                    <a:pt x="111" y="33"/>
                  </a:cubicBezTo>
                  <a:lnTo>
                    <a:pt x="111" y="83"/>
                  </a:lnTo>
                  <a:close/>
                  <a:moveTo>
                    <a:pt x="33" y="83"/>
                  </a:moveTo>
                  <a:cubicBezTo>
                    <a:pt x="99" y="83"/>
                    <a:pt x="99" y="83"/>
                    <a:pt x="99" y="83"/>
                  </a:cubicBezTo>
                  <a:cubicBezTo>
                    <a:pt x="99" y="33"/>
                    <a:pt x="99" y="33"/>
                    <a:pt x="99" y="33"/>
                  </a:cubicBezTo>
                  <a:cubicBezTo>
                    <a:pt x="49" y="33"/>
                    <a:pt x="49" y="33"/>
                    <a:pt x="49" y="33"/>
                  </a:cubicBezTo>
                  <a:cubicBezTo>
                    <a:pt x="45" y="33"/>
                    <a:pt x="41" y="35"/>
                    <a:pt x="38" y="38"/>
                  </a:cubicBezTo>
                  <a:cubicBezTo>
                    <a:pt x="34" y="42"/>
                    <a:pt x="33" y="45"/>
                    <a:pt x="33" y="50"/>
                  </a:cubicBezTo>
                  <a:lnTo>
                    <a:pt x="33" y="83"/>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8" name="Freeform 15">
              <a:extLst>
                <a:ext uri="{FF2B5EF4-FFF2-40B4-BE49-F238E27FC236}">
                  <a16:creationId xmlns:a16="http://schemas.microsoft.com/office/drawing/2014/main" id="{3C2F7D79-2EAE-34AA-4220-07892795889B}"/>
                </a:ext>
              </a:extLst>
            </p:cNvPr>
            <p:cNvSpPr>
              <a:spLocks noEditPoints="1"/>
            </p:cNvSpPr>
            <p:nvPr userDrawn="1"/>
          </p:nvSpPr>
          <p:spPr bwMode="auto">
            <a:xfrm>
              <a:off x="5774" y="2552"/>
              <a:ext cx="312" cy="551"/>
            </a:xfrm>
            <a:custGeom>
              <a:avLst/>
              <a:gdLst>
                <a:gd name="T0" fmla="*/ 26510905 w 132"/>
                <a:gd name="T1" fmla="*/ 442759715 h 232"/>
                <a:gd name="T2" fmla="*/ 51443210 w 132"/>
                <a:gd name="T3" fmla="*/ 508305993 h 232"/>
                <a:gd name="T4" fmla="*/ 110103249 w 132"/>
                <a:gd name="T5" fmla="*/ 535913430 h 232"/>
                <a:gd name="T6" fmla="*/ 295891719 w 132"/>
                <a:gd name="T7" fmla="*/ 535913430 h 232"/>
                <a:gd name="T8" fmla="*/ 295891719 w 132"/>
                <a:gd name="T9" fmla="*/ 564828430 h 232"/>
                <a:gd name="T10" fmla="*/ 110103249 w 132"/>
                <a:gd name="T11" fmla="*/ 564828430 h 232"/>
                <a:gd name="T12" fmla="*/ 31262608 w 132"/>
                <a:gd name="T13" fmla="*/ 527724589 h 232"/>
                <a:gd name="T14" fmla="*/ 0 w 132"/>
                <a:gd name="T15" fmla="*/ 442759715 h 232"/>
                <a:gd name="T16" fmla="*/ 0 w 132"/>
                <a:gd name="T17" fmla="*/ 0 h 232"/>
                <a:gd name="T18" fmla="*/ 26510905 w 132"/>
                <a:gd name="T19" fmla="*/ 0 h 232"/>
                <a:gd name="T20" fmla="*/ 26510905 w 132"/>
                <a:gd name="T21" fmla="*/ 442759715 h 232"/>
                <a:gd name="T22" fmla="*/ 295891719 w 132"/>
                <a:gd name="T23" fmla="*/ 484506888 h 232"/>
                <a:gd name="T24" fmla="*/ 295891719 w 132"/>
                <a:gd name="T25" fmla="*/ 513431020 h 232"/>
                <a:gd name="T26" fmla="*/ 110103249 w 132"/>
                <a:gd name="T27" fmla="*/ 513431020 h 232"/>
                <a:gd name="T28" fmla="*/ 65404189 w 132"/>
                <a:gd name="T29" fmla="*/ 494012295 h 232"/>
                <a:gd name="T30" fmla="*/ 44482705 w 132"/>
                <a:gd name="T31" fmla="*/ 442759715 h 232"/>
                <a:gd name="T32" fmla="*/ 44482705 w 132"/>
                <a:gd name="T33" fmla="*/ 0 h 232"/>
                <a:gd name="T34" fmla="*/ 73893437 w 132"/>
                <a:gd name="T35" fmla="*/ 0 h 232"/>
                <a:gd name="T36" fmla="*/ 73893437 w 132"/>
                <a:gd name="T37" fmla="*/ 442759715 h 232"/>
                <a:gd name="T38" fmla="*/ 85443339 w 132"/>
                <a:gd name="T39" fmla="*/ 472485538 h 232"/>
                <a:gd name="T40" fmla="*/ 110103249 w 132"/>
                <a:gd name="T41" fmla="*/ 484506888 h 232"/>
                <a:gd name="T42" fmla="*/ 295891719 w 132"/>
                <a:gd name="T43" fmla="*/ 484506888 h 2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2" h="232">
                  <a:moveTo>
                    <a:pt x="12" y="182"/>
                  </a:moveTo>
                  <a:cubicBezTo>
                    <a:pt x="12" y="193"/>
                    <a:pt x="16" y="201"/>
                    <a:pt x="23" y="209"/>
                  </a:cubicBezTo>
                  <a:cubicBezTo>
                    <a:pt x="30" y="216"/>
                    <a:pt x="39" y="220"/>
                    <a:pt x="49" y="220"/>
                  </a:cubicBezTo>
                  <a:cubicBezTo>
                    <a:pt x="132" y="220"/>
                    <a:pt x="132" y="220"/>
                    <a:pt x="132" y="220"/>
                  </a:cubicBezTo>
                  <a:cubicBezTo>
                    <a:pt x="132" y="232"/>
                    <a:pt x="132" y="232"/>
                    <a:pt x="132" y="232"/>
                  </a:cubicBezTo>
                  <a:cubicBezTo>
                    <a:pt x="49" y="232"/>
                    <a:pt x="49" y="232"/>
                    <a:pt x="49" y="232"/>
                  </a:cubicBezTo>
                  <a:cubicBezTo>
                    <a:pt x="36" y="232"/>
                    <a:pt x="24" y="227"/>
                    <a:pt x="14" y="217"/>
                  </a:cubicBezTo>
                  <a:cubicBezTo>
                    <a:pt x="4" y="208"/>
                    <a:pt x="0" y="196"/>
                    <a:pt x="0" y="182"/>
                  </a:cubicBezTo>
                  <a:cubicBezTo>
                    <a:pt x="0" y="0"/>
                    <a:pt x="0" y="0"/>
                    <a:pt x="0" y="0"/>
                  </a:cubicBezTo>
                  <a:cubicBezTo>
                    <a:pt x="12" y="0"/>
                    <a:pt x="12" y="0"/>
                    <a:pt x="12" y="0"/>
                  </a:cubicBezTo>
                  <a:lnTo>
                    <a:pt x="12" y="182"/>
                  </a:lnTo>
                  <a:close/>
                  <a:moveTo>
                    <a:pt x="132" y="199"/>
                  </a:moveTo>
                  <a:cubicBezTo>
                    <a:pt x="132" y="211"/>
                    <a:pt x="132" y="211"/>
                    <a:pt x="132" y="211"/>
                  </a:cubicBezTo>
                  <a:cubicBezTo>
                    <a:pt x="49" y="211"/>
                    <a:pt x="49" y="211"/>
                    <a:pt x="49" y="211"/>
                  </a:cubicBezTo>
                  <a:cubicBezTo>
                    <a:pt x="41" y="211"/>
                    <a:pt x="34" y="209"/>
                    <a:pt x="29" y="203"/>
                  </a:cubicBezTo>
                  <a:cubicBezTo>
                    <a:pt x="23" y="197"/>
                    <a:pt x="20" y="190"/>
                    <a:pt x="20" y="182"/>
                  </a:cubicBezTo>
                  <a:cubicBezTo>
                    <a:pt x="20" y="0"/>
                    <a:pt x="20" y="0"/>
                    <a:pt x="20" y="0"/>
                  </a:cubicBezTo>
                  <a:cubicBezTo>
                    <a:pt x="33" y="0"/>
                    <a:pt x="33" y="0"/>
                    <a:pt x="33" y="0"/>
                  </a:cubicBezTo>
                  <a:cubicBezTo>
                    <a:pt x="33" y="182"/>
                    <a:pt x="33" y="182"/>
                    <a:pt x="33" y="182"/>
                  </a:cubicBezTo>
                  <a:cubicBezTo>
                    <a:pt x="33" y="187"/>
                    <a:pt x="34" y="191"/>
                    <a:pt x="38" y="194"/>
                  </a:cubicBezTo>
                  <a:cubicBezTo>
                    <a:pt x="41" y="197"/>
                    <a:pt x="45" y="199"/>
                    <a:pt x="49" y="199"/>
                  </a:cubicBezTo>
                  <a:lnTo>
                    <a:pt x="132" y="199"/>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9" name="Freeform 16">
              <a:extLst>
                <a:ext uri="{FF2B5EF4-FFF2-40B4-BE49-F238E27FC236}">
                  <a16:creationId xmlns:a16="http://schemas.microsoft.com/office/drawing/2014/main" id="{2688C70B-DEE1-BB22-49E4-3B9C3A79BB30}"/>
                </a:ext>
              </a:extLst>
            </p:cNvPr>
            <p:cNvSpPr>
              <a:spLocks noEditPoints="1"/>
            </p:cNvSpPr>
            <p:nvPr userDrawn="1"/>
          </p:nvSpPr>
          <p:spPr bwMode="auto">
            <a:xfrm>
              <a:off x="6120" y="2552"/>
              <a:ext cx="331" cy="551"/>
            </a:xfrm>
            <a:custGeom>
              <a:avLst/>
              <a:gdLst>
                <a:gd name="T0" fmla="*/ 315628455 w 140"/>
                <a:gd name="T1" fmla="*/ 0 h 232"/>
                <a:gd name="T2" fmla="*/ 315628455 w 140"/>
                <a:gd name="T3" fmla="*/ 564828430 h 232"/>
                <a:gd name="T4" fmla="*/ 288722604 w 140"/>
                <a:gd name="T5" fmla="*/ 564828430 h 232"/>
                <a:gd name="T6" fmla="*/ 288722604 w 140"/>
                <a:gd name="T7" fmla="*/ 31976658 h 232"/>
                <a:gd name="T8" fmla="*/ 110489077 w 140"/>
                <a:gd name="T9" fmla="*/ 31976658 h 232"/>
                <a:gd name="T10" fmla="*/ 51651254 w 140"/>
                <a:gd name="T11" fmla="*/ 58299493 h 232"/>
                <a:gd name="T12" fmla="*/ 26606139 w 140"/>
                <a:gd name="T13" fmla="*/ 122107630 h 232"/>
                <a:gd name="T14" fmla="*/ 26606139 w 140"/>
                <a:gd name="T15" fmla="*/ 564828430 h 232"/>
                <a:gd name="T16" fmla="*/ 0 w 140"/>
                <a:gd name="T17" fmla="*/ 564828430 h 232"/>
                <a:gd name="T18" fmla="*/ 0 w 140"/>
                <a:gd name="T19" fmla="*/ 122107630 h 232"/>
                <a:gd name="T20" fmla="*/ 31354195 w 140"/>
                <a:gd name="T21" fmla="*/ 37103839 h 232"/>
                <a:gd name="T22" fmla="*/ 110489077 w 140"/>
                <a:gd name="T23" fmla="*/ 0 h 232"/>
                <a:gd name="T24" fmla="*/ 315628455 w 140"/>
                <a:gd name="T25" fmla="*/ 0 h 232"/>
                <a:gd name="T26" fmla="*/ 44631525 w 140"/>
                <a:gd name="T27" fmla="*/ 122107630 h 232"/>
                <a:gd name="T28" fmla="*/ 65649001 w 140"/>
                <a:gd name="T29" fmla="*/ 70832843 h 232"/>
                <a:gd name="T30" fmla="*/ 110489077 w 140"/>
                <a:gd name="T31" fmla="*/ 51413739 h 232"/>
                <a:gd name="T32" fmla="*/ 270477527 w 140"/>
                <a:gd name="T33" fmla="*/ 51413739 h 232"/>
                <a:gd name="T34" fmla="*/ 270477527 w 140"/>
                <a:gd name="T35" fmla="*/ 233836064 h 232"/>
                <a:gd name="T36" fmla="*/ 44631525 w 140"/>
                <a:gd name="T37" fmla="*/ 233836064 h 232"/>
                <a:gd name="T38" fmla="*/ 44631525 w 140"/>
                <a:gd name="T39" fmla="*/ 122107630 h 232"/>
                <a:gd name="T40" fmla="*/ 270477527 w 140"/>
                <a:gd name="T41" fmla="*/ 253283286 h 232"/>
                <a:gd name="T42" fmla="*/ 270477527 w 140"/>
                <a:gd name="T43" fmla="*/ 564828430 h 232"/>
                <a:gd name="T44" fmla="*/ 241121972 w 140"/>
                <a:gd name="T45" fmla="*/ 564828430 h 232"/>
                <a:gd name="T46" fmla="*/ 241121972 w 140"/>
                <a:gd name="T47" fmla="*/ 283050061 h 232"/>
                <a:gd name="T48" fmla="*/ 74130275 w 140"/>
                <a:gd name="T49" fmla="*/ 283050061 h 232"/>
                <a:gd name="T50" fmla="*/ 74130275 w 140"/>
                <a:gd name="T51" fmla="*/ 564828430 h 232"/>
                <a:gd name="T52" fmla="*/ 44631525 w 140"/>
                <a:gd name="T53" fmla="*/ 564828430 h 232"/>
                <a:gd name="T54" fmla="*/ 44631525 w 140"/>
                <a:gd name="T55" fmla="*/ 253283286 h 232"/>
                <a:gd name="T56" fmla="*/ 270477527 w 140"/>
                <a:gd name="T57" fmla="*/ 253283286 h 232"/>
                <a:gd name="T58" fmla="*/ 241121972 w 140"/>
                <a:gd name="T59" fmla="*/ 79781492 h 232"/>
                <a:gd name="T60" fmla="*/ 110489077 w 140"/>
                <a:gd name="T61" fmla="*/ 79781492 h 232"/>
                <a:gd name="T62" fmla="*/ 85974132 w 140"/>
                <a:gd name="T63" fmla="*/ 92335711 h 232"/>
                <a:gd name="T64" fmla="*/ 74130275 w 140"/>
                <a:gd name="T65" fmla="*/ 122107630 h 232"/>
                <a:gd name="T66" fmla="*/ 74130275 w 140"/>
                <a:gd name="T67" fmla="*/ 202009418 h 232"/>
                <a:gd name="T68" fmla="*/ 241121972 w 140"/>
                <a:gd name="T69" fmla="*/ 202009418 h 232"/>
                <a:gd name="T70" fmla="*/ 241121972 w 140"/>
                <a:gd name="T71" fmla="*/ 79781492 h 23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40" h="232">
                  <a:moveTo>
                    <a:pt x="140" y="0"/>
                  </a:moveTo>
                  <a:cubicBezTo>
                    <a:pt x="140" y="232"/>
                    <a:pt x="140" y="232"/>
                    <a:pt x="140" y="232"/>
                  </a:cubicBezTo>
                  <a:cubicBezTo>
                    <a:pt x="128" y="232"/>
                    <a:pt x="128" y="232"/>
                    <a:pt x="128" y="232"/>
                  </a:cubicBezTo>
                  <a:cubicBezTo>
                    <a:pt x="128" y="13"/>
                    <a:pt x="128" y="13"/>
                    <a:pt x="128" y="13"/>
                  </a:cubicBezTo>
                  <a:cubicBezTo>
                    <a:pt x="49" y="13"/>
                    <a:pt x="49" y="13"/>
                    <a:pt x="49" y="13"/>
                  </a:cubicBezTo>
                  <a:cubicBezTo>
                    <a:pt x="39" y="13"/>
                    <a:pt x="30" y="16"/>
                    <a:pt x="23" y="24"/>
                  </a:cubicBezTo>
                  <a:cubicBezTo>
                    <a:pt x="16" y="31"/>
                    <a:pt x="12" y="40"/>
                    <a:pt x="12" y="50"/>
                  </a:cubicBezTo>
                  <a:cubicBezTo>
                    <a:pt x="12" y="232"/>
                    <a:pt x="12" y="232"/>
                    <a:pt x="12" y="232"/>
                  </a:cubicBezTo>
                  <a:cubicBezTo>
                    <a:pt x="0" y="232"/>
                    <a:pt x="0" y="232"/>
                    <a:pt x="0" y="232"/>
                  </a:cubicBezTo>
                  <a:cubicBezTo>
                    <a:pt x="0" y="50"/>
                    <a:pt x="0" y="50"/>
                    <a:pt x="0" y="50"/>
                  </a:cubicBezTo>
                  <a:cubicBezTo>
                    <a:pt x="0" y="36"/>
                    <a:pt x="5" y="25"/>
                    <a:pt x="14" y="15"/>
                  </a:cubicBezTo>
                  <a:cubicBezTo>
                    <a:pt x="24" y="5"/>
                    <a:pt x="36" y="0"/>
                    <a:pt x="49" y="0"/>
                  </a:cubicBezTo>
                  <a:lnTo>
                    <a:pt x="140" y="0"/>
                  </a:lnTo>
                  <a:close/>
                  <a:moveTo>
                    <a:pt x="20" y="50"/>
                  </a:moveTo>
                  <a:cubicBezTo>
                    <a:pt x="20" y="42"/>
                    <a:pt x="23" y="35"/>
                    <a:pt x="29" y="29"/>
                  </a:cubicBezTo>
                  <a:cubicBezTo>
                    <a:pt x="35" y="24"/>
                    <a:pt x="41" y="21"/>
                    <a:pt x="49" y="21"/>
                  </a:cubicBezTo>
                  <a:cubicBezTo>
                    <a:pt x="120" y="21"/>
                    <a:pt x="120" y="21"/>
                    <a:pt x="120" y="21"/>
                  </a:cubicBezTo>
                  <a:cubicBezTo>
                    <a:pt x="120" y="96"/>
                    <a:pt x="120" y="96"/>
                    <a:pt x="120" y="96"/>
                  </a:cubicBezTo>
                  <a:cubicBezTo>
                    <a:pt x="20" y="96"/>
                    <a:pt x="20" y="96"/>
                    <a:pt x="20" y="96"/>
                  </a:cubicBezTo>
                  <a:lnTo>
                    <a:pt x="20" y="50"/>
                  </a:lnTo>
                  <a:close/>
                  <a:moveTo>
                    <a:pt x="120" y="104"/>
                  </a:moveTo>
                  <a:cubicBezTo>
                    <a:pt x="120" y="232"/>
                    <a:pt x="120" y="232"/>
                    <a:pt x="120" y="232"/>
                  </a:cubicBezTo>
                  <a:cubicBezTo>
                    <a:pt x="107" y="232"/>
                    <a:pt x="107" y="232"/>
                    <a:pt x="107" y="232"/>
                  </a:cubicBezTo>
                  <a:cubicBezTo>
                    <a:pt x="107" y="116"/>
                    <a:pt x="107" y="116"/>
                    <a:pt x="107" y="116"/>
                  </a:cubicBezTo>
                  <a:cubicBezTo>
                    <a:pt x="33" y="116"/>
                    <a:pt x="33" y="116"/>
                    <a:pt x="33" y="116"/>
                  </a:cubicBezTo>
                  <a:cubicBezTo>
                    <a:pt x="33" y="232"/>
                    <a:pt x="33" y="232"/>
                    <a:pt x="33" y="232"/>
                  </a:cubicBezTo>
                  <a:cubicBezTo>
                    <a:pt x="20" y="232"/>
                    <a:pt x="20" y="232"/>
                    <a:pt x="20" y="232"/>
                  </a:cubicBezTo>
                  <a:cubicBezTo>
                    <a:pt x="20" y="104"/>
                    <a:pt x="20" y="104"/>
                    <a:pt x="20" y="104"/>
                  </a:cubicBezTo>
                  <a:lnTo>
                    <a:pt x="120" y="104"/>
                  </a:lnTo>
                  <a:close/>
                  <a:moveTo>
                    <a:pt x="107" y="33"/>
                  </a:moveTo>
                  <a:cubicBezTo>
                    <a:pt x="49" y="33"/>
                    <a:pt x="49" y="33"/>
                    <a:pt x="49" y="33"/>
                  </a:cubicBezTo>
                  <a:cubicBezTo>
                    <a:pt x="45" y="33"/>
                    <a:pt x="41" y="35"/>
                    <a:pt x="38" y="38"/>
                  </a:cubicBezTo>
                  <a:cubicBezTo>
                    <a:pt x="34" y="42"/>
                    <a:pt x="33" y="45"/>
                    <a:pt x="33" y="50"/>
                  </a:cubicBezTo>
                  <a:cubicBezTo>
                    <a:pt x="33" y="83"/>
                    <a:pt x="33" y="83"/>
                    <a:pt x="33" y="83"/>
                  </a:cubicBezTo>
                  <a:cubicBezTo>
                    <a:pt x="107" y="83"/>
                    <a:pt x="107" y="83"/>
                    <a:pt x="107" y="83"/>
                  </a:cubicBezTo>
                  <a:lnTo>
                    <a:pt x="107" y="33"/>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17">
              <a:extLst>
                <a:ext uri="{FF2B5EF4-FFF2-40B4-BE49-F238E27FC236}">
                  <a16:creationId xmlns:a16="http://schemas.microsoft.com/office/drawing/2014/main" id="{F2F77090-31BF-098F-A51D-86EA5B26A1E5}"/>
                </a:ext>
              </a:extLst>
            </p:cNvPr>
            <p:cNvSpPr>
              <a:spLocks noEditPoints="1"/>
            </p:cNvSpPr>
            <p:nvPr userDrawn="1"/>
          </p:nvSpPr>
          <p:spPr bwMode="auto">
            <a:xfrm>
              <a:off x="6517" y="2552"/>
              <a:ext cx="331" cy="551"/>
            </a:xfrm>
            <a:custGeom>
              <a:avLst/>
              <a:gdLst>
                <a:gd name="T0" fmla="*/ 0 w 331"/>
                <a:gd name="T1" fmla="*/ 0 h 551"/>
                <a:gd name="T2" fmla="*/ 331 w 331"/>
                <a:gd name="T3" fmla="*/ 0 h 551"/>
                <a:gd name="T4" fmla="*/ 331 w 331"/>
                <a:gd name="T5" fmla="*/ 31 h 551"/>
                <a:gd name="T6" fmla="*/ 0 w 331"/>
                <a:gd name="T7" fmla="*/ 31 h 551"/>
                <a:gd name="T8" fmla="*/ 0 w 331"/>
                <a:gd name="T9" fmla="*/ 0 h 551"/>
                <a:gd name="T10" fmla="*/ 156 w 331"/>
                <a:gd name="T11" fmla="*/ 50 h 551"/>
                <a:gd name="T12" fmla="*/ 156 w 331"/>
                <a:gd name="T13" fmla="*/ 551 h 551"/>
                <a:gd name="T14" fmla="*/ 128 w 331"/>
                <a:gd name="T15" fmla="*/ 551 h 551"/>
                <a:gd name="T16" fmla="*/ 128 w 331"/>
                <a:gd name="T17" fmla="*/ 79 h 551"/>
                <a:gd name="T18" fmla="*/ 0 w 331"/>
                <a:gd name="T19" fmla="*/ 79 h 551"/>
                <a:gd name="T20" fmla="*/ 0 w 331"/>
                <a:gd name="T21" fmla="*/ 50 h 551"/>
                <a:gd name="T22" fmla="*/ 156 w 331"/>
                <a:gd name="T23" fmla="*/ 50 h 551"/>
                <a:gd name="T24" fmla="*/ 331 w 331"/>
                <a:gd name="T25" fmla="*/ 50 h 551"/>
                <a:gd name="T26" fmla="*/ 331 w 331"/>
                <a:gd name="T27" fmla="*/ 79 h 551"/>
                <a:gd name="T28" fmla="*/ 206 w 331"/>
                <a:gd name="T29" fmla="*/ 79 h 551"/>
                <a:gd name="T30" fmla="*/ 206 w 331"/>
                <a:gd name="T31" fmla="*/ 551 h 551"/>
                <a:gd name="T32" fmla="*/ 175 w 331"/>
                <a:gd name="T33" fmla="*/ 551 h 551"/>
                <a:gd name="T34" fmla="*/ 175 w 331"/>
                <a:gd name="T35" fmla="*/ 50 h 551"/>
                <a:gd name="T36" fmla="*/ 331 w 331"/>
                <a:gd name="T37" fmla="*/ 50 h 5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31" h="551">
                  <a:moveTo>
                    <a:pt x="0" y="0"/>
                  </a:moveTo>
                  <a:lnTo>
                    <a:pt x="331" y="0"/>
                  </a:lnTo>
                  <a:lnTo>
                    <a:pt x="331" y="31"/>
                  </a:lnTo>
                  <a:lnTo>
                    <a:pt x="0" y="31"/>
                  </a:lnTo>
                  <a:lnTo>
                    <a:pt x="0" y="0"/>
                  </a:lnTo>
                  <a:close/>
                  <a:moveTo>
                    <a:pt x="156" y="50"/>
                  </a:moveTo>
                  <a:lnTo>
                    <a:pt x="156" y="551"/>
                  </a:lnTo>
                  <a:lnTo>
                    <a:pt x="128" y="551"/>
                  </a:lnTo>
                  <a:lnTo>
                    <a:pt x="128" y="79"/>
                  </a:lnTo>
                  <a:lnTo>
                    <a:pt x="0" y="79"/>
                  </a:lnTo>
                  <a:lnTo>
                    <a:pt x="0" y="50"/>
                  </a:lnTo>
                  <a:lnTo>
                    <a:pt x="156" y="50"/>
                  </a:lnTo>
                  <a:close/>
                  <a:moveTo>
                    <a:pt x="331" y="50"/>
                  </a:moveTo>
                  <a:lnTo>
                    <a:pt x="331" y="79"/>
                  </a:lnTo>
                  <a:lnTo>
                    <a:pt x="206" y="79"/>
                  </a:lnTo>
                  <a:lnTo>
                    <a:pt x="206" y="551"/>
                  </a:lnTo>
                  <a:lnTo>
                    <a:pt x="175" y="551"/>
                  </a:lnTo>
                  <a:lnTo>
                    <a:pt x="175" y="50"/>
                  </a:lnTo>
                  <a:lnTo>
                    <a:pt x="331" y="50"/>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8">
              <a:extLst>
                <a:ext uri="{FF2B5EF4-FFF2-40B4-BE49-F238E27FC236}">
                  <a16:creationId xmlns:a16="http://schemas.microsoft.com/office/drawing/2014/main" id="{0C3F2454-8E41-439B-5DEA-51442159D5A5}"/>
                </a:ext>
              </a:extLst>
            </p:cNvPr>
            <p:cNvSpPr>
              <a:spLocks noEditPoints="1"/>
            </p:cNvSpPr>
            <p:nvPr userDrawn="1"/>
          </p:nvSpPr>
          <p:spPr bwMode="auto">
            <a:xfrm>
              <a:off x="6886" y="2552"/>
              <a:ext cx="312" cy="551"/>
            </a:xfrm>
            <a:custGeom>
              <a:avLst/>
              <a:gdLst>
                <a:gd name="T0" fmla="*/ 295891719 w 132"/>
                <a:gd name="T1" fmla="*/ 0 h 232"/>
                <a:gd name="T2" fmla="*/ 295891719 w 132"/>
                <a:gd name="T3" fmla="*/ 31976658 h 232"/>
                <a:gd name="T4" fmla="*/ 110103249 w 132"/>
                <a:gd name="T5" fmla="*/ 31976658 h 232"/>
                <a:gd name="T6" fmla="*/ 51443210 w 132"/>
                <a:gd name="T7" fmla="*/ 58299493 h 232"/>
                <a:gd name="T8" fmla="*/ 26510905 w 132"/>
                <a:gd name="T9" fmla="*/ 122107630 h 232"/>
                <a:gd name="T10" fmla="*/ 26510905 w 132"/>
                <a:gd name="T11" fmla="*/ 442759715 h 232"/>
                <a:gd name="T12" fmla="*/ 51443210 w 132"/>
                <a:gd name="T13" fmla="*/ 508305993 h 232"/>
                <a:gd name="T14" fmla="*/ 110103249 w 132"/>
                <a:gd name="T15" fmla="*/ 535913430 h 232"/>
                <a:gd name="T16" fmla="*/ 295891719 w 132"/>
                <a:gd name="T17" fmla="*/ 535913430 h 232"/>
                <a:gd name="T18" fmla="*/ 295891719 w 132"/>
                <a:gd name="T19" fmla="*/ 564828430 h 232"/>
                <a:gd name="T20" fmla="*/ 110103249 w 132"/>
                <a:gd name="T21" fmla="*/ 564828430 h 232"/>
                <a:gd name="T22" fmla="*/ 31262608 w 132"/>
                <a:gd name="T23" fmla="*/ 527724589 h 232"/>
                <a:gd name="T24" fmla="*/ 0 w 132"/>
                <a:gd name="T25" fmla="*/ 442759715 h 232"/>
                <a:gd name="T26" fmla="*/ 0 w 132"/>
                <a:gd name="T27" fmla="*/ 122107630 h 232"/>
                <a:gd name="T28" fmla="*/ 31262608 w 132"/>
                <a:gd name="T29" fmla="*/ 37103839 h 232"/>
                <a:gd name="T30" fmla="*/ 110103249 w 132"/>
                <a:gd name="T31" fmla="*/ 0 h 232"/>
                <a:gd name="T32" fmla="*/ 295891719 w 132"/>
                <a:gd name="T33" fmla="*/ 0 h 232"/>
                <a:gd name="T34" fmla="*/ 44482705 w 132"/>
                <a:gd name="T35" fmla="*/ 122107630 h 232"/>
                <a:gd name="T36" fmla="*/ 65404189 w 132"/>
                <a:gd name="T37" fmla="*/ 70832843 h 232"/>
                <a:gd name="T38" fmla="*/ 111981461 w 132"/>
                <a:gd name="T39" fmla="*/ 51413739 h 232"/>
                <a:gd name="T40" fmla="*/ 295891719 w 132"/>
                <a:gd name="T41" fmla="*/ 51413739 h 232"/>
                <a:gd name="T42" fmla="*/ 295891719 w 132"/>
                <a:gd name="T43" fmla="*/ 79781492 h 232"/>
                <a:gd name="T44" fmla="*/ 111981461 w 132"/>
                <a:gd name="T45" fmla="*/ 79781492 h 232"/>
                <a:gd name="T46" fmla="*/ 85443339 w 132"/>
                <a:gd name="T47" fmla="*/ 92335711 h 232"/>
                <a:gd name="T48" fmla="*/ 73893437 w 132"/>
                <a:gd name="T49" fmla="*/ 122107630 h 232"/>
                <a:gd name="T50" fmla="*/ 73893437 w 132"/>
                <a:gd name="T51" fmla="*/ 202009418 h 232"/>
                <a:gd name="T52" fmla="*/ 295891719 w 132"/>
                <a:gd name="T53" fmla="*/ 202009418 h 232"/>
                <a:gd name="T54" fmla="*/ 295891719 w 132"/>
                <a:gd name="T55" fmla="*/ 233836064 h 232"/>
                <a:gd name="T56" fmla="*/ 44482705 w 132"/>
                <a:gd name="T57" fmla="*/ 233836064 h 232"/>
                <a:gd name="T58" fmla="*/ 44482705 w 132"/>
                <a:gd name="T59" fmla="*/ 122107630 h 232"/>
                <a:gd name="T60" fmla="*/ 44482705 w 132"/>
                <a:gd name="T61" fmla="*/ 253283286 h 232"/>
                <a:gd name="T62" fmla="*/ 295891719 w 132"/>
                <a:gd name="T63" fmla="*/ 253283286 h 232"/>
                <a:gd name="T64" fmla="*/ 295891719 w 132"/>
                <a:gd name="T65" fmla="*/ 283050061 h 232"/>
                <a:gd name="T66" fmla="*/ 73893437 w 132"/>
                <a:gd name="T67" fmla="*/ 283050061 h 232"/>
                <a:gd name="T68" fmla="*/ 73893437 w 132"/>
                <a:gd name="T69" fmla="*/ 442759715 h 232"/>
                <a:gd name="T70" fmla="*/ 85443339 w 132"/>
                <a:gd name="T71" fmla="*/ 472485538 h 232"/>
                <a:gd name="T72" fmla="*/ 111981461 w 132"/>
                <a:gd name="T73" fmla="*/ 484506888 h 232"/>
                <a:gd name="T74" fmla="*/ 295891719 w 132"/>
                <a:gd name="T75" fmla="*/ 484506888 h 232"/>
                <a:gd name="T76" fmla="*/ 295891719 w 132"/>
                <a:gd name="T77" fmla="*/ 513431020 h 232"/>
                <a:gd name="T78" fmla="*/ 111981461 w 132"/>
                <a:gd name="T79" fmla="*/ 513431020 h 232"/>
                <a:gd name="T80" fmla="*/ 65404189 w 132"/>
                <a:gd name="T81" fmla="*/ 494012295 h 232"/>
                <a:gd name="T82" fmla="*/ 44482705 w 132"/>
                <a:gd name="T83" fmla="*/ 442759715 h 232"/>
                <a:gd name="T84" fmla="*/ 44482705 w 132"/>
                <a:gd name="T85" fmla="*/ 253283286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132" y="0"/>
                  </a:moveTo>
                  <a:cubicBezTo>
                    <a:pt x="132" y="13"/>
                    <a:pt x="132" y="13"/>
                    <a:pt x="132" y="13"/>
                  </a:cubicBezTo>
                  <a:cubicBezTo>
                    <a:pt x="49" y="13"/>
                    <a:pt x="49" y="13"/>
                    <a:pt x="49" y="13"/>
                  </a:cubicBezTo>
                  <a:cubicBezTo>
                    <a:pt x="39" y="13"/>
                    <a:pt x="30" y="16"/>
                    <a:pt x="23" y="24"/>
                  </a:cubicBezTo>
                  <a:cubicBezTo>
                    <a:pt x="16" y="31"/>
                    <a:pt x="12" y="40"/>
                    <a:pt x="12" y="50"/>
                  </a:cubicBezTo>
                  <a:cubicBezTo>
                    <a:pt x="12" y="182"/>
                    <a:pt x="12" y="182"/>
                    <a:pt x="12" y="182"/>
                  </a:cubicBezTo>
                  <a:cubicBezTo>
                    <a:pt x="12" y="193"/>
                    <a:pt x="16" y="201"/>
                    <a:pt x="23" y="209"/>
                  </a:cubicBezTo>
                  <a:cubicBezTo>
                    <a:pt x="30" y="216"/>
                    <a:pt x="39" y="220"/>
                    <a:pt x="49" y="220"/>
                  </a:cubicBezTo>
                  <a:cubicBezTo>
                    <a:pt x="132" y="220"/>
                    <a:pt x="132" y="220"/>
                    <a:pt x="132" y="220"/>
                  </a:cubicBezTo>
                  <a:cubicBezTo>
                    <a:pt x="132" y="232"/>
                    <a:pt x="132" y="232"/>
                    <a:pt x="132" y="232"/>
                  </a:cubicBezTo>
                  <a:cubicBezTo>
                    <a:pt x="49" y="232"/>
                    <a:pt x="49" y="232"/>
                    <a:pt x="49" y="232"/>
                  </a:cubicBezTo>
                  <a:cubicBezTo>
                    <a:pt x="36" y="232"/>
                    <a:pt x="24" y="227"/>
                    <a:pt x="14" y="217"/>
                  </a:cubicBezTo>
                  <a:cubicBezTo>
                    <a:pt x="5" y="208"/>
                    <a:pt x="0" y="196"/>
                    <a:pt x="0" y="182"/>
                  </a:cubicBezTo>
                  <a:cubicBezTo>
                    <a:pt x="0" y="50"/>
                    <a:pt x="0" y="50"/>
                    <a:pt x="0" y="50"/>
                  </a:cubicBezTo>
                  <a:cubicBezTo>
                    <a:pt x="0" y="36"/>
                    <a:pt x="5" y="25"/>
                    <a:pt x="14" y="15"/>
                  </a:cubicBezTo>
                  <a:cubicBezTo>
                    <a:pt x="24" y="5"/>
                    <a:pt x="36" y="0"/>
                    <a:pt x="49" y="0"/>
                  </a:cubicBezTo>
                  <a:lnTo>
                    <a:pt x="132" y="0"/>
                  </a:lnTo>
                  <a:close/>
                  <a:moveTo>
                    <a:pt x="20" y="50"/>
                  </a:moveTo>
                  <a:cubicBezTo>
                    <a:pt x="20" y="42"/>
                    <a:pt x="23" y="35"/>
                    <a:pt x="29" y="29"/>
                  </a:cubicBezTo>
                  <a:cubicBezTo>
                    <a:pt x="35" y="24"/>
                    <a:pt x="42" y="21"/>
                    <a:pt x="50" y="21"/>
                  </a:cubicBezTo>
                  <a:cubicBezTo>
                    <a:pt x="132" y="21"/>
                    <a:pt x="132" y="21"/>
                    <a:pt x="132" y="21"/>
                  </a:cubicBezTo>
                  <a:cubicBezTo>
                    <a:pt x="132" y="33"/>
                    <a:pt x="132" y="33"/>
                    <a:pt x="132" y="33"/>
                  </a:cubicBezTo>
                  <a:cubicBezTo>
                    <a:pt x="50" y="33"/>
                    <a:pt x="50" y="33"/>
                    <a:pt x="50" y="33"/>
                  </a:cubicBezTo>
                  <a:cubicBezTo>
                    <a:pt x="45" y="33"/>
                    <a:pt x="41" y="35"/>
                    <a:pt x="38" y="38"/>
                  </a:cubicBezTo>
                  <a:cubicBezTo>
                    <a:pt x="35" y="42"/>
                    <a:pt x="33" y="45"/>
                    <a:pt x="33" y="50"/>
                  </a:cubicBezTo>
                  <a:cubicBezTo>
                    <a:pt x="33" y="83"/>
                    <a:pt x="33" y="83"/>
                    <a:pt x="33" y="83"/>
                  </a:cubicBezTo>
                  <a:cubicBezTo>
                    <a:pt x="132" y="83"/>
                    <a:pt x="132" y="83"/>
                    <a:pt x="132" y="83"/>
                  </a:cubicBezTo>
                  <a:cubicBezTo>
                    <a:pt x="132" y="96"/>
                    <a:pt x="132" y="96"/>
                    <a:pt x="132" y="96"/>
                  </a:cubicBezTo>
                  <a:cubicBezTo>
                    <a:pt x="20" y="96"/>
                    <a:pt x="20" y="96"/>
                    <a:pt x="20" y="96"/>
                  </a:cubicBezTo>
                  <a:lnTo>
                    <a:pt x="20" y="50"/>
                  </a:lnTo>
                  <a:close/>
                  <a:moveTo>
                    <a:pt x="20" y="104"/>
                  </a:moveTo>
                  <a:cubicBezTo>
                    <a:pt x="132" y="104"/>
                    <a:pt x="132" y="104"/>
                    <a:pt x="132" y="104"/>
                  </a:cubicBezTo>
                  <a:cubicBezTo>
                    <a:pt x="132" y="116"/>
                    <a:pt x="132" y="116"/>
                    <a:pt x="132" y="116"/>
                  </a:cubicBezTo>
                  <a:cubicBezTo>
                    <a:pt x="33" y="116"/>
                    <a:pt x="33" y="116"/>
                    <a:pt x="33" y="116"/>
                  </a:cubicBezTo>
                  <a:cubicBezTo>
                    <a:pt x="33" y="182"/>
                    <a:pt x="33" y="182"/>
                    <a:pt x="33" y="182"/>
                  </a:cubicBezTo>
                  <a:cubicBezTo>
                    <a:pt x="33" y="187"/>
                    <a:pt x="35" y="191"/>
                    <a:pt x="38" y="194"/>
                  </a:cubicBezTo>
                  <a:cubicBezTo>
                    <a:pt x="41" y="197"/>
                    <a:pt x="45" y="199"/>
                    <a:pt x="50" y="199"/>
                  </a:cubicBezTo>
                  <a:cubicBezTo>
                    <a:pt x="132" y="199"/>
                    <a:pt x="132" y="199"/>
                    <a:pt x="132" y="199"/>
                  </a:cubicBezTo>
                  <a:cubicBezTo>
                    <a:pt x="132" y="211"/>
                    <a:pt x="132" y="211"/>
                    <a:pt x="132" y="211"/>
                  </a:cubicBezTo>
                  <a:cubicBezTo>
                    <a:pt x="50" y="211"/>
                    <a:pt x="50" y="211"/>
                    <a:pt x="50" y="211"/>
                  </a:cubicBezTo>
                  <a:cubicBezTo>
                    <a:pt x="42" y="211"/>
                    <a:pt x="35" y="209"/>
                    <a:pt x="29" y="203"/>
                  </a:cubicBezTo>
                  <a:cubicBezTo>
                    <a:pt x="23" y="197"/>
                    <a:pt x="20" y="190"/>
                    <a:pt x="20" y="182"/>
                  </a:cubicBezTo>
                  <a:lnTo>
                    <a:pt x="20" y="104"/>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22" name="TextBox 29">
            <a:extLst>
              <a:ext uri="{FF2B5EF4-FFF2-40B4-BE49-F238E27FC236}">
                <a16:creationId xmlns:a16="http://schemas.microsoft.com/office/drawing/2014/main" id="{03899CB4-BB0F-E8BC-4FD1-F47FD2189A03}"/>
              </a:ext>
            </a:extLst>
          </p:cNvPr>
          <p:cNvSpPr txBox="1">
            <a:spLocks noChangeArrowheads="1"/>
          </p:cNvSpPr>
          <p:nvPr/>
        </p:nvSpPr>
        <p:spPr bwMode="auto">
          <a:xfrm>
            <a:off x="11345863" y="6402388"/>
            <a:ext cx="354012" cy="261937"/>
          </a:xfrm>
          <a:prstGeom prst="rect">
            <a:avLst/>
          </a:prstGeom>
          <a:noFill/>
          <a:ln>
            <a:noFill/>
          </a:ln>
        </p:spPr>
        <p:txBody>
          <a:bodyPr wrap="none">
            <a:spAutoFit/>
          </a:bodyPr>
          <a:lstStyle>
            <a:lvl1pPr>
              <a:defRPr>
                <a:solidFill>
                  <a:schemeClr val="tx1"/>
                </a:solidFill>
                <a:latin typeface="Lato Light" panose="020F0502020204030203" pitchFamily="34" charset="0"/>
              </a:defRPr>
            </a:lvl1pPr>
            <a:lvl2pPr marL="742950" indent="-285750">
              <a:defRPr>
                <a:solidFill>
                  <a:schemeClr val="tx1"/>
                </a:solidFill>
                <a:latin typeface="Lato Light" panose="020F0502020204030203" pitchFamily="34" charset="0"/>
              </a:defRPr>
            </a:lvl2pPr>
            <a:lvl3pPr marL="1143000" indent="-228600">
              <a:defRPr>
                <a:solidFill>
                  <a:schemeClr val="tx1"/>
                </a:solidFill>
                <a:latin typeface="Lato Light" panose="020F0502020204030203" pitchFamily="34" charset="0"/>
              </a:defRPr>
            </a:lvl3pPr>
            <a:lvl4pPr marL="1600200" indent="-228600">
              <a:defRPr>
                <a:solidFill>
                  <a:schemeClr val="tx1"/>
                </a:solidFill>
                <a:latin typeface="Lato Light" panose="020F0502020204030203" pitchFamily="34" charset="0"/>
              </a:defRPr>
            </a:lvl4pPr>
            <a:lvl5pPr marL="2057400" indent="-228600">
              <a:defRPr>
                <a:solidFill>
                  <a:schemeClr val="tx1"/>
                </a:solidFill>
                <a:latin typeface="Lato Light" panose="020F0502020204030203" pitchFamily="34" charset="0"/>
              </a:defRPr>
            </a:lvl5pPr>
            <a:lvl6pPr marL="2514600" indent="-228600" eaLnBrk="0" fontAlgn="base" hangingPunct="0">
              <a:spcBef>
                <a:spcPct val="0"/>
              </a:spcBef>
              <a:spcAft>
                <a:spcPct val="0"/>
              </a:spcAft>
              <a:defRPr>
                <a:solidFill>
                  <a:schemeClr val="tx1"/>
                </a:solidFill>
                <a:latin typeface="Lato Light" panose="020F0502020204030203" pitchFamily="34" charset="0"/>
              </a:defRPr>
            </a:lvl6pPr>
            <a:lvl7pPr marL="2971800" indent="-228600" eaLnBrk="0" fontAlgn="base" hangingPunct="0">
              <a:spcBef>
                <a:spcPct val="0"/>
              </a:spcBef>
              <a:spcAft>
                <a:spcPct val="0"/>
              </a:spcAft>
              <a:defRPr>
                <a:solidFill>
                  <a:schemeClr val="tx1"/>
                </a:solidFill>
                <a:latin typeface="Lato Light" panose="020F0502020204030203" pitchFamily="34" charset="0"/>
              </a:defRPr>
            </a:lvl7pPr>
            <a:lvl8pPr marL="3429000" indent="-228600" eaLnBrk="0" fontAlgn="base" hangingPunct="0">
              <a:spcBef>
                <a:spcPct val="0"/>
              </a:spcBef>
              <a:spcAft>
                <a:spcPct val="0"/>
              </a:spcAft>
              <a:defRPr>
                <a:solidFill>
                  <a:schemeClr val="tx1"/>
                </a:solidFill>
                <a:latin typeface="Lato Light" panose="020F0502020204030203" pitchFamily="34" charset="0"/>
              </a:defRPr>
            </a:lvl8pPr>
            <a:lvl9pPr marL="3886200" indent="-228600" eaLnBrk="0" fontAlgn="base" hangingPunct="0">
              <a:spcBef>
                <a:spcPct val="0"/>
              </a:spcBef>
              <a:spcAft>
                <a:spcPct val="0"/>
              </a:spcAft>
              <a:defRPr>
                <a:solidFill>
                  <a:schemeClr val="tx1"/>
                </a:solidFill>
                <a:latin typeface="Lato Light" panose="020F0502020204030203" pitchFamily="34" charset="0"/>
              </a:defRPr>
            </a:lvl9pPr>
          </a:lstStyle>
          <a:p>
            <a:pPr algn="ctr" eaLnBrk="1" hangingPunct="1">
              <a:defRPr/>
            </a:pPr>
            <a:fld id="{3702E881-2B31-4736-B5A0-3B3CD1275524}" type="slidenum">
              <a:rPr lang="en-US" altLang="tr-TR" sz="1100" smtClean="0">
                <a:solidFill>
                  <a:schemeClr val="tx2"/>
                </a:solidFill>
              </a:rPr>
              <a:pPr algn="ctr" eaLnBrk="1" hangingPunct="1">
                <a:defRPr/>
              </a:pPr>
              <a:t>‹#›</a:t>
            </a:fld>
            <a:endParaRPr lang="en-US" altLang="tr-TR" sz="1100">
              <a:solidFill>
                <a:schemeClr val="tx2"/>
              </a:solidFill>
            </a:endParaRPr>
          </a:p>
        </p:txBody>
      </p:sp>
      <p:sp>
        <p:nvSpPr>
          <p:cNvPr id="10" name="Picture Placeholder 3"/>
          <p:cNvSpPr>
            <a:spLocks noGrp="1"/>
          </p:cNvSpPr>
          <p:nvPr>
            <p:ph type="pic" sz="quarter" idx="18"/>
          </p:nvPr>
        </p:nvSpPr>
        <p:spPr>
          <a:xfrm>
            <a:off x="857397" y="1849081"/>
            <a:ext cx="2222495" cy="2231329"/>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
        <p:nvSpPr>
          <p:cNvPr id="11" name="Picture Placeholder 3"/>
          <p:cNvSpPr>
            <a:spLocks noGrp="1"/>
          </p:cNvSpPr>
          <p:nvPr>
            <p:ph type="pic" sz="quarter" idx="19"/>
          </p:nvPr>
        </p:nvSpPr>
        <p:spPr>
          <a:xfrm>
            <a:off x="3610076" y="1849081"/>
            <a:ext cx="2222495" cy="2231329"/>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
        <p:nvSpPr>
          <p:cNvPr id="12" name="Picture Placeholder 3"/>
          <p:cNvSpPr>
            <a:spLocks noGrp="1"/>
          </p:cNvSpPr>
          <p:nvPr>
            <p:ph type="pic" sz="quarter" idx="20"/>
          </p:nvPr>
        </p:nvSpPr>
        <p:spPr>
          <a:xfrm>
            <a:off x="9112110" y="1849081"/>
            <a:ext cx="2222495" cy="2231329"/>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
        <p:nvSpPr>
          <p:cNvPr id="13" name="Picture Placeholder 3"/>
          <p:cNvSpPr>
            <a:spLocks noGrp="1"/>
          </p:cNvSpPr>
          <p:nvPr>
            <p:ph type="pic" sz="quarter" idx="21"/>
          </p:nvPr>
        </p:nvSpPr>
        <p:spPr>
          <a:xfrm>
            <a:off x="6362755" y="1849081"/>
            <a:ext cx="2222495" cy="2231329"/>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Tree>
    <p:extLst>
      <p:ext uri="{BB962C8B-B14F-4D97-AF65-F5344CB8AC3E}">
        <p14:creationId xmlns:p14="http://schemas.microsoft.com/office/powerpoint/2010/main" val="14221474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6_Custom Layout">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5843DEA8-A557-B650-6CF4-1067D284F060}"/>
              </a:ext>
            </a:extLst>
          </p:cNvPr>
          <p:cNvSpPr/>
          <p:nvPr/>
        </p:nvSpPr>
        <p:spPr>
          <a:xfrm>
            <a:off x="11350625" y="6361113"/>
            <a:ext cx="344488" cy="344487"/>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2"/>
              </a:solidFill>
            </a:endParaRPr>
          </a:p>
        </p:txBody>
      </p:sp>
      <p:grpSp>
        <p:nvGrpSpPr>
          <p:cNvPr id="3" name="Group 4">
            <a:extLst>
              <a:ext uri="{FF2B5EF4-FFF2-40B4-BE49-F238E27FC236}">
                <a16:creationId xmlns:a16="http://schemas.microsoft.com/office/drawing/2014/main" id="{39B44192-CEB0-7B9C-4947-BCBC26ED75BA}"/>
              </a:ext>
            </a:extLst>
          </p:cNvPr>
          <p:cNvGrpSpPr>
            <a:grpSpLocks noChangeAspect="1"/>
          </p:cNvGrpSpPr>
          <p:nvPr/>
        </p:nvGrpSpPr>
        <p:grpSpPr bwMode="auto">
          <a:xfrm>
            <a:off x="527050" y="6389688"/>
            <a:ext cx="1039813" cy="284162"/>
            <a:chOff x="297" y="1187"/>
            <a:chExt cx="7085" cy="1944"/>
          </a:xfrm>
        </p:grpSpPr>
        <p:sp>
          <p:nvSpPr>
            <p:cNvPr id="4" name="Freeform 9">
              <a:extLst>
                <a:ext uri="{FF2B5EF4-FFF2-40B4-BE49-F238E27FC236}">
                  <a16:creationId xmlns:a16="http://schemas.microsoft.com/office/drawing/2014/main" id="{240BA2E0-714B-3641-BA5D-D8461A06844B}"/>
                </a:ext>
              </a:extLst>
            </p:cNvPr>
            <p:cNvSpPr>
              <a:spLocks noEditPoints="1"/>
            </p:cNvSpPr>
            <p:nvPr userDrawn="1"/>
          </p:nvSpPr>
          <p:spPr bwMode="auto">
            <a:xfrm>
              <a:off x="297" y="1189"/>
              <a:ext cx="1266" cy="1105"/>
            </a:xfrm>
            <a:custGeom>
              <a:avLst/>
              <a:gdLst>
                <a:gd name="T0" fmla="*/ 592814223 w 535"/>
                <a:gd name="T1" fmla="*/ 490470457 h 466"/>
                <a:gd name="T2" fmla="*/ 475447313 w 535"/>
                <a:gd name="T3" fmla="*/ 198813566 h 466"/>
                <a:gd name="T4" fmla="*/ 254086917 w 535"/>
                <a:gd name="T5" fmla="*/ 767261907 h 466"/>
                <a:gd name="T6" fmla="*/ 205935911 w 535"/>
                <a:gd name="T7" fmla="*/ 898255873 h 466"/>
                <a:gd name="T8" fmla="*/ 135177273 w 535"/>
                <a:gd name="T9" fmla="*/ 1082812292 h 466"/>
                <a:gd name="T10" fmla="*/ 135177273 w 535"/>
                <a:gd name="T11" fmla="*/ 1079972834 h 466"/>
                <a:gd name="T12" fmla="*/ 102568007 w 535"/>
                <a:gd name="T13" fmla="*/ 1104057219 h 466"/>
                <a:gd name="T14" fmla="*/ 25381052 w 535"/>
                <a:gd name="T15" fmla="*/ 1104057219 h 466"/>
                <a:gd name="T16" fmla="*/ 0 w 535"/>
                <a:gd name="T17" fmla="*/ 1087116478 h 466"/>
                <a:gd name="T18" fmla="*/ 2031267 w 535"/>
                <a:gd name="T19" fmla="*/ 1078264271 h 466"/>
                <a:gd name="T20" fmla="*/ 4806699 w 535"/>
                <a:gd name="T21" fmla="*/ 1068152912 h 466"/>
                <a:gd name="T22" fmla="*/ 423281075 w 535"/>
                <a:gd name="T23" fmla="*/ 19018883 h 466"/>
                <a:gd name="T24" fmla="*/ 425157884 w 535"/>
                <a:gd name="T25" fmla="*/ 16871626 h 466"/>
                <a:gd name="T26" fmla="*/ 423281075 w 535"/>
                <a:gd name="T27" fmla="*/ 19018883 h 466"/>
                <a:gd name="T28" fmla="*/ 430186005 w 535"/>
                <a:gd name="T29" fmla="*/ 7115093 h 466"/>
                <a:gd name="T30" fmla="*/ 453467932 w 535"/>
                <a:gd name="T31" fmla="*/ 0 h 466"/>
                <a:gd name="T32" fmla="*/ 500809590 w 535"/>
                <a:gd name="T33" fmla="*/ 0 h 466"/>
                <a:gd name="T34" fmla="*/ 522062318 w 535"/>
                <a:gd name="T35" fmla="*/ 7115093 h 466"/>
                <a:gd name="T36" fmla="*/ 528624526 w 535"/>
                <a:gd name="T37" fmla="*/ 19018883 h 466"/>
                <a:gd name="T38" fmla="*/ 530657417 w 535"/>
                <a:gd name="T39" fmla="*/ 19018883 h 466"/>
                <a:gd name="T40" fmla="*/ 532753721 w 535"/>
                <a:gd name="T41" fmla="*/ 23986629 h 466"/>
                <a:gd name="T42" fmla="*/ 530657417 w 535"/>
                <a:gd name="T43" fmla="*/ 21137875 h 466"/>
                <a:gd name="T44" fmla="*/ 656507488 w 535"/>
                <a:gd name="T45" fmla="*/ 336755356 h 466"/>
                <a:gd name="T46" fmla="*/ 592814223 w 535"/>
                <a:gd name="T47" fmla="*/ 490470457 h 466"/>
                <a:gd name="T48" fmla="*/ 1063415281 w 535"/>
                <a:gd name="T49" fmla="*/ 1007003229 h 466"/>
                <a:gd name="T50" fmla="*/ 1020096784 w 535"/>
                <a:gd name="T51" fmla="*/ 898255873 h 466"/>
                <a:gd name="T52" fmla="*/ 862287051 w 535"/>
                <a:gd name="T53" fmla="*/ 490470457 h 466"/>
                <a:gd name="T54" fmla="*/ 745075518 w 535"/>
                <a:gd name="T55" fmla="*/ 198813566 h 466"/>
                <a:gd name="T56" fmla="*/ 524093625 w 535"/>
                <a:gd name="T57" fmla="*/ 767261907 h 466"/>
                <a:gd name="T58" fmla="*/ 473909525 w 535"/>
                <a:gd name="T59" fmla="*/ 898255873 h 466"/>
                <a:gd name="T60" fmla="*/ 405184384 w 535"/>
                <a:gd name="T61" fmla="*/ 1082812292 h 466"/>
                <a:gd name="T62" fmla="*/ 405184384 w 535"/>
                <a:gd name="T63" fmla="*/ 1079972834 h 466"/>
                <a:gd name="T64" fmla="*/ 372851835 w 535"/>
                <a:gd name="T65" fmla="*/ 1104057219 h 466"/>
                <a:gd name="T66" fmla="*/ 295029932 w 535"/>
                <a:gd name="T67" fmla="*/ 1104057219 h 466"/>
                <a:gd name="T68" fmla="*/ 269628205 w 535"/>
                <a:gd name="T69" fmla="*/ 1087116478 h 466"/>
                <a:gd name="T70" fmla="*/ 272403609 w 535"/>
                <a:gd name="T71" fmla="*/ 1078264271 h 466"/>
                <a:gd name="T72" fmla="*/ 274527635 w 535"/>
                <a:gd name="T73" fmla="*/ 1068152912 h 466"/>
                <a:gd name="T74" fmla="*/ 693246507 w 535"/>
                <a:gd name="T75" fmla="*/ 19018883 h 466"/>
                <a:gd name="T76" fmla="*/ 694891188 w 535"/>
                <a:gd name="T77" fmla="*/ 16871626 h 466"/>
                <a:gd name="T78" fmla="*/ 693246507 w 535"/>
                <a:gd name="T79" fmla="*/ 19018883 h 466"/>
                <a:gd name="T80" fmla="*/ 699814170 w 535"/>
                <a:gd name="T81" fmla="*/ 7115093 h 466"/>
                <a:gd name="T82" fmla="*/ 722963600 w 535"/>
                <a:gd name="T83" fmla="*/ 0 h 466"/>
                <a:gd name="T84" fmla="*/ 770453496 w 535"/>
                <a:gd name="T85" fmla="*/ 0 h 466"/>
                <a:gd name="T86" fmla="*/ 791690909 w 535"/>
                <a:gd name="T87" fmla="*/ 7115093 h 466"/>
                <a:gd name="T88" fmla="*/ 798593889 w 535"/>
                <a:gd name="T89" fmla="*/ 19018883 h 466"/>
                <a:gd name="T90" fmla="*/ 800282813 w 535"/>
                <a:gd name="T91" fmla="*/ 19018883 h 466"/>
                <a:gd name="T92" fmla="*/ 800282813 w 535"/>
                <a:gd name="T93" fmla="*/ 23986629 h 466"/>
                <a:gd name="T94" fmla="*/ 800282813 w 535"/>
                <a:gd name="T95" fmla="*/ 21137875 h 466"/>
                <a:gd name="T96" fmla="*/ 1221874959 w 535"/>
                <a:gd name="T97" fmla="*/ 1068152912 h 466"/>
                <a:gd name="T98" fmla="*/ 1223907795 w 535"/>
                <a:gd name="T99" fmla="*/ 1073239556 h 466"/>
                <a:gd name="T100" fmla="*/ 1223907795 w 535"/>
                <a:gd name="T101" fmla="*/ 1087116478 h 466"/>
                <a:gd name="T102" fmla="*/ 1198604492 w 535"/>
                <a:gd name="T103" fmla="*/ 1104057219 h 466"/>
                <a:gd name="T104" fmla="*/ 1123315401 w 535"/>
                <a:gd name="T105" fmla="*/ 1104057219 h 466"/>
                <a:gd name="T106" fmla="*/ 1091504023 w 535"/>
                <a:gd name="T107" fmla="*/ 1082812292 h 466"/>
                <a:gd name="T108" fmla="*/ 1063415281 w 535"/>
                <a:gd name="T109" fmla="*/ 1007003229 h 4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35" h="466">
                  <a:moveTo>
                    <a:pt x="259" y="207"/>
                  </a:moveTo>
                  <a:cubicBezTo>
                    <a:pt x="208" y="84"/>
                    <a:pt x="208" y="84"/>
                    <a:pt x="208" y="84"/>
                  </a:cubicBezTo>
                  <a:cubicBezTo>
                    <a:pt x="111" y="324"/>
                    <a:pt x="111" y="324"/>
                    <a:pt x="111" y="324"/>
                  </a:cubicBezTo>
                  <a:cubicBezTo>
                    <a:pt x="90" y="379"/>
                    <a:pt x="90" y="379"/>
                    <a:pt x="90" y="379"/>
                  </a:cubicBezTo>
                  <a:cubicBezTo>
                    <a:pt x="59" y="457"/>
                    <a:pt x="59" y="457"/>
                    <a:pt x="59" y="457"/>
                  </a:cubicBezTo>
                  <a:cubicBezTo>
                    <a:pt x="59" y="456"/>
                    <a:pt x="59" y="456"/>
                    <a:pt x="59" y="456"/>
                  </a:cubicBezTo>
                  <a:cubicBezTo>
                    <a:pt x="56" y="462"/>
                    <a:pt x="51" y="466"/>
                    <a:pt x="45" y="466"/>
                  </a:cubicBezTo>
                  <a:cubicBezTo>
                    <a:pt x="11" y="466"/>
                    <a:pt x="11" y="466"/>
                    <a:pt x="11" y="466"/>
                  </a:cubicBezTo>
                  <a:cubicBezTo>
                    <a:pt x="4" y="466"/>
                    <a:pt x="0" y="464"/>
                    <a:pt x="0" y="459"/>
                  </a:cubicBezTo>
                  <a:cubicBezTo>
                    <a:pt x="0" y="458"/>
                    <a:pt x="0" y="457"/>
                    <a:pt x="1" y="455"/>
                  </a:cubicBezTo>
                  <a:cubicBezTo>
                    <a:pt x="2" y="451"/>
                    <a:pt x="2" y="451"/>
                    <a:pt x="2" y="451"/>
                  </a:cubicBezTo>
                  <a:cubicBezTo>
                    <a:pt x="185" y="8"/>
                    <a:pt x="185" y="8"/>
                    <a:pt x="185" y="8"/>
                  </a:cubicBezTo>
                  <a:cubicBezTo>
                    <a:pt x="185" y="8"/>
                    <a:pt x="185" y="7"/>
                    <a:pt x="186" y="7"/>
                  </a:cubicBezTo>
                  <a:cubicBezTo>
                    <a:pt x="185" y="8"/>
                    <a:pt x="185" y="8"/>
                    <a:pt x="185" y="8"/>
                  </a:cubicBezTo>
                  <a:cubicBezTo>
                    <a:pt x="188" y="3"/>
                    <a:pt x="188" y="3"/>
                    <a:pt x="188" y="3"/>
                  </a:cubicBezTo>
                  <a:cubicBezTo>
                    <a:pt x="190" y="1"/>
                    <a:pt x="193" y="0"/>
                    <a:pt x="198" y="0"/>
                  </a:cubicBezTo>
                  <a:cubicBezTo>
                    <a:pt x="219" y="0"/>
                    <a:pt x="219" y="0"/>
                    <a:pt x="219" y="0"/>
                  </a:cubicBezTo>
                  <a:cubicBezTo>
                    <a:pt x="224" y="0"/>
                    <a:pt x="227" y="1"/>
                    <a:pt x="228" y="3"/>
                  </a:cubicBezTo>
                  <a:cubicBezTo>
                    <a:pt x="231" y="8"/>
                    <a:pt x="231" y="8"/>
                    <a:pt x="231" y="8"/>
                  </a:cubicBezTo>
                  <a:cubicBezTo>
                    <a:pt x="231" y="8"/>
                    <a:pt x="231" y="8"/>
                    <a:pt x="232" y="8"/>
                  </a:cubicBezTo>
                  <a:cubicBezTo>
                    <a:pt x="233" y="10"/>
                    <a:pt x="233" y="10"/>
                    <a:pt x="233" y="10"/>
                  </a:cubicBezTo>
                  <a:cubicBezTo>
                    <a:pt x="232" y="9"/>
                    <a:pt x="232" y="9"/>
                    <a:pt x="232" y="9"/>
                  </a:cubicBezTo>
                  <a:cubicBezTo>
                    <a:pt x="287" y="142"/>
                    <a:pt x="287" y="142"/>
                    <a:pt x="287" y="142"/>
                  </a:cubicBezTo>
                  <a:lnTo>
                    <a:pt x="259" y="207"/>
                  </a:lnTo>
                  <a:close/>
                  <a:moveTo>
                    <a:pt x="465" y="425"/>
                  </a:moveTo>
                  <a:cubicBezTo>
                    <a:pt x="446" y="379"/>
                    <a:pt x="446" y="379"/>
                    <a:pt x="446" y="379"/>
                  </a:cubicBezTo>
                  <a:cubicBezTo>
                    <a:pt x="377" y="207"/>
                    <a:pt x="377" y="207"/>
                    <a:pt x="377" y="207"/>
                  </a:cubicBezTo>
                  <a:cubicBezTo>
                    <a:pt x="326" y="84"/>
                    <a:pt x="326" y="84"/>
                    <a:pt x="326" y="84"/>
                  </a:cubicBezTo>
                  <a:cubicBezTo>
                    <a:pt x="229" y="324"/>
                    <a:pt x="229" y="324"/>
                    <a:pt x="229" y="324"/>
                  </a:cubicBezTo>
                  <a:cubicBezTo>
                    <a:pt x="207" y="379"/>
                    <a:pt x="207" y="379"/>
                    <a:pt x="207" y="379"/>
                  </a:cubicBezTo>
                  <a:cubicBezTo>
                    <a:pt x="177" y="457"/>
                    <a:pt x="177" y="457"/>
                    <a:pt x="177" y="457"/>
                  </a:cubicBezTo>
                  <a:cubicBezTo>
                    <a:pt x="177" y="456"/>
                    <a:pt x="177" y="456"/>
                    <a:pt x="177" y="456"/>
                  </a:cubicBezTo>
                  <a:cubicBezTo>
                    <a:pt x="174" y="462"/>
                    <a:pt x="169" y="466"/>
                    <a:pt x="163" y="466"/>
                  </a:cubicBezTo>
                  <a:cubicBezTo>
                    <a:pt x="129" y="466"/>
                    <a:pt x="129" y="466"/>
                    <a:pt x="129" y="466"/>
                  </a:cubicBezTo>
                  <a:cubicBezTo>
                    <a:pt x="122" y="466"/>
                    <a:pt x="118" y="464"/>
                    <a:pt x="118" y="459"/>
                  </a:cubicBezTo>
                  <a:cubicBezTo>
                    <a:pt x="118" y="458"/>
                    <a:pt x="118" y="457"/>
                    <a:pt x="119" y="455"/>
                  </a:cubicBezTo>
                  <a:cubicBezTo>
                    <a:pt x="120" y="451"/>
                    <a:pt x="120" y="451"/>
                    <a:pt x="120" y="451"/>
                  </a:cubicBezTo>
                  <a:cubicBezTo>
                    <a:pt x="303" y="8"/>
                    <a:pt x="303" y="8"/>
                    <a:pt x="303" y="8"/>
                  </a:cubicBezTo>
                  <a:cubicBezTo>
                    <a:pt x="303" y="8"/>
                    <a:pt x="303" y="7"/>
                    <a:pt x="304" y="7"/>
                  </a:cubicBezTo>
                  <a:cubicBezTo>
                    <a:pt x="303" y="8"/>
                    <a:pt x="303" y="8"/>
                    <a:pt x="303" y="8"/>
                  </a:cubicBezTo>
                  <a:cubicBezTo>
                    <a:pt x="306" y="3"/>
                    <a:pt x="306" y="3"/>
                    <a:pt x="306" y="3"/>
                  </a:cubicBezTo>
                  <a:cubicBezTo>
                    <a:pt x="308" y="1"/>
                    <a:pt x="311" y="0"/>
                    <a:pt x="316" y="0"/>
                  </a:cubicBezTo>
                  <a:cubicBezTo>
                    <a:pt x="337" y="0"/>
                    <a:pt x="337" y="0"/>
                    <a:pt x="337" y="0"/>
                  </a:cubicBezTo>
                  <a:cubicBezTo>
                    <a:pt x="342" y="0"/>
                    <a:pt x="344" y="1"/>
                    <a:pt x="346" y="3"/>
                  </a:cubicBezTo>
                  <a:cubicBezTo>
                    <a:pt x="349" y="8"/>
                    <a:pt x="349" y="8"/>
                    <a:pt x="349" y="8"/>
                  </a:cubicBezTo>
                  <a:cubicBezTo>
                    <a:pt x="349" y="8"/>
                    <a:pt x="349" y="8"/>
                    <a:pt x="350" y="8"/>
                  </a:cubicBezTo>
                  <a:cubicBezTo>
                    <a:pt x="350" y="10"/>
                    <a:pt x="350" y="10"/>
                    <a:pt x="350" y="10"/>
                  </a:cubicBezTo>
                  <a:cubicBezTo>
                    <a:pt x="350" y="9"/>
                    <a:pt x="350" y="9"/>
                    <a:pt x="350" y="9"/>
                  </a:cubicBezTo>
                  <a:cubicBezTo>
                    <a:pt x="534" y="451"/>
                    <a:pt x="534" y="451"/>
                    <a:pt x="534" y="451"/>
                  </a:cubicBezTo>
                  <a:cubicBezTo>
                    <a:pt x="535" y="453"/>
                    <a:pt x="535" y="453"/>
                    <a:pt x="535" y="453"/>
                  </a:cubicBezTo>
                  <a:cubicBezTo>
                    <a:pt x="535" y="455"/>
                    <a:pt x="535" y="457"/>
                    <a:pt x="535" y="459"/>
                  </a:cubicBezTo>
                  <a:cubicBezTo>
                    <a:pt x="535" y="464"/>
                    <a:pt x="532" y="466"/>
                    <a:pt x="524" y="466"/>
                  </a:cubicBezTo>
                  <a:cubicBezTo>
                    <a:pt x="491" y="466"/>
                    <a:pt x="491" y="466"/>
                    <a:pt x="491" y="466"/>
                  </a:cubicBezTo>
                  <a:cubicBezTo>
                    <a:pt x="479" y="466"/>
                    <a:pt x="477" y="456"/>
                    <a:pt x="477" y="457"/>
                  </a:cubicBezTo>
                  <a:lnTo>
                    <a:pt x="465" y="425"/>
                  </a:lnTo>
                  <a:close/>
                </a:path>
              </a:pathLst>
            </a:custGeom>
            <a:solidFill>
              <a:srgbClr val="2580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 name="Freeform 6">
              <a:extLst>
                <a:ext uri="{FF2B5EF4-FFF2-40B4-BE49-F238E27FC236}">
                  <a16:creationId xmlns:a16="http://schemas.microsoft.com/office/drawing/2014/main" id="{BDA67CC7-1FFC-0AA6-1995-806C50B7A861}"/>
                </a:ext>
              </a:extLst>
            </p:cNvPr>
            <p:cNvSpPr>
              <a:spLocks noEditPoints="1"/>
            </p:cNvSpPr>
            <p:nvPr userDrawn="1"/>
          </p:nvSpPr>
          <p:spPr bwMode="auto">
            <a:xfrm>
              <a:off x="1456" y="1189"/>
              <a:ext cx="986" cy="1105"/>
            </a:xfrm>
            <a:custGeom>
              <a:avLst/>
              <a:gdLst>
                <a:gd name="T0" fmla="*/ 26658435 w 417"/>
                <a:gd name="T1" fmla="*/ 1104057219 h 466"/>
                <a:gd name="T2" fmla="*/ 0 w 417"/>
                <a:gd name="T3" fmla="*/ 1084997487 h 466"/>
                <a:gd name="T4" fmla="*/ 0 w 417"/>
                <a:gd name="T5" fmla="*/ 1071148297 h 466"/>
                <a:gd name="T6" fmla="*/ 2016564 w 417"/>
                <a:gd name="T7" fmla="*/ 1065967725 h 466"/>
                <a:gd name="T8" fmla="*/ 440005146 w 417"/>
                <a:gd name="T9" fmla="*/ 19018883 h 466"/>
                <a:gd name="T10" fmla="*/ 469546985 w 417"/>
                <a:gd name="T11" fmla="*/ 0 h 466"/>
                <a:gd name="T12" fmla="*/ 474377529 w 417"/>
                <a:gd name="T13" fmla="*/ 0 h 466"/>
                <a:gd name="T14" fmla="*/ 505945896 w 417"/>
                <a:gd name="T15" fmla="*/ 21137875 h 466"/>
                <a:gd name="T16" fmla="*/ 612172944 w 417"/>
                <a:gd name="T17" fmla="*/ 284828039 h 466"/>
                <a:gd name="T18" fmla="*/ 830540312 w 417"/>
                <a:gd name="T19" fmla="*/ 805128453 h 466"/>
                <a:gd name="T20" fmla="*/ 936767478 w 417"/>
                <a:gd name="T21" fmla="*/ 1065967725 h 466"/>
                <a:gd name="T22" fmla="*/ 936767478 w 417"/>
                <a:gd name="T23" fmla="*/ 1065967725 h 466"/>
                <a:gd name="T24" fmla="*/ 941198430 w 417"/>
                <a:gd name="T25" fmla="*/ 1084997487 h 466"/>
                <a:gd name="T26" fmla="*/ 914535082 w 417"/>
                <a:gd name="T27" fmla="*/ 1104057219 h 466"/>
                <a:gd name="T28" fmla="*/ 26658435 w 417"/>
                <a:gd name="T29" fmla="*/ 1104057219 h 466"/>
                <a:gd name="T30" fmla="*/ 173692259 w 417"/>
                <a:gd name="T31" fmla="*/ 974102843 h 466"/>
                <a:gd name="T32" fmla="*/ 332252753 w 417"/>
                <a:gd name="T33" fmla="*/ 974102843 h 466"/>
                <a:gd name="T34" fmla="*/ 767506131 w 417"/>
                <a:gd name="T35" fmla="*/ 974102843 h 466"/>
                <a:gd name="T36" fmla="*/ 471651445 w 417"/>
                <a:gd name="T37" fmla="*/ 238808028 h 466"/>
                <a:gd name="T38" fmla="*/ 173692259 w 417"/>
                <a:gd name="T39" fmla="*/ 974102843 h 4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17" h="466">
                  <a:moveTo>
                    <a:pt x="12" y="466"/>
                  </a:moveTo>
                  <a:cubicBezTo>
                    <a:pt x="4" y="466"/>
                    <a:pt x="0" y="463"/>
                    <a:pt x="0" y="458"/>
                  </a:cubicBezTo>
                  <a:cubicBezTo>
                    <a:pt x="0" y="455"/>
                    <a:pt x="0" y="453"/>
                    <a:pt x="0" y="452"/>
                  </a:cubicBezTo>
                  <a:cubicBezTo>
                    <a:pt x="1" y="450"/>
                    <a:pt x="1" y="450"/>
                    <a:pt x="1" y="450"/>
                  </a:cubicBezTo>
                  <a:cubicBezTo>
                    <a:pt x="195" y="8"/>
                    <a:pt x="195" y="8"/>
                    <a:pt x="195" y="8"/>
                  </a:cubicBezTo>
                  <a:cubicBezTo>
                    <a:pt x="196" y="5"/>
                    <a:pt x="197" y="0"/>
                    <a:pt x="208" y="0"/>
                  </a:cubicBezTo>
                  <a:cubicBezTo>
                    <a:pt x="210" y="0"/>
                    <a:pt x="210" y="0"/>
                    <a:pt x="210" y="0"/>
                  </a:cubicBezTo>
                  <a:cubicBezTo>
                    <a:pt x="222" y="0"/>
                    <a:pt x="222" y="7"/>
                    <a:pt x="224" y="9"/>
                  </a:cubicBezTo>
                  <a:cubicBezTo>
                    <a:pt x="239" y="46"/>
                    <a:pt x="255" y="83"/>
                    <a:pt x="271" y="120"/>
                  </a:cubicBezTo>
                  <a:cubicBezTo>
                    <a:pt x="368" y="340"/>
                    <a:pt x="368" y="340"/>
                    <a:pt x="368" y="340"/>
                  </a:cubicBezTo>
                  <a:cubicBezTo>
                    <a:pt x="384" y="377"/>
                    <a:pt x="400" y="414"/>
                    <a:pt x="415" y="450"/>
                  </a:cubicBezTo>
                  <a:cubicBezTo>
                    <a:pt x="415" y="450"/>
                    <a:pt x="415" y="450"/>
                    <a:pt x="415" y="450"/>
                  </a:cubicBezTo>
                  <a:cubicBezTo>
                    <a:pt x="417" y="458"/>
                    <a:pt x="417" y="458"/>
                    <a:pt x="417" y="458"/>
                  </a:cubicBezTo>
                  <a:cubicBezTo>
                    <a:pt x="417" y="463"/>
                    <a:pt x="413" y="466"/>
                    <a:pt x="405" y="466"/>
                  </a:cubicBezTo>
                  <a:lnTo>
                    <a:pt x="12" y="466"/>
                  </a:lnTo>
                  <a:close/>
                  <a:moveTo>
                    <a:pt x="77" y="411"/>
                  </a:moveTo>
                  <a:cubicBezTo>
                    <a:pt x="147" y="411"/>
                    <a:pt x="147" y="411"/>
                    <a:pt x="147" y="411"/>
                  </a:cubicBezTo>
                  <a:cubicBezTo>
                    <a:pt x="340" y="411"/>
                    <a:pt x="340" y="411"/>
                    <a:pt x="340" y="411"/>
                  </a:cubicBezTo>
                  <a:cubicBezTo>
                    <a:pt x="209" y="101"/>
                    <a:pt x="209" y="101"/>
                    <a:pt x="209" y="101"/>
                  </a:cubicBezTo>
                  <a:lnTo>
                    <a:pt x="77" y="411"/>
                  </a:lnTo>
                  <a:close/>
                </a:path>
              </a:pathLst>
            </a:custGeom>
            <a:solidFill>
              <a:srgbClr val="1993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 name="Freeform 7">
              <a:extLst>
                <a:ext uri="{FF2B5EF4-FFF2-40B4-BE49-F238E27FC236}">
                  <a16:creationId xmlns:a16="http://schemas.microsoft.com/office/drawing/2014/main" id="{6920D29D-5787-D7A0-FE4B-5648A0DD464A}"/>
                </a:ext>
              </a:extLst>
            </p:cNvPr>
            <p:cNvSpPr>
              <a:spLocks noEditPoints="1"/>
            </p:cNvSpPr>
            <p:nvPr userDrawn="1"/>
          </p:nvSpPr>
          <p:spPr bwMode="auto">
            <a:xfrm>
              <a:off x="2501" y="1189"/>
              <a:ext cx="1594" cy="1942"/>
            </a:xfrm>
            <a:custGeom>
              <a:avLst/>
              <a:gdLst>
                <a:gd name="T0" fmla="*/ 1483443497 w 674"/>
                <a:gd name="T1" fmla="*/ 1714655374 h 819"/>
                <a:gd name="T2" fmla="*/ 1526729097 w 674"/>
                <a:gd name="T3" fmla="*/ 1761916426 h 819"/>
                <a:gd name="T4" fmla="*/ 1526729097 w 674"/>
                <a:gd name="T5" fmla="*/ 1892482889 h 819"/>
                <a:gd name="T6" fmla="*/ 1483443497 w 674"/>
                <a:gd name="T7" fmla="*/ 1939529634 h 819"/>
                <a:gd name="T8" fmla="*/ 45037621 w 674"/>
                <a:gd name="T9" fmla="*/ 1939529634 h 819"/>
                <a:gd name="T10" fmla="*/ 2021131 w 674"/>
                <a:gd name="T11" fmla="*/ 1892482889 h 819"/>
                <a:gd name="T12" fmla="*/ 2021131 w 674"/>
                <a:gd name="T13" fmla="*/ 1747816468 h 819"/>
                <a:gd name="T14" fmla="*/ 4779945 w 674"/>
                <a:gd name="T15" fmla="*/ 1718918526 h 819"/>
                <a:gd name="T16" fmla="*/ 1173181872 w 674"/>
                <a:gd name="T17" fmla="*/ 224874255 h 819"/>
                <a:gd name="T18" fmla="*/ 67999529 w 674"/>
                <a:gd name="T19" fmla="*/ 224874255 h 819"/>
                <a:gd name="T20" fmla="*/ 23082570 w 674"/>
                <a:gd name="T21" fmla="*/ 177827380 h 819"/>
                <a:gd name="T22" fmla="*/ 23082570 w 674"/>
                <a:gd name="T23" fmla="*/ 39995312 h 819"/>
                <a:gd name="T24" fmla="*/ 67999529 w 674"/>
                <a:gd name="T25" fmla="*/ 0 h 819"/>
                <a:gd name="T26" fmla="*/ 1415437178 w 674"/>
                <a:gd name="T27" fmla="*/ 0 h 819"/>
                <a:gd name="T28" fmla="*/ 1460854109 w 674"/>
                <a:gd name="T29" fmla="*/ 45085377 h 819"/>
                <a:gd name="T30" fmla="*/ 1460854109 w 674"/>
                <a:gd name="T31" fmla="*/ 191701471 h 819"/>
                <a:gd name="T32" fmla="*/ 1458729657 w 674"/>
                <a:gd name="T33" fmla="*/ 205471911 h 819"/>
                <a:gd name="T34" fmla="*/ 1451728403 w 674"/>
                <a:gd name="T35" fmla="*/ 224874255 h 819"/>
                <a:gd name="T36" fmla="*/ 1453837196 w 674"/>
                <a:gd name="T37" fmla="*/ 220773085 h 819"/>
                <a:gd name="T38" fmla="*/ 298805398 w 674"/>
                <a:gd name="T39" fmla="*/ 1714655374 h 819"/>
                <a:gd name="T40" fmla="*/ 892477599 w 674"/>
                <a:gd name="T41" fmla="*/ 1714655374 h 819"/>
                <a:gd name="T42" fmla="*/ 1483443497 w 674"/>
                <a:gd name="T43" fmla="*/ 1714655374 h 819"/>
                <a:gd name="T44" fmla="*/ 901071203 w 674"/>
                <a:gd name="T45" fmla="*/ 1338067130 h 819"/>
                <a:gd name="T46" fmla="*/ 1485464242 w 674"/>
                <a:gd name="T47" fmla="*/ 1338067130 h 819"/>
                <a:gd name="T48" fmla="*/ 1526729097 w 674"/>
                <a:gd name="T49" fmla="*/ 1380181100 h 819"/>
                <a:gd name="T50" fmla="*/ 1526729097 w 674"/>
                <a:gd name="T51" fmla="*/ 1518014804 h 819"/>
                <a:gd name="T52" fmla="*/ 1485464242 w 674"/>
                <a:gd name="T53" fmla="*/ 1565124966 h 819"/>
                <a:gd name="T54" fmla="*/ 899479284 w 674"/>
                <a:gd name="T55" fmla="*/ 1565124966 h 819"/>
                <a:gd name="T56" fmla="*/ 858051680 w 674"/>
                <a:gd name="T57" fmla="*/ 1525126678 h 819"/>
                <a:gd name="T58" fmla="*/ 858051680 w 674"/>
                <a:gd name="T59" fmla="*/ 1385323779 h 819"/>
                <a:gd name="T60" fmla="*/ 872788267 w 674"/>
                <a:gd name="T61" fmla="*/ 1354121744 h 819"/>
                <a:gd name="T62" fmla="*/ 901071203 w 674"/>
                <a:gd name="T63" fmla="*/ 1338067130 h 81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74" h="819">
                  <a:moveTo>
                    <a:pt x="655" y="724"/>
                  </a:moveTo>
                  <a:cubicBezTo>
                    <a:pt x="654" y="724"/>
                    <a:pt x="674" y="721"/>
                    <a:pt x="674" y="744"/>
                  </a:cubicBezTo>
                  <a:cubicBezTo>
                    <a:pt x="674" y="799"/>
                    <a:pt x="674" y="799"/>
                    <a:pt x="674" y="799"/>
                  </a:cubicBezTo>
                  <a:cubicBezTo>
                    <a:pt x="674" y="809"/>
                    <a:pt x="666" y="819"/>
                    <a:pt x="655" y="819"/>
                  </a:cubicBezTo>
                  <a:cubicBezTo>
                    <a:pt x="20" y="819"/>
                    <a:pt x="20" y="819"/>
                    <a:pt x="20" y="819"/>
                  </a:cubicBezTo>
                  <a:cubicBezTo>
                    <a:pt x="10" y="819"/>
                    <a:pt x="0" y="811"/>
                    <a:pt x="1" y="799"/>
                  </a:cubicBezTo>
                  <a:cubicBezTo>
                    <a:pt x="1" y="738"/>
                    <a:pt x="1" y="738"/>
                    <a:pt x="1" y="738"/>
                  </a:cubicBezTo>
                  <a:cubicBezTo>
                    <a:pt x="0" y="735"/>
                    <a:pt x="2" y="730"/>
                    <a:pt x="2" y="726"/>
                  </a:cubicBezTo>
                  <a:cubicBezTo>
                    <a:pt x="518" y="95"/>
                    <a:pt x="518" y="95"/>
                    <a:pt x="518" y="95"/>
                  </a:cubicBezTo>
                  <a:cubicBezTo>
                    <a:pt x="30" y="95"/>
                    <a:pt x="30" y="95"/>
                    <a:pt x="30" y="95"/>
                  </a:cubicBezTo>
                  <a:cubicBezTo>
                    <a:pt x="15" y="95"/>
                    <a:pt x="10" y="88"/>
                    <a:pt x="10" y="75"/>
                  </a:cubicBezTo>
                  <a:cubicBezTo>
                    <a:pt x="10" y="17"/>
                    <a:pt x="10" y="17"/>
                    <a:pt x="10" y="17"/>
                  </a:cubicBezTo>
                  <a:cubicBezTo>
                    <a:pt x="10" y="5"/>
                    <a:pt x="15" y="0"/>
                    <a:pt x="30" y="0"/>
                  </a:cubicBezTo>
                  <a:cubicBezTo>
                    <a:pt x="625" y="0"/>
                    <a:pt x="625" y="0"/>
                    <a:pt x="625" y="0"/>
                  </a:cubicBezTo>
                  <a:cubicBezTo>
                    <a:pt x="637" y="0"/>
                    <a:pt x="645" y="6"/>
                    <a:pt x="645" y="19"/>
                  </a:cubicBezTo>
                  <a:cubicBezTo>
                    <a:pt x="645" y="81"/>
                    <a:pt x="645" y="81"/>
                    <a:pt x="645" y="81"/>
                  </a:cubicBezTo>
                  <a:cubicBezTo>
                    <a:pt x="645" y="82"/>
                    <a:pt x="645" y="85"/>
                    <a:pt x="644" y="87"/>
                  </a:cubicBezTo>
                  <a:cubicBezTo>
                    <a:pt x="641" y="95"/>
                    <a:pt x="641" y="95"/>
                    <a:pt x="641" y="95"/>
                  </a:cubicBezTo>
                  <a:cubicBezTo>
                    <a:pt x="642" y="93"/>
                    <a:pt x="642" y="93"/>
                    <a:pt x="642" y="93"/>
                  </a:cubicBezTo>
                  <a:cubicBezTo>
                    <a:pt x="132" y="724"/>
                    <a:pt x="132" y="724"/>
                    <a:pt x="132" y="724"/>
                  </a:cubicBezTo>
                  <a:cubicBezTo>
                    <a:pt x="394" y="724"/>
                    <a:pt x="394" y="724"/>
                    <a:pt x="394" y="724"/>
                  </a:cubicBezTo>
                  <a:lnTo>
                    <a:pt x="655" y="724"/>
                  </a:lnTo>
                  <a:close/>
                  <a:moveTo>
                    <a:pt x="398" y="565"/>
                  </a:moveTo>
                  <a:cubicBezTo>
                    <a:pt x="656" y="565"/>
                    <a:pt x="656" y="565"/>
                    <a:pt x="656" y="565"/>
                  </a:cubicBezTo>
                  <a:cubicBezTo>
                    <a:pt x="666" y="565"/>
                    <a:pt x="674" y="573"/>
                    <a:pt x="674" y="583"/>
                  </a:cubicBezTo>
                  <a:cubicBezTo>
                    <a:pt x="674" y="641"/>
                    <a:pt x="674" y="641"/>
                    <a:pt x="674" y="641"/>
                  </a:cubicBezTo>
                  <a:cubicBezTo>
                    <a:pt x="674" y="652"/>
                    <a:pt x="666" y="661"/>
                    <a:pt x="656" y="661"/>
                  </a:cubicBezTo>
                  <a:cubicBezTo>
                    <a:pt x="397" y="661"/>
                    <a:pt x="397" y="661"/>
                    <a:pt x="397" y="661"/>
                  </a:cubicBezTo>
                  <a:cubicBezTo>
                    <a:pt x="386" y="661"/>
                    <a:pt x="379" y="654"/>
                    <a:pt x="379" y="644"/>
                  </a:cubicBezTo>
                  <a:cubicBezTo>
                    <a:pt x="379" y="585"/>
                    <a:pt x="379" y="585"/>
                    <a:pt x="379" y="585"/>
                  </a:cubicBezTo>
                  <a:cubicBezTo>
                    <a:pt x="380" y="580"/>
                    <a:pt x="382" y="576"/>
                    <a:pt x="385" y="572"/>
                  </a:cubicBezTo>
                  <a:cubicBezTo>
                    <a:pt x="385" y="572"/>
                    <a:pt x="386" y="565"/>
                    <a:pt x="398" y="565"/>
                  </a:cubicBezTo>
                  <a:close/>
                </a:path>
              </a:pathLst>
            </a:custGeom>
            <a:solidFill>
              <a:srgbClr val="9EBE5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 name="Freeform 8">
              <a:extLst>
                <a:ext uri="{FF2B5EF4-FFF2-40B4-BE49-F238E27FC236}">
                  <a16:creationId xmlns:a16="http://schemas.microsoft.com/office/drawing/2014/main" id="{DB646439-8753-D6FB-43FC-5646B1DF6AE1}"/>
                </a:ext>
              </a:extLst>
            </p:cNvPr>
            <p:cNvSpPr>
              <a:spLocks noEditPoints="1"/>
            </p:cNvSpPr>
            <p:nvPr userDrawn="1"/>
          </p:nvSpPr>
          <p:spPr bwMode="auto">
            <a:xfrm>
              <a:off x="4133" y="1189"/>
              <a:ext cx="986" cy="1105"/>
            </a:xfrm>
            <a:custGeom>
              <a:avLst/>
              <a:gdLst>
                <a:gd name="T0" fmla="*/ 26658435 w 417"/>
                <a:gd name="T1" fmla="*/ 1104057219 h 466"/>
                <a:gd name="T2" fmla="*/ 2016564 w 417"/>
                <a:gd name="T3" fmla="*/ 1084997487 h 466"/>
                <a:gd name="T4" fmla="*/ 2016564 w 417"/>
                <a:gd name="T5" fmla="*/ 1071148297 h 466"/>
                <a:gd name="T6" fmla="*/ 4768183 w 417"/>
                <a:gd name="T7" fmla="*/ 1065967725 h 466"/>
                <a:gd name="T8" fmla="*/ 440005146 w 417"/>
                <a:gd name="T9" fmla="*/ 19018883 h 466"/>
                <a:gd name="T10" fmla="*/ 471651445 w 417"/>
                <a:gd name="T11" fmla="*/ 0 h 466"/>
                <a:gd name="T12" fmla="*/ 476419656 w 417"/>
                <a:gd name="T13" fmla="*/ 0 h 466"/>
                <a:gd name="T14" fmla="*/ 505945896 w 417"/>
                <a:gd name="T15" fmla="*/ 21137875 h 466"/>
                <a:gd name="T16" fmla="*/ 612172944 w 417"/>
                <a:gd name="T17" fmla="*/ 284828039 h 466"/>
                <a:gd name="T18" fmla="*/ 833293680 w 417"/>
                <a:gd name="T19" fmla="*/ 805128453 h 466"/>
                <a:gd name="T20" fmla="*/ 939517011 w 417"/>
                <a:gd name="T21" fmla="*/ 1065967725 h 466"/>
                <a:gd name="T22" fmla="*/ 936767478 w 417"/>
                <a:gd name="T23" fmla="*/ 1065967725 h 466"/>
                <a:gd name="T24" fmla="*/ 941198430 w 417"/>
                <a:gd name="T25" fmla="*/ 1084997487 h 466"/>
                <a:gd name="T26" fmla="*/ 916425650 w 417"/>
                <a:gd name="T27" fmla="*/ 1104057219 h 466"/>
                <a:gd name="T28" fmla="*/ 26658435 w 417"/>
                <a:gd name="T29" fmla="*/ 1104057219 h 466"/>
                <a:gd name="T30" fmla="*/ 173692259 w 417"/>
                <a:gd name="T31" fmla="*/ 974102843 h 466"/>
                <a:gd name="T32" fmla="*/ 332252753 w 417"/>
                <a:gd name="T33" fmla="*/ 974102843 h 466"/>
                <a:gd name="T34" fmla="*/ 767506131 w 417"/>
                <a:gd name="T35" fmla="*/ 974102843 h 466"/>
                <a:gd name="T36" fmla="*/ 471651445 w 417"/>
                <a:gd name="T37" fmla="*/ 238808028 h 466"/>
                <a:gd name="T38" fmla="*/ 173692259 w 417"/>
                <a:gd name="T39" fmla="*/ 974102843 h 4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17" h="466">
                  <a:moveTo>
                    <a:pt x="12" y="466"/>
                  </a:moveTo>
                  <a:cubicBezTo>
                    <a:pt x="4" y="466"/>
                    <a:pt x="0" y="463"/>
                    <a:pt x="1" y="458"/>
                  </a:cubicBezTo>
                  <a:cubicBezTo>
                    <a:pt x="0" y="455"/>
                    <a:pt x="0" y="453"/>
                    <a:pt x="1" y="452"/>
                  </a:cubicBezTo>
                  <a:cubicBezTo>
                    <a:pt x="2" y="450"/>
                    <a:pt x="2" y="450"/>
                    <a:pt x="2" y="450"/>
                  </a:cubicBezTo>
                  <a:cubicBezTo>
                    <a:pt x="195" y="8"/>
                    <a:pt x="195" y="8"/>
                    <a:pt x="195" y="8"/>
                  </a:cubicBezTo>
                  <a:cubicBezTo>
                    <a:pt x="197" y="5"/>
                    <a:pt x="198" y="0"/>
                    <a:pt x="209" y="0"/>
                  </a:cubicBezTo>
                  <a:cubicBezTo>
                    <a:pt x="211" y="0"/>
                    <a:pt x="211" y="0"/>
                    <a:pt x="211" y="0"/>
                  </a:cubicBezTo>
                  <a:cubicBezTo>
                    <a:pt x="222" y="0"/>
                    <a:pt x="223" y="7"/>
                    <a:pt x="224" y="9"/>
                  </a:cubicBezTo>
                  <a:cubicBezTo>
                    <a:pt x="239" y="46"/>
                    <a:pt x="255" y="83"/>
                    <a:pt x="271" y="120"/>
                  </a:cubicBezTo>
                  <a:cubicBezTo>
                    <a:pt x="369" y="340"/>
                    <a:pt x="369" y="340"/>
                    <a:pt x="369" y="340"/>
                  </a:cubicBezTo>
                  <a:cubicBezTo>
                    <a:pt x="385" y="377"/>
                    <a:pt x="401" y="414"/>
                    <a:pt x="416" y="450"/>
                  </a:cubicBezTo>
                  <a:cubicBezTo>
                    <a:pt x="415" y="450"/>
                    <a:pt x="415" y="450"/>
                    <a:pt x="415" y="450"/>
                  </a:cubicBezTo>
                  <a:cubicBezTo>
                    <a:pt x="417" y="458"/>
                    <a:pt x="417" y="458"/>
                    <a:pt x="417" y="458"/>
                  </a:cubicBezTo>
                  <a:cubicBezTo>
                    <a:pt x="417" y="463"/>
                    <a:pt x="414" y="466"/>
                    <a:pt x="406" y="466"/>
                  </a:cubicBezTo>
                  <a:lnTo>
                    <a:pt x="12" y="466"/>
                  </a:lnTo>
                  <a:close/>
                  <a:moveTo>
                    <a:pt x="77" y="411"/>
                  </a:moveTo>
                  <a:cubicBezTo>
                    <a:pt x="147" y="411"/>
                    <a:pt x="147" y="411"/>
                    <a:pt x="147" y="411"/>
                  </a:cubicBezTo>
                  <a:cubicBezTo>
                    <a:pt x="340" y="411"/>
                    <a:pt x="340" y="411"/>
                    <a:pt x="340" y="411"/>
                  </a:cubicBezTo>
                  <a:cubicBezTo>
                    <a:pt x="209" y="101"/>
                    <a:pt x="209" y="101"/>
                    <a:pt x="209" y="101"/>
                  </a:cubicBezTo>
                  <a:lnTo>
                    <a:pt x="77" y="411"/>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9" name="Freeform 9">
              <a:extLst>
                <a:ext uri="{FF2B5EF4-FFF2-40B4-BE49-F238E27FC236}">
                  <a16:creationId xmlns:a16="http://schemas.microsoft.com/office/drawing/2014/main" id="{942E883A-3A76-CF62-3094-FC5AA18E5D69}"/>
                </a:ext>
              </a:extLst>
            </p:cNvPr>
            <p:cNvSpPr>
              <a:spLocks noEditPoints="1"/>
            </p:cNvSpPr>
            <p:nvPr userDrawn="1"/>
          </p:nvSpPr>
          <p:spPr bwMode="auto">
            <a:xfrm>
              <a:off x="5259" y="1187"/>
              <a:ext cx="941" cy="1107"/>
            </a:xfrm>
            <a:custGeom>
              <a:avLst/>
              <a:gdLst>
                <a:gd name="T0" fmla="*/ 897379222 w 398"/>
                <a:gd name="T1" fmla="*/ 30594420 h 467"/>
                <a:gd name="T2" fmla="*/ 890358234 w 398"/>
                <a:gd name="T3" fmla="*/ 1076168270 h 467"/>
                <a:gd name="T4" fmla="*/ 863748004 w 398"/>
                <a:gd name="T5" fmla="*/ 1100058818 h 467"/>
                <a:gd name="T6" fmla="*/ 771485685 w 398"/>
                <a:gd name="T7" fmla="*/ 1100058818 h 467"/>
                <a:gd name="T8" fmla="*/ 125893508 w 398"/>
                <a:gd name="T9" fmla="*/ 184128005 h 467"/>
                <a:gd name="T10" fmla="*/ 122136901 w 398"/>
                <a:gd name="T11" fmla="*/ 754173992 h 467"/>
                <a:gd name="T12" fmla="*/ 376580847 w 398"/>
                <a:gd name="T13" fmla="*/ 754173992 h 467"/>
                <a:gd name="T14" fmla="*/ 398430025 w 398"/>
                <a:gd name="T15" fmla="*/ 777275989 h 467"/>
                <a:gd name="T16" fmla="*/ 398430025 w 398"/>
                <a:gd name="T17" fmla="*/ 854743724 h 467"/>
                <a:gd name="T18" fmla="*/ 376580847 w 398"/>
                <a:gd name="T19" fmla="*/ 883384289 h 467"/>
                <a:gd name="T20" fmla="*/ 24536535 w 398"/>
                <a:gd name="T21" fmla="*/ 878310296 h 467"/>
                <a:gd name="T22" fmla="*/ 23013058 w 398"/>
                <a:gd name="T23" fmla="*/ 878310296 h 467"/>
                <a:gd name="T24" fmla="*/ 0 w 398"/>
                <a:gd name="T25" fmla="*/ 859366371 h 467"/>
                <a:gd name="T26" fmla="*/ 6865536 w 398"/>
                <a:gd name="T27" fmla="*/ 25974653 h 467"/>
                <a:gd name="T28" fmla="*/ 31374522 w 398"/>
                <a:gd name="T29" fmla="*/ 2072546 h 467"/>
                <a:gd name="T30" fmla="*/ 125893508 w 398"/>
                <a:gd name="T31" fmla="*/ 2072546 h 467"/>
                <a:gd name="T32" fmla="*/ 148746381 w 398"/>
                <a:gd name="T33" fmla="*/ 13823806 h 467"/>
                <a:gd name="T34" fmla="*/ 768580627 w 398"/>
                <a:gd name="T35" fmla="*/ 885333514 h 467"/>
                <a:gd name="T36" fmla="*/ 775022528 w 398"/>
                <a:gd name="T37" fmla="*/ 23886284 h 467"/>
                <a:gd name="T38" fmla="*/ 798083455 w 398"/>
                <a:gd name="T39" fmla="*/ 7074865 h 467"/>
                <a:gd name="T40" fmla="*/ 870741434 w 398"/>
                <a:gd name="T41" fmla="*/ 7074865 h 467"/>
                <a:gd name="T42" fmla="*/ 888769892 w 398"/>
                <a:gd name="T43" fmla="*/ 13823806 h 467"/>
                <a:gd name="T44" fmla="*/ 897379222 w 398"/>
                <a:gd name="T45" fmla="*/ 30594420 h 467"/>
                <a:gd name="T46" fmla="*/ 502483131 w 398"/>
                <a:gd name="T47" fmla="*/ 967923553 h 467"/>
                <a:gd name="T48" fmla="*/ 525479561 w 398"/>
                <a:gd name="T49" fmla="*/ 991784983 h 467"/>
                <a:gd name="T50" fmla="*/ 525479561 w 398"/>
                <a:gd name="T51" fmla="*/ 1069462303 h 467"/>
                <a:gd name="T52" fmla="*/ 502483131 w 398"/>
                <a:gd name="T53" fmla="*/ 1097986322 h 467"/>
                <a:gd name="T54" fmla="*/ 23013058 w 398"/>
                <a:gd name="T55" fmla="*/ 1097986322 h 467"/>
                <a:gd name="T56" fmla="*/ 0 w 398"/>
                <a:gd name="T57" fmla="*/ 1074095937 h 467"/>
                <a:gd name="T58" fmla="*/ 0 w 398"/>
                <a:gd name="T59" fmla="*/ 993579494 h 467"/>
                <a:gd name="T60" fmla="*/ 24536535 w 398"/>
                <a:gd name="T61" fmla="*/ 967923553 h 467"/>
                <a:gd name="T62" fmla="*/ 264174943 w 398"/>
                <a:gd name="T63" fmla="*/ 967923553 h 467"/>
                <a:gd name="T64" fmla="*/ 502483131 w 398"/>
                <a:gd name="T65" fmla="*/ 967923553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98" h="467">
                  <a:moveTo>
                    <a:pt x="398" y="13"/>
                  </a:moveTo>
                  <a:cubicBezTo>
                    <a:pt x="395" y="457"/>
                    <a:pt x="395" y="457"/>
                    <a:pt x="395" y="457"/>
                  </a:cubicBezTo>
                  <a:cubicBezTo>
                    <a:pt x="395" y="464"/>
                    <a:pt x="390" y="467"/>
                    <a:pt x="383" y="467"/>
                  </a:cubicBezTo>
                  <a:cubicBezTo>
                    <a:pt x="342" y="467"/>
                    <a:pt x="342" y="467"/>
                    <a:pt x="342" y="467"/>
                  </a:cubicBezTo>
                  <a:cubicBezTo>
                    <a:pt x="56" y="78"/>
                    <a:pt x="56" y="78"/>
                    <a:pt x="56" y="78"/>
                  </a:cubicBezTo>
                  <a:cubicBezTo>
                    <a:pt x="54" y="320"/>
                    <a:pt x="54" y="320"/>
                    <a:pt x="54" y="320"/>
                  </a:cubicBezTo>
                  <a:cubicBezTo>
                    <a:pt x="167" y="320"/>
                    <a:pt x="167" y="320"/>
                    <a:pt x="167" y="320"/>
                  </a:cubicBezTo>
                  <a:cubicBezTo>
                    <a:pt x="173" y="320"/>
                    <a:pt x="177" y="324"/>
                    <a:pt x="177" y="330"/>
                  </a:cubicBezTo>
                  <a:cubicBezTo>
                    <a:pt x="177" y="363"/>
                    <a:pt x="177" y="363"/>
                    <a:pt x="177" y="363"/>
                  </a:cubicBezTo>
                  <a:cubicBezTo>
                    <a:pt x="177" y="369"/>
                    <a:pt x="173" y="375"/>
                    <a:pt x="167" y="375"/>
                  </a:cubicBezTo>
                  <a:cubicBezTo>
                    <a:pt x="11" y="373"/>
                    <a:pt x="11" y="373"/>
                    <a:pt x="11" y="373"/>
                  </a:cubicBezTo>
                  <a:cubicBezTo>
                    <a:pt x="10" y="373"/>
                    <a:pt x="10" y="373"/>
                    <a:pt x="10" y="373"/>
                  </a:cubicBezTo>
                  <a:cubicBezTo>
                    <a:pt x="4" y="373"/>
                    <a:pt x="1" y="370"/>
                    <a:pt x="0" y="365"/>
                  </a:cubicBezTo>
                  <a:cubicBezTo>
                    <a:pt x="3" y="11"/>
                    <a:pt x="3" y="11"/>
                    <a:pt x="3" y="11"/>
                  </a:cubicBezTo>
                  <a:cubicBezTo>
                    <a:pt x="3" y="5"/>
                    <a:pt x="7" y="0"/>
                    <a:pt x="14" y="1"/>
                  </a:cubicBezTo>
                  <a:cubicBezTo>
                    <a:pt x="56" y="1"/>
                    <a:pt x="56" y="1"/>
                    <a:pt x="56" y="1"/>
                  </a:cubicBezTo>
                  <a:cubicBezTo>
                    <a:pt x="60" y="1"/>
                    <a:pt x="64" y="3"/>
                    <a:pt x="66" y="6"/>
                  </a:cubicBezTo>
                  <a:cubicBezTo>
                    <a:pt x="341" y="376"/>
                    <a:pt x="341" y="376"/>
                    <a:pt x="341" y="376"/>
                  </a:cubicBezTo>
                  <a:cubicBezTo>
                    <a:pt x="344" y="10"/>
                    <a:pt x="344" y="10"/>
                    <a:pt x="344" y="10"/>
                  </a:cubicBezTo>
                  <a:cubicBezTo>
                    <a:pt x="345" y="5"/>
                    <a:pt x="349" y="3"/>
                    <a:pt x="354" y="3"/>
                  </a:cubicBezTo>
                  <a:cubicBezTo>
                    <a:pt x="386" y="3"/>
                    <a:pt x="386" y="3"/>
                    <a:pt x="386" y="3"/>
                  </a:cubicBezTo>
                  <a:cubicBezTo>
                    <a:pt x="389" y="3"/>
                    <a:pt x="391" y="4"/>
                    <a:pt x="394" y="6"/>
                  </a:cubicBezTo>
                  <a:cubicBezTo>
                    <a:pt x="396" y="7"/>
                    <a:pt x="398" y="10"/>
                    <a:pt x="398" y="13"/>
                  </a:cubicBezTo>
                  <a:close/>
                  <a:moveTo>
                    <a:pt x="223" y="411"/>
                  </a:moveTo>
                  <a:cubicBezTo>
                    <a:pt x="229" y="411"/>
                    <a:pt x="233" y="415"/>
                    <a:pt x="233" y="421"/>
                  </a:cubicBezTo>
                  <a:cubicBezTo>
                    <a:pt x="233" y="454"/>
                    <a:pt x="233" y="454"/>
                    <a:pt x="233" y="454"/>
                  </a:cubicBezTo>
                  <a:cubicBezTo>
                    <a:pt x="233" y="460"/>
                    <a:pt x="230" y="466"/>
                    <a:pt x="223" y="466"/>
                  </a:cubicBezTo>
                  <a:cubicBezTo>
                    <a:pt x="10" y="466"/>
                    <a:pt x="10" y="466"/>
                    <a:pt x="10" y="466"/>
                  </a:cubicBezTo>
                  <a:cubicBezTo>
                    <a:pt x="4" y="466"/>
                    <a:pt x="0" y="462"/>
                    <a:pt x="0" y="456"/>
                  </a:cubicBezTo>
                  <a:cubicBezTo>
                    <a:pt x="0" y="422"/>
                    <a:pt x="0" y="422"/>
                    <a:pt x="0" y="422"/>
                  </a:cubicBezTo>
                  <a:cubicBezTo>
                    <a:pt x="0" y="416"/>
                    <a:pt x="4" y="411"/>
                    <a:pt x="11" y="411"/>
                  </a:cubicBezTo>
                  <a:cubicBezTo>
                    <a:pt x="117" y="411"/>
                    <a:pt x="117" y="411"/>
                    <a:pt x="117" y="411"/>
                  </a:cubicBezTo>
                  <a:lnTo>
                    <a:pt x="223" y="411"/>
                  </a:lnTo>
                  <a:close/>
                </a:path>
              </a:pathLst>
            </a:custGeom>
            <a:solidFill>
              <a:srgbClr val="C03B2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0" name="Freeform 10">
              <a:extLst>
                <a:ext uri="{FF2B5EF4-FFF2-40B4-BE49-F238E27FC236}">
                  <a16:creationId xmlns:a16="http://schemas.microsoft.com/office/drawing/2014/main" id="{15E6F304-06EA-A21D-33B7-B15F25122290}"/>
                </a:ext>
              </a:extLst>
            </p:cNvPr>
            <p:cNvSpPr>
              <a:spLocks noEditPoints="1"/>
            </p:cNvSpPr>
            <p:nvPr userDrawn="1"/>
          </p:nvSpPr>
          <p:spPr bwMode="auto">
            <a:xfrm>
              <a:off x="6280" y="1189"/>
              <a:ext cx="1102" cy="1105"/>
            </a:xfrm>
            <a:custGeom>
              <a:avLst/>
              <a:gdLst>
                <a:gd name="T0" fmla="*/ 154128366 w 466"/>
                <a:gd name="T1" fmla="*/ 943010351 h 466"/>
                <a:gd name="T2" fmla="*/ 0 w 466"/>
                <a:gd name="T3" fmla="*/ 552442640 h 466"/>
                <a:gd name="T4" fmla="*/ 154128366 w 466"/>
                <a:gd name="T5" fmla="*/ 163833771 h 466"/>
                <a:gd name="T6" fmla="*/ 527029454 w 466"/>
                <a:gd name="T7" fmla="*/ 0 h 466"/>
                <a:gd name="T8" fmla="*/ 900145882 w 466"/>
                <a:gd name="T9" fmla="*/ 163833771 h 466"/>
                <a:gd name="T10" fmla="*/ 1054209675 w 466"/>
                <a:gd name="T11" fmla="*/ 552442640 h 466"/>
                <a:gd name="T12" fmla="*/ 900145882 w 466"/>
                <a:gd name="T13" fmla="*/ 943010351 h 466"/>
                <a:gd name="T14" fmla="*/ 527029454 w 466"/>
                <a:gd name="T15" fmla="*/ 1104057219 h 466"/>
                <a:gd name="T16" fmla="*/ 154128366 w 466"/>
                <a:gd name="T17" fmla="*/ 943010351 h 466"/>
                <a:gd name="T18" fmla="*/ 237118879 w 466"/>
                <a:gd name="T19" fmla="*/ 248554821 h 466"/>
                <a:gd name="T20" fmla="*/ 117706387 w 466"/>
                <a:gd name="T21" fmla="*/ 552442640 h 466"/>
                <a:gd name="T22" fmla="*/ 237118879 w 466"/>
                <a:gd name="T23" fmla="*/ 855407497 h 466"/>
                <a:gd name="T24" fmla="*/ 527029454 w 466"/>
                <a:gd name="T25" fmla="*/ 983016883 h 466"/>
                <a:gd name="T26" fmla="*/ 817155276 w 466"/>
                <a:gd name="T27" fmla="*/ 855407497 h 466"/>
                <a:gd name="T28" fmla="*/ 938406617 w 466"/>
                <a:gd name="T29" fmla="*/ 552442640 h 466"/>
                <a:gd name="T30" fmla="*/ 817155276 w 466"/>
                <a:gd name="T31" fmla="*/ 248554821 h 466"/>
                <a:gd name="T32" fmla="*/ 527029454 w 466"/>
                <a:gd name="T33" fmla="*/ 121039414 h 466"/>
                <a:gd name="T34" fmla="*/ 237118879 w 466"/>
                <a:gd name="T35" fmla="*/ 248554821 h 4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6" h="466">
                  <a:moveTo>
                    <a:pt x="68" y="398"/>
                  </a:moveTo>
                  <a:cubicBezTo>
                    <a:pt x="24" y="354"/>
                    <a:pt x="2" y="299"/>
                    <a:pt x="0" y="233"/>
                  </a:cubicBezTo>
                  <a:cubicBezTo>
                    <a:pt x="2" y="167"/>
                    <a:pt x="24" y="112"/>
                    <a:pt x="68" y="69"/>
                  </a:cubicBezTo>
                  <a:cubicBezTo>
                    <a:pt x="112" y="24"/>
                    <a:pt x="167" y="2"/>
                    <a:pt x="233" y="0"/>
                  </a:cubicBezTo>
                  <a:cubicBezTo>
                    <a:pt x="299" y="2"/>
                    <a:pt x="354" y="24"/>
                    <a:pt x="398" y="69"/>
                  </a:cubicBezTo>
                  <a:cubicBezTo>
                    <a:pt x="442" y="112"/>
                    <a:pt x="465" y="167"/>
                    <a:pt x="466" y="233"/>
                  </a:cubicBezTo>
                  <a:cubicBezTo>
                    <a:pt x="465" y="299"/>
                    <a:pt x="442" y="354"/>
                    <a:pt x="398" y="398"/>
                  </a:cubicBezTo>
                  <a:cubicBezTo>
                    <a:pt x="354" y="441"/>
                    <a:pt x="299" y="464"/>
                    <a:pt x="233" y="466"/>
                  </a:cubicBezTo>
                  <a:cubicBezTo>
                    <a:pt x="167" y="464"/>
                    <a:pt x="112" y="441"/>
                    <a:pt x="68" y="398"/>
                  </a:cubicBezTo>
                  <a:close/>
                  <a:moveTo>
                    <a:pt x="105" y="105"/>
                  </a:moveTo>
                  <a:cubicBezTo>
                    <a:pt x="70" y="139"/>
                    <a:pt x="53" y="181"/>
                    <a:pt x="52" y="233"/>
                  </a:cubicBezTo>
                  <a:cubicBezTo>
                    <a:pt x="53" y="284"/>
                    <a:pt x="70" y="327"/>
                    <a:pt x="105" y="361"/>
                  </a:cubicBezTo>
                  <a:cubicBezTo>
                    <a:pt x="139" y="395"/>
                    <a:pt x="181" y="413"/>
                    <a:pt x="233" y="415"/>
                  </a:cubicBezTo>
                  <a:cubicBezTo>
                    <a:pt x="284" y="413"/>
                    <a:pt x="327" y="395"/>
                    <a:pt x="361" y="361"/>
                  </a:cubicBezTo>
                  <a:cubicBezTo>
                    <a:pt x="395" y="327"/>
                    <a:pt x="413" y="284"/>
                    <a:pt x="415" y="233"/>
                  </a:cubicBezTo>
                  <a:cubicBezTo>
                    <a:pt x="413" y="181"/>
                    <a:pt x="395" y="139"/>
                    <a:pt x="361" y="105"/>
                  </a:cubicBezTo>
                  <a:cubicBezTo>
                    <a:pt x="327" y="71"/>
                    <a:pt x="284" y="53"/>
                    <a:pt x="233" y="51"/>
                  </a:cubicBezTo>
                  <a:cubicBezTo>
                    <a:pt x="181" y="53"/>
                    <a:pt x="139" y="71"/>
                    <a:pt x="105" y="105"/>
                  </a:cubicBezTo>
                  <a:close/>
                </a:path>
              </a:pathLst>
            </a:custGeom>
            <a:solidFill>
              <a:srgbClr val="64324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1" name="Freeform 11">
              <a:extLst>
                <a:ext uri="{FF2B5EF4-FFF2-40B4-BE49-F238E27FC236}">
                  <a16:creationId xmlns:a16="http://schemas.microsoft.com/office/drawing/2014/main" id="{E6AF1CED-099B-8297-7A3E-FFAA81718781}"/>
                </a:ext>
              </a:extLst>
            </p:cNvPr>
            <p:cNvSpPr>
              <a:spLocks noEditPoints="1"/>
            </p:cNvSpPr>
            <p:nvPr userDrawn="1"/>
          </p:nvSpPr>
          <p:spPr bwMode="auto">
            <a:xfrm>
              <a:off x="4230" y="2552"/>
              <a:ext cx="334" cy="551"/>
            </a:xfrm>
            <a:custGeom>
              <a:avLst/>
              <a:gdLst>
                <a:gd name="T0" fmla="*/ 0 w 334"/>
                <a:gd name="T1" fmla="*/ 0 h 551"/>
                <a:gd name="T2" fmla="*/ 334 w 334"/>
                <a:gd name="T3" fmla="*/ 0 h 551"/>
                <a:gd name="T4" fmla="*/ 334 w 334"/>
                <a:gd name="T5" fmla="*/ 31 h 551"/>
                <a:gd name="T6" fmla="*/ 0 w 334"/>
                <a:gd name="T7" fmla="*/ 31 h 551"/>
                <a:gd name="T8" fmla="*/ 0 w 334"/>
                <a:gd name="T9" fmla="*/ 0 h 551"/>
                <a:gd name="T10" fmla="*/ 156 w 334"/>
                <a:gd name="T11" fmla="*/ 50 h 551"/>
                <a:gd name="T12" fmla="*/ 156 w 334"/>
                <a:gd name="T13" fmla="*/ 551 h 551"/>
                <a:gd name="T14" fmla="*/ 128 w 334"/>
                <a:gd name="T15" fmla="*/ 551 h 551"/>
                <a:gd name="T16" fmla="*/ 128 w 334"/>
                <a:gd name="T17" fmla="*/ 79 h 551"/>
                <a:gd name="T18" fmla="*/ 0 w 334"/>
                <a:gd name="T19" fmla="*/ 79 h 551"/>
                <a:gd name="T20" fmla="*/ 0 w 334"/>
                <a:gd name="T21" fmla="*/ 50 h 551"/>
                <a:gd name="T22" fmla="*/ 156 w 334"/>
                <a:gd name="T23" fmla="*/ 50 h 551"/>
                <a:gd name="T24" fmla="*/ 334 w 334"/>
                <a:gd name="T25" fmla="*/ 50 h 551"/>
                <a:gd name="T26" fmla="*/ 334 w 334"/>
                <a:gd name="T27" fmla="*/ 79 h 551"/>
                <a:gd name="T28" fmla="*/ 206 w 334"/>
                <a:gd name="T29" fmla="*/ 79 h 551"/>
                <a:gd name="T30" fmla="*/ 206 w 334"/>
                <a:gd name="T31" fmla="*/ 551 h 551"/>
                <a:gd name="T32" fmla="*/ 175 w 334"/>
                <a:gd name="T33" fmla="*/ 551 h 551"/>
                <a:gd name="T34" fmla="*/ 175 w 334"/>
                <a:gd name="T35" fmla="*/ 50 h 551"/>
                <a:gd name="T36" fmla="*/ 334 w 334"/>
                <a:gd name="T37" fmla="*/ 50 h 5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34" h="551">
                  <a:moveTo>
                    <a:pt x="0" y="0"/>
                  </a:moveTo>
                  <a:lnTo>
                    <a:pt x="334" y="0"/>
                  </a:lnTo>
                  <a:lnTo>
                    <a:pt x="334" y="31"/>
                  </a:lnTo>
                  <a:lnTo>
                    <a:pt x="0" y="31"/>
                  </a:lnTo>
                  <a:lnTo>
                    <a:pt x="0" y="0"/>
                  </a:lnTo>
                  <a:close/>
                  <a:moveTo>
                    <a:pt x="156" y="50"/>
                  </a:moveTo>
                  <a:lnTo>
                    <a:pt x="156" y="551"/>
                  </a:lnTo>
                  <a:lnTo>
                    <a:pt x="128" y="551"/>
                  </a:lnTo>
                  <a:lnTo>
                    <a:pt x="128" y="79"/>
                  </a:lnTo>
                  <a:lnTo>
                    <a:pt x="0" y="79"/>
                  </a:lnTo>
                  <a:lnTo>
                    <a:pt x="0" y="50"/>
                  </a:lnTo>
                  <a:lnTo>
                    <a:pt x="156" y="50"/>
                  </a:lnTo>
                  <a:close/>
                  <a:moveTo>
                    <a:pt x="334" y="50"/>
                  </a:moveTo>
                  <a:lnTo>
                    <a:pt x="334" y="79"/>
                  </a:lnTo>
                  <a:lnTo>
                    <a:pt x="206" y="79"/>
                  </a:lnTo>
                  <a:lnTo>
                    <a:pt x="206" y="551"/>
                  </a:lnTo>
                  <a:lnTo>
                    <a:pt x="175" y="551"/>
                  </a:lnTo>
                  <a:lnTo>
                    <a:pt x="175" y="50"/>
                  </a:lnTo>
                  <a:lnTo>
                    <a:pt x="334" y="50"/>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12">
              <a:extLst>
                <a:ext uri="{FF2B5EF4-FFF2-40B4-BE49-F238E27FC236}">
                  <a16:creationId xmlns:a16="http://schemas.microsoft.com/office/drawing/2014/main" id="{2D4B3B85-C21C-20B2-E883-AEF2B0A2C359}"/>
                </a:ext>
              </a:extLst>
            </p:cNvPr>
            <p:cNvSpPr>
              <a:spLocks noEditPoints="1"/>
            </p:cNvSpPr>
            <p:nvPr userDrawn="1"/>
          </p:nvSpPr>
          <p:spPr bwMode="auto">
            <a:xfrm>
              <a:off x="4599" y="2552"/>
              <a:ext cx="312" cy="551"/>
            </a:xfrm>
            <a:custGeom>
              <a:avLst/>
              <a:gdLst>
                <a:gd name="T0" fmla="*/ 295891719 w 132"/>
                <a:gd name="T1" fmla="*/ 0 h 232"/>
                <a:gd name="T2" fmla="*/ 295891719 w 132"/>
                <a:gd name="T3" fmla="*/ 31976658 h 232"/>
                <a:gd name="T4" fmla="*/ 111981461 w 132"/>
                <a:gd name="T5" fmla="*/ 31976658 h 232"/>
                <a:gd name="T6" fmla="*/ 51443210 w 132"/>
                <a:gd name="T7" fmla="*/ 58299493 h 232"/>
                <a:gd name="T8" fmla="*/ 26510905 w 132"/>
                <a:gd name="T9" fmla="*/ 122107630 h 232"/>
                <a:gd name="T10" fmla="*/ 26510905 w 132"/>
                <a:gd name="T11" fmla="*/ 442759715 h 232"/>
                <a:gd name="T12" fmla="*/ 51443210 w 132"/>
                <a:gd name="T13" fmla="*/ 508305993 h 232"/>
                <a:gd name="T14" fmla="*/ 111981461 w 132"/>
                <a:gd name="T15" fmla="*/ 535913430 h 232"/>
                <a:gd name="T16" fmla="*/ 295891719 w 132"/>
                <a:gd name="T17" fmla="*/ 535913430 h 232"/>
                <a:gd name="T18" fmla="*/ 295891719 w 132"/>
                <a:gd name="T19" fmla="*/ 564828430 h 232"/>
                <a:gd name="T20" fmla="*/ 111981461 w 132"/>
                <a:gd name="T21" fmla="*/ 564828430 h 232"/>
                <a:gd name="T22" fmla="*/ 33265636 w 132"/>
                <a:gd name="T23" fmla="*/ 527724589 h 232"/>
                <a:gd name="T24" fmla="*/ 0 w 132"/>
                <a:gd name="T25" fmla="*/ 442759715 h 232"/>
                <a:gd name="T26" fmla="*/ 0 w 132"/>
                <a:gd name="T27" fmla="*/ 122107630 h 232"/>
                <a:gd name="T28" fmla="*/ 33265636 w 132"/>
                <a:gd name="T29" fmla="*/ 37103839 h 232"/>
                <a:gd name="T30" fmla="*/ 111981461 w 132"/>
                <a:gd name="T31" fmla="*/ 0 h 232"/>
                <a:gd name="T32" fmla="*/ 295891719 w 132"/>
                <a:gd name="T33" fmla="*/ 0 h 232"/>
                <a:gd name="T34" fmla="*/ 47376772 w 132"/>
                <a:gd name="T35" fmla="*/ 122107630 h 232"/>
                <a:gd name="T36" fmla="*/ 65404189 w 132"/>
                <a:gd name="T37" fmla="*/ 70832843 h 232"/>
                <a:gd name="T38" fmla="*/ 111981461 w 132"/>
                <a:gd name="T39" fmla="*/ 51413739 h 232"/>
                <a:gd name="T40" fmla="*/ 295891719 w 132"/>
                <a:gd name="T41" fmla="*/ 51413739 h 232"/>
                <a:gd name="T42" fmla="*/ 295891719 w 132"/>
                <a:gd name="T43" fmla="*/ 79781492 h 232"/>
                <a:gd name="T44" fmla="*/ 111981461 w 132"/>
                <a:gd name="T45" fmla="*/ 79781492 h 232"/>
                <a:gd name="T46" fmla="*/ 85443339 w 132"/>
                <a:gd name="T47" fmla="*/ 92335711 h 232"/>
                <a:gd name="T48" fmla="*/ 73893437 w 132"/>
                <a:gd name="T49" fmla="*/ 122107630 h 232"/>
                <a:gd name="T50" fmla="*/ 73893437 w 132"/>
                <a:gd name="T51" fmla="*/ 202009418 h 232"/>
                <a:gd name="T52" fmla="*/ 295891719 w 132"/>
                <a:gd name="T53" fmla="*/ 202009418 h 232"/>
                <a:gd name="T54" fmla="*/ 295891719 w 132"/>
                <a:gd name="T55" fmla="*/ 233836064 h 232"/>
                <a:gd name="T56" fmla="*/ 47376772 w 132"/>
                <a:gd name="T57" fmla="*/ 233836064 h 232"/>
                <a:gd name="T58" fmla="*/ 47376772 w 132"/>
                <a:gd name="T59" fmla="*/ 122107630 h 232"/>
                <a:gd name="T60" fmla="*/ 47376772 w 132"/>
                <a:gd name="T61" fmla="*/ 253283286 h 232"/>
                <a:gd name="T62" fmla="*/ 295891719 w 132"/>
                <a:gd name="T63" fmla="*/ 253283286 h 232"/>
                <a:gd name="T64" fmla="*/ 295891719 w 132"/>
                <a:gd name="T65" fmla="*/ 283050061 h 232"/>
                <a:gd name="T66" fmla="*/ 73893437 w 132"/>
                <a:gd name="T67" fmla="*/ 283050061 h 232"/>
                <a:gd name="T68" fmla="*/ 73893437 w 132"/>
                <a:gd name="T69" fmla="*/ 442759715 h 232"/>
                <a:gd name="T70" fmla="*/ 85443339 w 132"/>
                <a:gd name="T71" fmla="*/ 472485538 h 232"/>
                <a:gd name="T72" fmla="*/ 111981461 w 132"/>
                <a:gd name="T73" fmla="*/ 484506888 h 232"/>
                <a:gd name="T74" fmla="*/ 295891719 w 132"/>
                <a:gd name="T75" fmla="*/ 484506888 h 232"/>
                <a:gd name="T76" fmla="*/ 295891719 w 132"/>
                <a:gd name="T77" fmla="*/ 513431020 h 232"/>
                <a:gd name="T78" fmla="*/ 111981461 w 132"/>
                <a:gd name="T79" fmla="*/ 513431020 h 232"/>
                <a:gd name="T80" fmla="*/ 65404189 w 132"/>
                <a:gd name="T81" fmla="*/ 494012295 h 232"/>
                <a:gd name="T82" fmla="*/ 47376772 w 132"/>
                <a:gd name="T83" fmla="*/ 442759715 h 232"/>
                <a:gd name="T84" fmla="*/ 47376772 w 132"/>
                <a:gd name="T85" fmla="*/ 253283286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132" y="0"/>
                  </a:moveTo>
                  <a:cubicBezTo>
                    <a:pt x="132" y="13"/>
                    <a:pt x="132" y="13"/>
                    <a:pt x="132" y="13"/>
                  </a:cubicBezTo>
                  <a:cubicBezTo>
                    <a:pt x="50" y="13"/>
                    <a:pt x="50" y="13"/>
                    <a:pt x="50" y="13"/>
                  </a:cubicBezTo>
                  <a:cubicBezTo>
                    <a:pt x="39" y="13"/>
                    <a:pt x="31" y="16"/>
                    <a:pt x="23" y="24"/>
                  </a:cubicBezTo>
                  <a:cubicBezTo>
                    <a:pt x="16" y="31"/>
                    <a:pt x="12" y="40"/>
                    <a:pt x="12" y="50"/>
                  </a:cubicBezTo>
                  <a:cubicBezTo>
                    <a:pt x="12" y="182"/>
                    <a:pt x="12" y="182"/>
                    <a:pt x="12" y="182"/>
                  </a:cubicBezTo>
                  <a:cubicBezTo>
                    <a:pt x="12" y="193"/>
                    <a:pt x="16" y="201"/>
                    <a:pt x="23" y="209"/>
                  </a:cubicBezTo>
                  <a:cubicBezTo>
                    <a:pt x="31" y="216"/>
                    <a:pt x="39" y="220"/>
                    <a:pt x="50" y="220"/>
                  </a:cubicBezTo>
                  <a:cubicBezTo>
                    <a:pt x="132" y="220"/>
                    <a:pt x="132" y="220"/>
                    <a:pt x="132" y="220"/>
                  </a:cubicBezTo>
                  <a:cubicBezTo>
                    <a:pt x="132" y="232"/>
                    <a:pt x="132" y="232"/>
                    <a:pt x="132" y="232"/>
                  </a:cubicBezTo>
                  <a:cubicBezTo>
                    <a:pt x="50" y="232"/>
                    <a:pt x="50" y="232"/>
                    <a:pt x="50" y="232"/>
                  </a:cubicBezTo>
                  <a:cubicBezTo>
                    <a:pt x="36" y="232"/>
                    <a:pt x="24" y="227"/>
                    <a:pt x="15" y="217"/>
                  </a:cubicBezTo>
                  <a:cubicBezTo>
                    <a:pt x="5" y="208"/>
                    <a:pt x="0" y="196"/>
                    <a:pt x="0" y="182"/>
                  </a:cubicBezTo>
                  <a:cubicBezTo>
                    <a:pt x="0" y="50"/>
                    <a:pt x="0" y="50"/>
                    <a:pt x="0" y="50"/>
                  </a:cubicBezTo>
                  <a:cubicBezTo>
                    <a:pt x="0" y="36"/>
                    <a:pt x="5" y="25"/>
                    <a:pt x="15" y="15"/>
                  </a:cubicBezTo>
                  <a:cubicBezTo>
                    <a:pt x="24" y="5"/>
                    <a:pt x="36" y="0"/>
                    <a:pt x="50" y="0"/>
                  </a:cubicBezTo>
                  <a:lnTo>
                    <a:pt x="132" y="0"/>
                  </a:lnTo>
                  <a:close/>
                  <a:moveTo>
                    <a:pt x="21" y="50"/>
                  </a:moveTo>
                  <a:cubicBezTo>
                    <a:pt x="21" y="42"/>
                    <a:pt x="24" y="35"/>
                    <a:pt x="29" y="29"/>
                  </a:cubicBezTo>
                  <a:cubicBezTo>
                    <a:pt x="35" y="24"/>
                    <a:pt x="42" y="21"/>
                    <a:pt x="50" y="21"/>
                  </a:cubicBezTo>
                  <a:cubicBezTo>
                    <a:pt x="132" y="21"/>
                    <a:pt x="132" y="21"/>
                    <a:pt x="132" y="21"/>
                  </a:cubicBezTo>
                  <a:cubicBezTo>
                    <a:pt x="132" y="33"/>
                    <a:pt x="132" y="33"/>
                    <a:pt x="132" y="33"/>
                  </a:cubicBezTo>
                  <a:cubicBezTo>
                    <a:pt x="50" y="33"/>
                    <a:pt x="50" y="33"/>
                    <a:pt x="50" y="33"/>
                  </a:cubicBezTo>
                  <a:cubicBezTo>
                    <a:pt x="45" y="33"/>
                    <a:pt x="41" y="35"/>
                    <a:pt x="38" y="38"/>
                  </a:cubicBezTo>
                  <a:cubicBezTo>
                    <a:pt x="35" y="42"/>
                    <a:pt x="33" y="45"/>
                    <a:pt x="33" y="50"/>
                  </a:cubicBezTo>
                  <a:cubicBezTo>
                    <a:pt x="33" y="83"/>
                    <a:pt x="33" y="83"/>
                    <a:pt x="33" y="83"/>
                  </a:cubicBezTo>
                  <a:cubicBezTo>
                    <a:pt x="132" y="83"/>
                    <a:pt x="132" y="83"/>
                    <a:pt x="132" y="83"/>
                  </a:cubicBezTo>
                  <a:cubicBezTo>
                    <a:pt x="132" y="96"/>
                    <a:pt x="132" y="96"/>
                    <a:pt x="132" y="96"/>
                  </a:cubicBezTo>
                  <a:cubicBezTo>
                    <a:pt x="21" y="96"/>
                    <a:pt x="21" y="96"/>
                    <a:pt x="21" y="96"/>
                  </a:cubicBezTo>
                  <a:lnTo>
                    <a:pt x="21" y="50"/>
                  </a:lnTo>
                  <a:close/>
                  <a:moveTo>
                    <a:pt x="21" y="104"/>
                  </a:moveTo>
                  <a:cubicBezTo>
                    <a:pt x="132" y="104"/>
                    <a:pt x="132" y="104"/>
                    <a:pt x="132" y="104"/>
                  </a:cubicBezTo>
                  <a:cubicBezTo>
                    <a:pt x="132" y="116"/>
                    <a:pt x="132" y="116"/>
                    <a:pt x="132" y="116"/>
                  </a:cubicBezTo>
                  <a:cubicBezTo>
                    <a:pt x="33" y="116"/>
                    <a:pt x="33" y="116"/>
                    <a:pt x="33" y="116"/>
                  </a:cubicBezTo>
                  <a:cubicBezTo>
                    <a:pt x="33" y="182"/>
                    <a:pt x="33" y="182"/>
                    <a:pt x="33" y="182"/>
                  </a:cubicBezTo>
                  <a:cubicBezTo>
                    <a:pt x="33" y="187"/>
                    <a:pt x="35" y="191"/>
                    <a:pt x="38" y="194"/>
                  </a:cubicBezTo>
                  <a:cubicBezTo>
                    <a:pt x="41" y="197"/>
                    <a:pt x="45" y="199"/>
                    <a:pt x="50" y="199"/>
                  </a:cubicBezTo>
                  <a:cubicBezTo>
                    <a:pt x="132" y="199"/>
                    <a:pt x="132" y="199"/>
                    <a:pt x="132" y="199"/>
                  </a:cubicBezTo>
                  <a:cubicBezTo>
                    <a:pt x="132" y="211"/>
                    <a:pt x="132" y="211"/>
                    <a:pt x="132" y="211"/>
                  </a:cubicBezTo>
                  <a:cubicBezTo>
                    <a:pt x="50" y="211"/>
                    <a:pt x="50" y="211"/>
                    <a:pt x="50" y="211"/>
                  </a:cubicBezTo>
                  <a:cubicBezTo>
                    <a:pt x="42" y="211"/>
                    <a:pt x="35" y="209"/>
                    <a:pt x="29" y="203"/>
                  </a:cubicBezTo>
                  <a:cubicBezTo>
                    <a:pt x="24" y="197"/>
                    <a:pt x="21" y="190"/>
                    <a:pt x="21" y="182"/>
                  </a:cubicBezTo>
                  <a:lnTo>
                    <a:pt x="21" y="104"/>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3" name="Freeform 13">
              <a:extLst>
                <a:ext uri="{FF2B5EF4-FFF2-40B4-BE49-F238E27FC236}">
                  <a16:creationId xmlns:a16="http://schemas.microsoft.com/office/drawing/2014/main" id="{CC0905FD-0648-5194-A717-C0F293783B49}"/>
                </a:ext>
              </a:extLst>
            </p:cNvPr>
            <p:cNvSpPr>
              <a:spLocks noEditPoints="1"/>
            </p:cNvSpPr>
            <p:nvPr userDrawn="1"/>
          </p:nvSpPr>
          <p:spPr bwMode="auto">
            <a:xfrm>
              <a:off x="4958" y="2552"/>
              <a:ext cx="391" cy="551"/>
            </a:xfrm>
            <a:custGeom>
              <a:avLst/>
              <a:gdLst>
                <a:gd name="T0" fmla="*/ 309548631 w 165"/>
                <a:gd name="T1" fmla="*/ 0 h 232"/>
                <a:gd name="T2" fmla="*/ 363029971 w 165"/>
                <a:gd name="T3" fmla="*/ 24547155 h 232"/>
                <a:gd name="T4" fmla="*/ 386832786 w 165"/>
                <a:gd name="T5" fmla="*/ 79781492 h 232"/>
                <a:gd name="T6" fmla="*/ 386832786 w 165"/>
                <a:gd name="T7" fmla="*/ 564828430 h 232"/>
                <a:gd name="T8" fmla="*/ 358797870 w 165"/>
                <a:gd name="T9" fmla="*/ 564828430 h 232"/>
                <a:gd name="T10" fmla="*/ 358797870 w 165"/>
                <a:gd name="T11" fmla="*/ 79781492 h 232"/>
                <a:gd name="T12" fmla="*/ 344252405 w 165"/>
                <a:gd name="T13" fmla="*/ 46120372 h 232"/>
                <a:gd name="T14" fmla="*/ 309548631 w 165"/>
                <a:gd name="T15" fmla="*/ 31976658 h 232"/>
                <a:gd name="T16" fmla="*/ 77129169 w 165"/>
                <a:gd name="T17" fmla="*/ 31976658 h 232"/>
                <a:gd name="T18" fmla="*/ 42581549 w 165"/>
                <a:gd name="T19" fmla="*/ 46120372 h 232"/>
                <a:gd name="T20" fmla="*/ 27493911 w 165"/>
                <a:gd name="T21" fmla="*/ 79781492 h 232"/>
                <a:gd name="T22" fmla="*/ 27493911 w 165"/>
                <a:gd name="T23" fmla="*/ 564828430 h 232"/>
                <a:gd name="T24" fmla="*/ 0 w 165"/>
                <a:gd name="T25" fmla="*/ 564828430 h 232"/>
                <a:gd name="T26" fmla="*/ 0 w 165"/>
                <a:gd name="T27" fmla="*/ 79781492 h 232"/>
                <a:gd name="T28" fmla="*/ 20815816 w 165"/>
                <a:gd name="T29" fmla="*/ 24547155 h 232"/>
                <a:gd name="T30" fmla="*/ 77129169 w 165"/>
                <a:gd name="T31" fmla="*/ 0 h 232"/>
                <a:gd name="T32" fmla="*/ 309548631 w 165"/>
                <a:gd name="T33" fmla="*/ 0 h 232"/>
                <a:gd name="T34" fmla="*/ 182772758 w 165"/>
                <a:gd name="T35" fmla="*/ 51413739 h 232"/>
                <a:gd name="T36" fmla="*/ 182772758 w 165"/>
                <a:gd name="T37" fmla="*/ 263208180 h 232"/>
                <a:gd name="T38" fmla="*/ 154391061 w 165"/>
                <a:gd name="T39" fmla="*/ 263208180 h 232"/>
                <a:gd name="T40" fmla="*/ 154391061 w 165"/>
                <a:gd name="T41" fmla="*/ 79781492 h 232"/>
                <a:gd name="T42" fmla="*/ 77129169 w 165"/>
                <a:gd name="T43" fmla="*/ 79781492 h 232"/>
                <a:gd name="T44" fmla="*/ 77129169 w 165"/>
                <a:gd name="T45" fmla="*/ 564828430 h 232"/>
                <a:gd name="T46" fmla="*/ 46283478 w 165"/>
                <a:gd name="T47" fmla="*/ 564828430 h 232"/>
                <a:gd name="T48" fmla="*/ 46283478 w 165"/>
                <a:gd name="T49" fmla="*/ 79781492 h 232"/>
                <a:gd name="T50" fmla="*/ 56311393 w 165"/>
                <a:gd name="T51" fmla="*/ 60526659 h 232"/>
                <a:gd name="T52" fmla="*/ 77129169 w 165"/>
                <a:gd name="T53" fmla="*/ 51413739 h 232"/>
                <a:gd name="T54" fmla="*/ 182772758 w 165"/>
                <a:gd name="T55" fmla="*/ 51413739 h 232"/>
                <a:gd name="T56" fmla="*/ 309548631 w 165"/>
                <a:gd name="T57" fmla="*/ 51413739 h 232"/>
                <a:gd name="T58" fmla="*/ 329989272 w 165"/>
                <a:gd name="T59" fmla="*/ 60526659 h 232"/>
                <a:gd name="T60" fmla="*/ 337199511 w 165"/>
                <a:gd name="T61" fmla="*/ 79781492 h 232"/>
                <a:gd name="T62" fmla="*/ 337199511 w 165"/>
                <a:gd name="T63" fmla="*/ 564828430 h 232"/>
                <a:gd name="T64" fmla="*/ 309548631 w 165"/>
                <a:gd name="T65" fmla="*/ 564828430 h 232"/>
                <a:gd name="T66" fmla="*/ 309548631 w 165"/>
                <a:gd name="T67" fmla="*/ 79781492 h 232"/>
                <a:gd name="T68" fmla="*/ 232402284 w 165"/>
                <a:gd name="T69" fmla="*/ 79781492 h 232"/>
                <a:gd name="T70" fmla="*/ 232402284 w 165"/>
                <a:gd name="T71" fmla="*/ 263208180 h 232"/>
                <a:gd name="T72" fmla="*/ 203534936 w 165"/>
                <a:gd name="T73" fmla="*/ 263208180 h 232"/>
                <a:gd name="T74" fmla="*/ 203534936 w 165"/>
                <a:gd name="T75" fmla="*/ 51413739 h 232"/>
                <a:gd name="T76" fmla="*/ 309548631 w 165"/>
                <a:gd name="T77" fmla="*/ 51413739 h 23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65" h="232">
                  <a:moveTo>
                    <a:pt x="132" y="0"/>
                  </a:moveTo>
                  <a:cubicBezTo>
                    <a:pt x="141" y="0"/>
                    <a:pt x="149" y="4"/>
                    <a:pt x="155" y="10"/>
                  </a:cubicBezTo>
                  <a:cubicBezTo>
                    <a:pt x="162" y="16"/>
                    <a:pt x="165" y="24"/>
                    <a:pt x="165" y="33"/>
                  </a:cubicBezTo>
                  <a:cubicBezTo>
                    <a:pt x="165" y="232"/>
                    <a:pt x="165" y="232"/>
                    <a:pt x="165" y="232"/>
                  </a:cubicBezTo>
                  <a:cubicBezTo>
                    <a:pt x="153" y="232"/>
                    <a:pt x="153" y="232"/>
                    <a:pt x="153" y="232"/>
                  </a:cubicBezTo>
                  <a:cubicBezTo>
                    <a:pt x="153" y="33"/>
                    <a:pt x="153" y="33"/>
                    <a:pt x="153" y="33"/>
                  </a:cubicBezTo>
                  <a:cubicBezTo>
                    <a:pt x="153" y="28"/>
                    <a:pt x="151" y="23"/>
                    <a:pt x="147" y="19"/>
                  </a:cubicBezTo>
                  <a:cubicBezTo>
                    <a:pt x="143" y="15"/>
                    <a:pt x="138" y="13"/>
                    <a:pt x="132" y="13"/>
                  </a:cubicBezTo>
                  <a:cubicBezTo>
                    <a:pt x="33" y="13"/>
                    <a:pt x="33" y="13"/>
                    <a:pt x="33" y="13"/>
                  </a:cubicBezTo>
                  <a:cubicBezTo>
                    <a:pt x="27" y="13"/>
                    <a:pt x="22" y="15"/>
                    <a:pt x="18" y="19"/>
                  </a:cubicBezTo>
                  <a:cubicBezTo>
                    <a:pt x="14" y="23"/>
                    <a:pt x="12" y="28"/>
                    <a:pt x="12" y="33"/>
                  </a:cubicBezTo>
                  <a:cubicBezTo>
                    <a:pt x="12" y="232"/>
                    <a:pt x="12" y="232"/>
                    <a:pt x="12" y="232"/>
                  </a:cubicBezTo>
                  <a:cubicBezTo>
                    <a:pt x="0" y="232"/>
                    <a:pt x="0" y="232"/>
                    <a:pt x="0" y="232"/>
                  </a:cubicBezTo>
                  <a:cubicBezTo>
                    <a:pt x="0" y="33"/>
                    <a:pt x="0" y="33"/>
                    <a:pt x="0" y="33"/>
                  </a:cubicBezTo>
                  <a:cubicBezTo>
                    <a:pt x="0" y="24"/>
                    <a:pt x="3" y="16"/>
                    <a:pt x="9" y="10"/>
                  </a:cubicBezTo>
                  <a:cubicBezTo>
                    <a:pt x="16" y="4"/>
                    <a:pt x="24" y="0"/>
                    <a:pt x="33" y="0"/>
                  </a:cubicBezTo>
                  <a:lnTo>
                    <a:pt x="132" y="0"/>
                  </a:lnTo>
                  <a:close/>
                  <a:moveTo>
                    <a:pt x="78" y="21"/>
                  </a:moveTo>
                  <a:cubicBezTo>
                    <a:pt x="78" y="108"/>
                    <a:pt x="78" y="108"/>
                    <a:pt x="78" y="108"/>
                  </a:cubicBezTo>
                  <a:cubicBezTo>
                    <a:pt x="66" y="108"/>
                    <a:pt x="66" y="108"/>
                    <a:pt x="66" y="108"/>
                  </a:cubicBezTo>
                  <a:cubicBezTo>
                    <a:pt x="66" y="33"/>
                    <a:pt x="66" y="33"/>
                    <a:pt x="66" y="33"/>
                  </a:cubicBezTo>
                  <a:cubicBezTo>
                    <a:pt x="33" y="33"/>
                    <a:pt x="33" y="33"/>
                    <a:pt x="33" y="33"/>
                  </a:cubicBezTo>
                  <a:cubicBezTo>
                    <a:pt x="33" y="232"/>
                    <a:pt x="33" y="232"/>
                    <a:pt x="33" y="232"/>
                  </a:cubicBezTo>
                  <a:cubicBezTo>
                    <a:pt x="20" y="232"/>
                    <a:pt x="20" y="232"/>
                    <a:pt x="20" y="232"/>
                  </a:cubicBezTo>
                  <a:cubicBezTo>
                    <a:pt x="20" y="33"/>
                    <a:pt x="20" y="33"/>
                    <a:pt x="20" y="33"/>
                  </a:cubicBezTo>
                  <a:cubicBezTo>
                    <a:pt x="20" y="30"/>
                    <a:pt x="21" y="27"/>
                    <a:pt x="24" y="25"/>
                  </a:cubicBezTo>
                  <a:cubicBezTo>
                    <a:pt x="26" y="22"/>
                    <a:pt x="29" y="21"/>
                    <a:pt x="33" y="21"/>
                  </a:cubicBezTo>
                  <a:lnTo>
                    <a:pt x="78" y="21"/>
                  </a:lnTo>
                  <a:close/>
                  <a:moveTo>
                    <a:pt x="132" y="21"/>
                  </a:moveTo>
                  <a:cubicBezTo>
                    <a:pt x="135" y="21"/>
                    <a:pt x="138" y="22"/>
                    <a:pt x="141" y="25"/>
                  </a:cubicBezTo>
                  <a:cubicBezTo>
                    <a:pt x="143" y="27"/>
                    <a:pt x="144" y="30"/>
                    <a:pt x="144" y="33"/>
                  </a:cubicBezTo>
                  <a:cubicBezTo>
                    <a:pt x="144" y="232"/>
                    <a:pt x="144" y="232"/>
                    <a:pt x="144" y="232"/>
                  </a:cubicBezTo>
                  <a:cubicBezTo>
                    <a:pt x="132" y="232"/>
                    <a:pt x="132" y="232"/>
                    <a:pt x="132" y="232"/>
                  </a:cubicBezTo>
                  <a:cubicBezTo>
                    <a:pt x="132" y="33"/>
                    <a:pt x="132" y="33"/>
                    <a:pt x="132" y="33"/>
                  </a:cubicBezTo>
                  <a:cubicBezTo>
                    <a:pt x="99" y="33"/>
                    <a:pt x="99" y="33"/>
                    <a:pt x="99" y="33"/>
                  </a:cubicBezTo>
                  <a:cubicBezTo>
                    <a:pt x="99" y="108"/>
                    <a:pt x="99" y="108"/>
                    <a:pt x="99" y="108"/>
                  </a:cubicBezTo>
                  <a:cubicBezTo>
                    <a:pt x="87" y="108"/>
                    <a:pt x="87" y="108"/>
                    <a:pt x="87" y="108"/>
                  </a:cubicBezTo>
                  <a:cubicBezTo>
                    <a:pt x="87" y="21"/>
                    <a:pt x="87" y="21"/>
                    <a:pt x="87" y="21"/>
                  </a:cubicBezTo>
                  <a:lnTo>
                    <a:pt x="132" y="21"/>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4">
              <a:extLst>
                <a:ext uri="{FF2B5EF4-FFF2-40B4-BE49-F238E27FC236}">
                  <a16:creationId xmlns:a16="http://schemas.microsoft.com/office/drawing/2014/main" id="{EBF737BD-3A6C-0E5E-C29B-89AAF0533CF0}"/>
                </a:ext>
              </a:extLst>
            </p:cNvPr>
            <p:cNvSpPr>
              <a:spLocks noEditPoints="1"/>
            </p:cNvSpPr>
            <p:nvPr userDrawn="1"/>
          </p:nvSpPr>
          <p:spPr bwMode="auto">
            <a:xfrm>
              <a:off x="5412" y="2552"/>
              <a:ext cx="313" cy="551"/>
            </a:xfrm>
            <a:custGeom>
              <a:avLst/>
              <a:gdLst>
                <a:gd name="T0" fmla="*/ 234667157 w 132"/>
                <a:gd name="T1" fmla="*/ 0 h 232"/>
                <a:gd name="T2" fmla="*/ 291517195 w 132"/>
                <a:gd name="T3" fmla="*/ 24547155 h 232"/>
                <a:gd name="T4" fmla="*/ 312488786 w 132"/>
                <a:gd name="T5" fmla="*/ 79781492 h 232"/>
                <a:gd name="T6" fmla="*/ 312488786 w 132"/>
                <a:gd name="T7" fmla="*/ 202009418 h 232"/>
                <a:gd name="T8" fmla="*/ 291517195 w 132"/>
                <a:gd name="T9" fmla="*/ 258572736 h 232"/>
                <a:gd name="T10" fmla="*/ 234667157 w 132"/>
                <a:gd name="T11" fmla="*/ 283050061 h 232"/>
                <a:gd name="T12" fmla="*/ 77977488 w 132"/>
                <a:gd name="T13" fmla="*/ 283050061 h 232"/>
                <a:gd name="T14" fmla="*/ 77977488 w 132"/>
                <a:gd name="T15" fmla="*/ 564828430 h 232"/>
                <a:gd name="T16" fmla="*/ 46760663 w 132"/>
                <a:gd name="T17" fmla="*/ 564828430 h 232"/>
                <a:gd name="T18" fmla="*/ 46760663 w 132"/>
                <a:gd name="T19" fmla="*/ 253283286 h 232"/>
                <a:gd name="T20" fmla="*/ 234667157 w 132"/>
                <a:gd name="T21" fmla="*/ 253283286 h 232"/>
                <a:gd name="T22" fmla="*/ 269717845 w 132"/>
                <a:gd name="T23" fmla="*/ 238499835 h 232"/>
                <a:gd name="T24" fmla="*/ 284788810 w 132"/>
                <a:gd name="T25" fmla="*/ 202009418 h 232"/>
                <a:gd name="T26" fmla="*/ 284788810 w 132"/>
                <a:gd name="T27" fmla="*/ 79781492 h 232"/>
                <a:gd name="T28" fmla="*/ 269717845 w 132"/>
                <a:gd name="T29" fmla="*/ 46120372 h 232"/>
                <a:gd name="T30" fmla="*/ 234667157 w 132"/>
                <a:gd name="T31" fmla="*/ 31976658 h 232"/>
                <a:gd name="T32" fmla="*/ 115836743 w 132"/>
                <a:gd name="T33" fmla="*/ 31976658 h 232"/>
                <a:gd name="T34" fmla="*/ 54699961 w 132"/>
                <a:gd name="T35" fmla="*/ 58299493 h 232"/>
                <a:gd name="T36" fmla="*/ 27860863 w 132"/>
                <a:gd name="T37" fmla="*/ 122107630 h 232"/>
                <a:gd name="T38" fmla="*/ 27860863 w 132"/>
                <a:gd name="T39" fmla="*/ 564828430 h 232"/>
                <a:gd name="T40" fmla="*/ 0 w 132"/>
                <a:gd name="T41" fmla="*/ 564828430 h 232"/>
                <a:gd name="T42" fmla="*/ 0 w 132"/>
                <a:gd name="T43" fmla="*/ 122107630 h 232"/>
                <a:gd name="T44" fmla="*/ 32885075 w 132"/>
                <a:gd name="T45" fmla="*/ 37103839 h 232"/>
                <a:gd name="T46" fmla="*/ 115836743 w 132"/>
                <a:gd name="T47" fmla="*/ 0 h 232"/>
                <a:gd name="T48" fmla="*/ 234667157 w 132"/>
                <a:gd name="T49" fmla="*/ 0 h 232"/>
                <a:gd name="T50" fmla="*/ 262918698 w 132"/>
                <a:gd name="T51" fmla="*/ 202009418 h 232"/>
                <a:gd name="T52" fmla="*/ 255645496 w 132"/>
                <a:gd name="T53" fmla="*/ 224358826 h 232"/>
                <a:gd name="T54" fmla="*/ 234667157 w 132"/>
                <a:gd name="T55" fmla="*/ 233836064 h 232"/>
                <a:gd name="T56" fmla="*/ 46760663 w 132"/>
                <a:gd name="T57" fmla="*/ 233836064 h 232"/>
                <a:gd name="T58" fmla="*/ 46760663 w 132"/>
                <a:gd name="T59" fmla="*/ 122107630 h 232"/>
                <a:gd name="T60" fmla="*/ 69064519 w 132"/>
                <a:gd name="T61" fmla="*/ 70832843 h 232"/>
                <a:gd name="T62" fmla="*/ 115836743 w 132"/>
                <a:gd name="T63" fmla="*/ 51413739 h 232"/>
                <a:gd name="T64" fmla="*/ 234667157 w 132"/>
                <a:gd name="T65" fmla="*/ 51413739 h 232"/>
                <a:gd name="T66" fmla="*/ 255645496 w 132"/>
                <a:gd name="T67" fmla="*/ 60526659 h 232"/>
                <a:gd name="T68" fmla="*/ 262918698 w 132"/>
                <a:gd name="T69" fmla="*/ 79781492 h 232"/>
                <a:gd name="T70" fmla="*/ 262918698 w 132"/>
                <a:gd name="T71" fmla="*/ 202009418 h 232"/>
                <a:gd name="T72" fmla="*/ 77977488 w 132"/>
                <a:gd name="T73" fmla="*/ 202009418 h 232"/>
                <a:gd name="T74" fmla="*/ 234667157 w 132"/>
                <a:gd name="T75" fmla="*/ 202009418 h 232"/>
                <a:gd name="T76" fmla="*/ 234667157 w 132"/>
                <a:gd name="T77" fmla="*/ 79781492 h 232"/>
                <a:gd name="T78" fmla="*/ 115836743 w 132"/>
                <a:gd name="T79" fmla="*/ 79781492 h 232"/>
                <a:gd name="T80" fmla="*/ 89678239 w 132"/>
                <a:gd name="T81" fmla="*/ 92335711 h 232"/>
                <a:gd name="T82" fmla="*/ 77977488 w 132"/>
                <a:gd name="T83" fmla="*/ 122107630 h 232"/>
                <a:gd name="T84" fmla="*/ 77977488 w 132"/>
                <a:gd name="T85" fmla="*/ 202009418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99" y="0"/>
                  </a:moveTo>
                  <a:cubicBezTo>
                    <a:pt x="108" y="0"/>
                    <a:pt x="116" y="4"/>
                    <a:pt x="123" y="10"/>
                  </a:cubicBezTo>
                  <a:cubicBezTo>
                    <a:pt x="129" y="16"/>
                    <a:pt x="132" y="24"/>
                    <a:pt x="132" y="33"/>
                  </a:cubicBezTo>
                  <a:cubicBezTo>
                    <a:pt x="132" y="83"/>
                    <a:pt x="132" y="83"/>
                    <a:pt x="132" y="83"/>
                  </a:cubicBezTo>
                  <a:cubicBezTo>
                    <a:pt x="132" y="92"/>
                    <a:pt x="129" y="100"/>
                    <a:pt x="123" y="106"/>
                  </a:cubicBezTo>
                  <a:cubicBezTo>
                    <a:pt x="116" y="113"/>
                    <a:pt x="108" y="116"/>
                    <a:pt x="99" y="116"/>
                  </a:cubicBezTo>
                  <a:cubicBezTo>
                    <a:pt x="33" y="116"/>
                    <a:pt x="33" y="116"/>
                    <a:pt x="33" y="116"/>
                  </a:cubicBezTo>
                  <a:cubicBezTo>
                    <a:pt x="33" y="232"/>
                    <a:pt x="33" y="232"/>
                    <a:pt x="33" y="232"/>
                  </a:cubicBezTo>
                  <a:cubicBezTo>
                    <a:pt x="20" y="232"/>
                    <a:pt x="20" y="232"/>
                    <a:pt x="20" y="232"/>
                  </a:cubicBezTo>
                  <a:cubicBezTo>
                    <a:pt x="20" y="104"/>
                    <a:pt x="20" y="104"/>
                    <a:pt x="20" y="104"/>
                  </a:cubicBezTo>
                  <a:cubicBezTo>
                    <a:pt x="99" y="104"/>
                    <a:pt x="99" y="104"/>
                    <a:pt x="99" y="104"/>
                  </a:cubicBezTo>
                  <a:cubicBezTo>
                    <a:pt x="105" y="104"/>
                    <a:pt x="110" y="102"/>
                    <a:pt x="114" y="98"/>
                  </a:cubicBezTo>
                  <a:cubicBezTo>
                    <a:pt x="118" y="94"/>
                    <a:pt x="120" y="89"/>
                    <a:pt x="120" y="83"/>
                  </a:cubicBezTo>
                  <a:cubicBezTo>
                    <a:pt x="120" y="33"/>
                    <a:pt x="120" y="33"/>
                    <a:pt x="120" y="33"/>
                  </a:cubicBezTo>
                  <a:cubicBezTo>
                    <a:pt x="120" y="28"/>
                    <a:pt x="118" y="23"/>
                    <a:pt x="114" y="19"/>
                  </a:cubicBezTo>
                  <a:cubicBezTo>
                    <a:pt x="110" y="15"/>
                    <a:pt x="105" y="13"/>
                    <a:pt x="99" y="13"/>
                  </a:cubicBezTo>
                  <a:cubicBezTo>
                    <a:pt x="49" y="13"/>
                    <a:pt x="49" y="13"/>
                    <a:pt x="49" y="13"/>
                  </a:cubicBezTo>
                  <a:cubicBezTo>
                    <a:pt x="39" y="13"/>
                    <a:pt x="30" y="16"/>
                    <a:pt x="23" y="24"/>
                  </a:cubicBezTo>
                  <a:cubicBezTo>
                    <a:pt x="16" y="31"/>
                    <a:pt x="12" y="40"/>
                    <a:pt x="12" y="50"/>
                  </a:cubicBezTo>
                  <a:cubicBezTo>
                    <a:pt x="12" y="232"/>
                    <a:pt x="12" y="232"/>
                    <a:pt x="12" y="232"/>
                  </a:cubicBezTo>
                  <a:cubicBezTo>
                    <a:pt x="0" y="232"/>
                    <a:pt x="0" y="232"/>
                    <a:pt x="0" y="232"/>
                  </a:cubicBezTo>
                  <a:cubicBezTo>
                    <a:pt x="0" y="50"/>
                    <a:pt x="0" y="50"/>
                    <a:pt x="0" y="50"/>
                  </a:cubicBezTo>
                  <a:cubicBezTo>
                    <a:pt x="0" y="36"/>
                    <a:pt x="5" y="25"/>
                    <a:pt x="14" y="15"/>
                  </a:cubicBezTo>
                  <a:cubicBezTo>
                    <a:pt x="24" y="5"/>
                    <a:pt x="36" y="0"/>
                    <a:pt x="49" y="0"/>
                  </a:cubicBezTo>
                  <a:lnTo>
                    <a:pt x="99" y="0"/>
                  </a:lnTo>
                  <a:close/>
                  <a:moveTo>
                    <a:pt x="111" y="83"/>
                  </a:moveTo>
                  <a:cubicBezTo>
                    <a:pt x="111" y="87"/>
                    <a:pt x="110" y="89"/>
                    <a:pt x="108" y="92"/>
                  </a:cubicBezTo>
                  <a:cubicBezTo>
                    <a:pt x="105" y="94"/>
                    <a:pt x="102" y="96"/>
                    <a:pt x="99" y="96"/>
                  </a:cubicBezTo>
                  <a:cubicBezTo>
                    <a:pt x="20" y="96"/>
                    <a:pt x="20" y="96"/>
                    <a:pt x="20" y="96"/>
                  </a:cubicBezTo>
                  <a:cubicBezTo>
                    <a:pt x="20" y="50"/>
                    <a:pt x="20" y="50"/>
                    <a:pt x="20" y="50"/>
                  </a:cubicBezTo>
                  <a:cubicBezTo>
                    <a:pt x="20" y="42"/>
                    <a:pt x="23" y="35"/>
                    <a:pt x="29" y="29"/>
                  </a:cubicBezTo>
                  <a:cubicBezTo>
                    <a:pt x="35" y="24"/>
                    <a:pt x="41" y="21"/>
                    <a:pt x="49" y="21"/>
                  </a:cubicBezTo>
                  <a:cubicBezTo>
                    <a:pt x="99" y="21"/>
                    <a:pt x="99" y="21"/>
                    <a:pt x="99" y="21"/>
                  </a:cubicBezTo>
                  <a:cubicBezTo>
                    <a:pt x="102" y="21"/>
                    <a:pt x="105" y="22"/>
                    <a:pt x="108" y="25"/>
                  </a:cubicBezTo>
                  <a:cubicBezTo>
                    <a:pt x="110" y="27"/>
                    <a:pt x="111" y="30"/>
                    <a:pt x="111" y="33"/>
                  </a:cubicBezTo>
                  <a:lnTo>
                    <a:pt x="111" y="83"/>
                  </a:lnTo>
                  <a:close/>
                  <a:moveTo>
                    <a:pt x="33" y="83"/>
                  </a:moveTo>
                  <a:cubicBezTo>
                    <a:pt x="99" y="83"/>
                    <a:pt x="99" y="83"/>
                    <a:pt x="99" y="83"/>
                  </a:cubicBezTo>
                  <a:cubicBezTo>
                    <a:pt x="99" y="33"/>
                    <a:pt x="99" y="33"/>
                    <a:pt x="99" y="33"/>
                  </a:cubicBezTo>
                  <a:cubicBezTo>
                    <a:pt x="49" y="33"/>
                    <a:pt x="49" y="33"/>
                    <a:pt x="49" y="33"/>
                  </a:cubicBezTo>
                  <a:cubicBezTo>
                    <a:pt x="45" y="33"/>
                    <a:pt x="41" y="35"/>
                    <a:pt x="38" y="38"/>
                  </a:cubicBezTo>
                  <a:cubicBezTo>
                    <a:pt x="34" y="42"/>
                    <a:pt x="33" y="45"/>
                    <a:pt x="33" y="50"/>
                  </a:cubicBezTo>
                  <a:lnTo>
                    <a:pt x="33" y="83"/>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5" name="Freeform 15">
              <a:extLst>
                <a:ext uri="{FF2B5EF4-FFF2-40B4-BE49-F238E27FC236}">
                  <a16:creationId xmlns:a16="http://schemas.microsoft.com/office/drawing/2014/main" id="{11E7B07A-EC08-BC09-8D33-61CCBA51C40D}"/>
                </a:ext>
              </a:extLst>
            </p:cNvPr>
            <p:cNvSpPr>
              <a:spLocks noEditPoints="1"/>
            </p:cNvSpPr>
            <p:nvPr userDrawn="1"/>
          </p:nvSpPr>
          <p:spPr bwMode="auto">
            <a:xfrm>
              <a:off x="5774" y="2552"/>
              <a:ext cx="312" cy="551"/>
            </a:xfrm>
            <a:custGeom>
              <a:avLst/>
              <a:gdLst>
                <a:gd name="T0" fmla="*/ 26510905 w 132"/>
                <a:gd name="T1" fmla="*/ 442759715 h 232"/>
                <a:gd name="T2" fmla="*/ 51443210 w 132"/>
                <a:gd name="T3" fmla="*/ 508305993 h 232"/>
                <a:gd name="T4" fmla="*/ 110103249 w 132"/>
                <a:gd name="T5" fmla="*/ 535913430 h 232"/>
                <a:gd name="T6" fmla="*/ 295891719 w 132"/>
                <a:gd name="T7" fmla="*/ 535913430 h 232"/>
                <a:gd name="T8" fmla="*/ 295891719 w 132"/>
                <a:gd name="T9" fmla="*/ 564828430 h 232"/>
                <a:gd name="T10" fmla="*/ 110103249 w 132"/>
                <a:gd name="T11" fmla="*/ 564828430 h 232"/>
                <a:gd name="T12" fmla="*/ 31262608 w 132"/>
                <a:gd name="T13" fmla="*/ 527724589 h 232"/>
                <a:gd name="T14" fmla="*/ 0 w 132"/>
                <a:gd name="T15" fmla="*/ 442759715 h 232"/>
                <a:gd name="T16" fmla="*/ 0 w 132"/>
                <a:gd name="T17" fmla="*/ 0 h 232"/>
                <a:gd name="T18" fmla="*/ 26510905 w 132"/>
                <a:gd name="T19" fmla="*/ 0 h 232"/>
                <a:gd name="T20" fmla="*/ 26510905 w 132"/>
                <a:gd name="T21" fmla="*/ 442759715 h 232"/>
                <a:gd name="T22" fmla="*/ 295891719 w 132"/>
                <a:gd name="T23" fmla="*/ 484506888 h 232"/>
                <a:gd name="T24" fmla="*/ 295891719 w 132"/>
                <a:gd name="T25" fmla="*/ 513431020 h 232"/>
                <a:gd name="T26" fmla="*/ 110103249 w 132"/>
                <a:gd name="T27" fmla="*/ 513431020 h 232"/>
                <a:gd name="T28" fmla="*/ 65404189 w 132"/>
                <a:gd name="T29" fmla="*/ 494012295 h 232"/>
                <a:gd name="T30" fmla="*/ 44482705 w 132"/>
                <a:gd name="T31" fmla="*/ 442759715 h 232"/>
                <a:gd name="T32" fmla="*/ 44482705 w 132"/>
                <a:gd name="T33" fmla="*/ 0 h 232"/>
                <a:gd name="T34" fmla="*/ 73893437 w 132"/>
                <a:gd name="T35" fmla="*/ 0 h 232"/>
                <a:gd name="T36" fmla="*/ 73893437 w 132"/>
                <a:gd name="T37" fmla="*/ 442759715 h 232"/>
                <a:gd name="T38" fmla="*/ 85443339 w 132"/>
                <a:gd name="T39" fmla="*/ 472485538 h 232"/>
                <a:gd name="T40" fmla="*/ 110103249 w 132"/>
                <a:gd name="T41" fmla="*/ 484506888 h 232"/>
                <a:gd name="T42" fmla="*/ 295891719 w 132"/>
                <a:gd name="T43" fmla="*/ 484506888 h 2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2" h="232">
                  <a:moveTo>
                    <a:pt x="12" y="182"/>
                  </a:moveTo>
                  <a:cubicBezTo>
                    <a:pt x="12" y="193"/>
                    <a:pt x="16" y="201"/>
                    <a:pt x="23" y="209"/>
                  </a:cubicBezTo>
                  <a:cubicBezTo>
                    <a:pt x="30" y="216"/>
                    <a:pt x="39" y="220"/>
                    <a:pt x="49" y="220"/>
                  </a:cubicBezTo>
                  <a:cubicBezTo>
                    <a:pt x="132" y="220"/>
                    <a:pt x="132" y="220"/>
                    <a:pt x="132" y="220"/>
                  </a:cubicBezTo>
                  <a:cubicBezTo>
                    <a:pt x="132" y="232"/>
                    <a:pt x="132" y="232"/>
                    <a:pt x="132" y="232"/>
                  </a:cubicBezTo>
                  <a:cubicBezTo>
                    <a:pt x="49" y="232"/>
                    <a:pt x="49" y="232"/>
                    <a:pt x="49" y="232"/>
                  </a:cubicBezTo>
                  <a:cubicBezTo>
                    <a:pt x="36" y="232"/>
                    <a:pt x="24" y="227"/>
                    <a:pt x="14" y="217"/>
                  </a:cubicBezTo>
                  <a:cubicBezTo>
                    <a:pt x="4" y="208"/>
                    <a:pt x="0" y="196"/>
                    <a:pt x="0" y="182"/>
                  </a:cubicBezTo>
                  <a:cubicBezTo>
                    <a:pt x="0" y="0"/>
                    <a:pt x="0" y="0"/>
                    <a:pt x="0" y="0"/>
                  </a:cubicBezTo>
                  <a:cubicBezTo>
                    <a:pt x="12" y="0"/>
                    <a:pt x="12" y="0"/>
                    <a:pt x="12" y="0"/>
                  </a:cubicBezTo>
                  <a:lnTo>
                    <a:pt x="12" y="182"/>
                  </a:lnTo>
                  <a:close/>
                  <a:moveTo>
                    <a:pt x="132" y="199"/>
                  </a:moveTo>
                  <a:cubicBezTo>
                    <a:pt x="132" y="211"/>
                    <a:pt x="132" y="211"/>
                    <a:pt x="132" y="211"/>
                  </a:cubicBezTo>
                  <a:cubicBezTo>
                    <a:pt x="49" y="211"/>
                    <a:pt x="49" y="211"/>
                    <a:pt x="49" y="211"/>
                  </a:cubicBezTo>
                  <a:cubicBezTo>
                    <a:pt x="41" y="211"/>
                    <a:pt x="34" y="209"/>
                    <a:pt x="29" y="203"/>
                  </a:cubicBezTo>
                  <a:cubicBezTo>
                    <a:pt x="23" y="197"/>
                    <a:pt x="20" y="190"/>
                    <a:pt x="20" y="182"/>
                  </a:cubicBezTo>
                  <a:cubicBezTo>
                    <a:pt x="20" y="0"/>
                    <a:pt x="20" y="0"/>
                    <a:pt x="20" y="0"/>
                  </a:cubicBezTo>
                  <a:cubicBezTo>
                    <a:pt x="33" y="0"/>
                    <a:pt x="33" y="0"/>
                    <a:pt x="33" y="0"/>
                  </a:cubicBezTo>
                  <a:cubicBezTo>
                    <a:pt x="33" y="182"/>
                    <a:pt x="33" y="182"/>
                    <a:pt x="33" y="182"/>
                  </a:cubicBezTo>
                  <a:cubicBezTo>
                    <a:pt x="33" y="187"/>
                    <a:pt x="34" y="191"/>
                    <a:pt x="38" y="194"/>
                  </a:cubicBezTo>
                  <a:cubicBezTo>
                    <a:pt x="41" y="197"/>
                    <a:pt x="45" y="199"/>
                    <a:pt x="49" y="199"/>
                  </a:cubicBezTo>
                  <a:lnTo>
                    <a:pt x="132" y="199"/>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6" name="Freeform 16">
              <a:extLst>
                <a:ext uri="{FF2B5EF4-FFF2-40B4-BE49-F238E27FC236}">
                  <a16:creationId xmlns:a16="http://schemas.microsoft.com/office/drawing/2014/main" id="{57482AE9-FF88-0711-648D-A0364A48F018}"/>
                </a:ext>
              </a:extLst>
            </p:cNvPr>
            <p:cNvSpPr>
              <a:spLocks noEditPoints="1"/>
            </p:cNvSpPr>
            <p:nvPr userDrawn="1"/>
          </p:nvSpPr>
          <p:spPr bwMode="auto">
            <a:xfrm>
              <a:off x="6120" y="2552"/>
              <a:ext cx="331" cy="551"/>
            </a:xfrm>
            <a:custGeom>
              <a:avLst/>
              <a:gdLst>
                <a:gd name="T0" fmla="*/ 315628455 w 140"/>
                <a:gd name="T1" fmla="*/ 0 h 232"/>
                <a:gd name="T2" fmla="*/ 315628455 w 140"/>
                <a:gd name="T3" fmla="*/ 564828430 h 232"/>
                <a:gd name="T4" fmla="*/ 288722604 w 140"/>
                <a:gd name="T5" fmla="*/ 564828430 h 232"/>
                <a:gd name="T6" fmla="*/ 288722604 w 140"/>
                <a:gd name="T7" fmla="*/ 31976658 h 232"/>
                <a:gd name="T8" fmla="*/ 110489077 w 140"/>
                <a:gd name="T9" fmla="*/ 31976658 h 232"/>
                <a:gd name="T10" fmla="*/ 51651254 w 140"/>
                <a:gd name="T11" fmla="*/ 58299493 h 232"/>
                <a:gd name="T12" fmla="*/ 26606139 w 140"/>
                <a:gd name="T13" fmla="*/ 122107630 h 232"/>
                <a:gd name="T14" fmla="*/ 26606139 w 140"/>
                <a:gd name="T15" fmla="*/ 564828430 h 232"/>
                <a:gd name="T16" fmla="*/ 0 w 140"/>
                <a:gd name="T17" fmla="*/ 564828430 h 232"/>
                <a:gd name="T18" fmla="*/ 0 w 140"/>
                <a:gd name="T19" fmla="*/ 122107630 h 232"/>
                <a:gd name="T20" fmla="*/ 31354195 w 140"/>
                <a:gd name="T21" fmla="*/ 37103839 h 232"/>
                <a:gd name="T22" fmla="*/ 110489077 w 140"/>
                <a:gd name="T23" fmla="*/ 0 h 232"/>
                <a:gd name="T24" fmla="*/ 315628455 w 140"/>
                <a:gd name="T25" fmla="*/ 0 h 232"/>
                <a:gd name="T26" fmla="*/ 44631525 w 140"/>
                <a:gd name="T27" fmla="*/ 122107630 h 232"/>
                <a:gd name="T28" fmla="*/ 65649001 w 140"/>
                <a:gd name="T29" fmla="*/ 70832843 h 232"/>
                <a:gd name="T30" fmla="*/ 110489077 w 140"/>
                <a:gd name="T31" fmla="*/ 51413739 h 232"/>
                <a:gd name="T32" fmla="*/ 270477527 w 140"/>
                <a:gd name="T33" fmla="*/ 51413739 h 232"/>
                <a:gd name="T34" fmla="*/ 270477527 w 140"/>
                <a:gd name="T35" fmla="*/ 233836064 h 232"/>
                <a:gd name="T36" fmla="*/ 44631525 w 140"/>
                <a:gd name="T37" fmla="*/ 233836064 h 232"/>
                <a:gd name="T38" fmla="*/ 44631525 w 140"/>
                <a:gd name="T39" fmla="*/ 122107630 h 232"/>
                <a:gd name="T40" fmla="*/ 270477527 w 140"/>
                <a:gd name="T41" fmla="*/ 253283286 h 232"/>
                <a:gd name="T42" fmla="*/ 270477527 w 140"/>
                <a:gd name="T43" fmla="*/ 564828430 h 232"/>
                <a:gd name="T44" fmla="*/ 241121972 w 140"/>
                <a:gd name="T45" fmla="*/ 564828430 h 232"/>
                <a:gd name="T46" fmla="*/ 241121972 w 140"/>
                <a:gd name="T47" fmla="*/ 283050061 h 232"/>
                <a:gd name="T48" fmla="*/ 74130275 w 140"/>
                <a:gd name="T49" fmla="*/ 283050061 h 232"/>
                <a:gd name="T50" fmla="*/ 74130275 w 140"/>
                <a:gd name="T51" fmla="*/ 564828430 h 232"/>
                <a:gd name="T52" fmla="*/ 44631525 w 140"/>
                <a:gd name="T53" fmla="*/ 564828430 h 232"/>
                <a:gd name="T54" fmla="*/ 44631525 w 140"/>
                <a:gd name="T55" fmla="*/ 253283286 h 232"/>
                <a:gd name="T56" fmla="*/ 270477527 w 140"/>
                <a:gd name="T57" fmla="*/ 253283286 h 232"/>
                <a:gd name="T58" fmla="*/ 241121972 w 140"/>
                <a:gd name="T59" fmla="*/ 79781492 h 232"/>
                <a:gd name="T60" fmla="*/ 110489077 w 140"/>
                <a:gd name="T61" fmla="*/ 79781492 h 232"/>
                <a:gd name="T62" fmla="*/ 85974132 w 140"/>
                <a:gd name="T63" fmla="*/ 92335711 h 232"/>
                <a:gd name="T64" fmla="*/ 74130275 w 140"/>
                <a:gd name="T65" fmla="*/ 122107630 h 232"/>
                <a:gd name="T66" fmla="*/ 74130275 w 140"/>
                <a:gd name="T67" fmla="*/ 202009418 h 232"/>
                <a:gd name="T68" fmla="*/ 241121972 w 140"/>
                <a:gd name="T69" fmla="*/ 202009418 h 232"/>
                <a:gd name="T70" fmla="*/ 241121972 w 140"/>
                <a:gd name="T71" fmla="*/ 79781492 h 23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40" h="232">
                  <a:moveTo>
                    <a:pt x="140" y="0"/>
                  </a:moveTo>
                  <a:cubicBezTo>
                    <a:pt x="140" y="232"/>
                    <a:pt x="140" y="232"/>
                    <a:pt x="140" y="232"/>
                  </a:cubicBezTo>
                  <a:cubicBezTo>
                    <a:pt x="128" y="232"/>
                    <a:pt x="128" y="232"/>
                    <a:pt x="128" y="232"/>
                  </a:cubicBezTo>
                  <a:cubicBezTo>
                    <a:pt x="128" y="13"/>
                    <a:pt x="128" y="13"/>
                    <a:pt x="128" y="13"/>
                  </a:cubicBezTo>
                  <a:cubicBezTo>
                    <a:pt x="49" y="13"/>
                    <a:pt x="49" y="13"/>
                    <a:pt x="49" y="13"/>
                  </a:cubicBezTo>
                  <a:cubicBezTo>
                    <a:pt x="39" y="13"/>
                    <a:pt x="30" y="16"/>
                    <a:pt x="23" y="24"/>
                  </a:cubicBezTo>
                  <a:cubicBezTo>
                    <a:pt x="16" y="31"/>
                    <a:pt x="12" y="40"/>
                    <a:pt x="12" y="50"/>
                  </a:cubicBezTo>
                  <a:cubicBezTo>
                    <a:pt x="12" y="232"/>
                    <a:pt x="12" y="232"/>
                    <a:pt x="12" y="232"/>
                  </a:cubicBezTo>
                  <a:cubicBezTo>
                    <a:pt x="0" y="232"/>
                    <a:pt x="0" y="232"/>
                    <a:pt x="0" y="232"/>
                  </a:cubicBezTo>
                  <a:cubicBezTo>
                    <a:pt x="0" y="50"/>
                    <a:pt x="0" y="50"/>
                    <a:pt x="0" y="50"/>
                  </a:cubicBezTo>
                  <a:cubicBezTo>
                    <a:pt x="0" y="36"/>
                    <a:pt x="5" y="25"/>
                    <a:pt x="14" y="15"/>
                  </a:cubicBezTo>
                  <a:cubicBezTo>
                    <a:pt x="24" y="5"/>
                    <a:pt x="36" y="0"/>
                    <a:pt x="49" y="0"/>
                  </a:cubicBezTo>
                  <a:lnTo>
                    <a:pt x="140" y="0"/>
                  </a:lnTo>
                  <a:close/>
                  <a:moveTo>
                    <a:pt x="20" y="50"/>
                  </a:moveTo>
                  <a:cubicBezTo>
                    <a:pt x="20" y="42"/>
                    <a:pt x="23" y="35"/>
                    <a:pt x="29" y="29"/>
                  </a:cubicBezTo>
                  <a:cubicBezTo>
                    <a:pt x="35" y="24"/>
                    <a:pt x="41" y="21"/>
                    <a:pt x="49" y="21"/>
                  </a:cubicBezTo>
                  <a:cubicBezTo>
                    <a:pt x="120" y="21"/>
                    <a:pt x="120" y="21"/>
                    <a:pt x="120" y="21"/>
                  </a:cubicBezTo>
                  <a:cubicBezTo>
                    <a:pt x="120" y="96"/>
                    <a:pt x="120" y="96"/>
                    <a:pt x="120" y="96"/>
                  </a:cubicBezTo>
                  <a:cubicBezTo>
                    <a:pt x="20" y="96"/>
                    <a:pt x="20" y="96"/>
                    <a:pt x="20" y="96"/>
                  </a:cubicBezTo>
                  <a:lnTo>
                    <a:pt x="20" y="50"/>
                  </a:lnTo>
                  <a:close/>
                  <a:moveTo>
                    <a:pt x="120" y="104"/>
                  </a:moveTo>
                  <a:cubicBezTo>
                    <a:pt x="120" y="232"/>
                    <a:pt x="120" y="232"/>
                    <a:pt x="120" y="232"/>
                  </a:cubicBezTo>
                  <a:cubicBezTo>
                    <a:pt x="107" y="232"/>
                    <a:pt x="107" y="232"/>
                    <a:pt x="107" y="232"/>
                  </a:cubicBezTo>
                  <a:cubicBezTo>
                    <a:pt x="107" y="116"/>
                    <a:pt x="107" y="116"/>
                    <a:pt x="107" y="116"/>
                  </a:cubicBezTo>
                  <a:cubicBezTo>
                    <a:pt x="33" y="116"/>
                    <a:pt x="33" y="116"/>
                    <a:pt x="33" y="116"/>
                  </a:cubicBezTo>
                  <a:cubicBezTo>
                    <a:pt x="33" y="232"/>
                    <a:pt x="33" y="232"/>
                    <a:pt x="33" y="232"/>
                  </a:cubicBezTo>
                  <a:cubicBezTo>
                    <a:pt x="20" y="232"/>
                    <a:pt x="20" y="232"/>
                    <a:pt x="20" y="232"/>
                  </a:cubicBezTo>
                  <a:cubicBezTo>
                    <a:pt x="20" y="104"/>
                    <a:pt x="20" y="104"/>
                    <a:pt x="20" y="104"/>
                  </a:cubicBezTo>
                  <a:lnTo>
                    <a:pt x="120" y="104"/>
                  </a:lnTo>
                  <a:close/>
                  <a:moveTo>
                    <a:pt x="107" y="33"/>
                  </a:moveTo>
                  <a:cubicBezTo>
                    <a:pt x="49" y="33"/>
                    <a:pt x="49" y="33"/>
                    <a:pt x="49" y="33"/>
                  </a:cubicBezTo>
                  <a:cubicBezTo>
                    <a:pt x="45" y="33"/>
                    <a:pt x="41" y="35"/>
                    <a:pt x="38" y="38"/>
                  </a:cubicBezTo>
                  <a:cubicBezTo>
                    <a:pt x="34" y="42"/>
                    <a:pt x="33" y="45"/>
                    <a:pt x="33" y="50"/>
                  </a:cubicBezTo>
                  <a:cubicBezTo>
                    <a:pt x="33" y="83"/>
                    <a:pt x="33" y="83"/>
                    <a:pt x="33" y="83"/>
                  </a:cubicBezTo>
                  <a:cubicBezTo>
                    <a:pt x="107" y="83"/>
                    <a:pt x="107" y="83"/>
                    <a:pt x="107" y="83"/>
                  </a:cubicBezTo>
                  <a:lnTo>
                    <a:pt x="107" y="33"/>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 name="Freeform 17">
              <a:extLst>
                <a:ext uri="{FF2B5EF4-FFF2-40B4-BE49-F238E27FC236}">
                  <a16:creationId xmlns:a16="http://schemas.microsoft.com/office/drawing/2014/main" id="{8968A8A1-EC7D-68FB-44D3-651E754E4F3B}"/>
                </a:ext>
              </a:extLst>
            </p:cNvPr>
            <p:cNvSpPr>
              <a:spLocks noEditPoints="1"/>
            </p:cNvSpPr>
            <p:nvPr userDrawn="1"/>
          </p:nvSpPr>
          <p:spPr bwMode="auto">
            <a:xfrm>
              <a:off x="6517" y="2552"/>
              <a:ext cx="331" cy="551"/>
            </a:xfrm>
            <a:custGeom>
              <a:avLst/>
              <a:gdLst>
                <a:gd name="T0" fmla="*/ 0 w 331"/>
                <a:gd name="T1" fmla="*/ 0 h 551"/>
                <a:gd name="T2" fmla="*/ 331 w 331"/>
                <a:gd name="T3" fmla="*/ 0 h 551"/>
                <a:gd name="T4" fmla="*/ 331 w 331"/>
                <a:gd name="T5" fmla="*/ 31 h 551"/>
                <a:gd name="T6" fmla="*/ 0 w 331"/>
                <a:gd name="T7" fmla="*/ 31 h 551"/>
                <a:gd name="T8" fmla="*/ 0 w 331"/>
                <a:gd name="T9" fmla="*/ 0 h 551"/>
                <a:gd name="T10" fmla="*/ 156 w 331"/>
                <a:gd name="T11" fmla="*/ 50 h 551"/>
                <a:gd name="T12" fmla="*/ 156 w 331"/>
                <a:gd name="T13" fmla="*/ 551 h 551"/>
                <a:gd name="T14" fmla="*/ 128 w 331"/>
                <a:gd name="T15" fmla="*/ 551 h 551"/>
                <a:gd name="T16" fmla="*/ 128 w 331"/>
                <a:gd name="T17" fmla="*/ 79 h 551"/>
                <a:gd name="T18" fmla="*/ 0 w 331"/>
                <a:gd name="T19" fmla="*/ 79 h 551"/>
                <a:gd name="T20" fmla="*/ 0 w 331"/>
                <a:gd name="T21" fmla="*/ 50 h 551"/>
                <a:gd name="T22" fmla="*/ 156 w 331"/>
                <a:gd name="T23" fmla="*/ 50 h 551"/>
                <a:gd name="T24" fmla="*/ 331 w 331"/>
                <a:gd name="T25" fmla="*/ 50 h 551"/>
                <a:gd name="T26" fmla="*/ 331 w 331"/>
                <a:gd name="T27" fmla="*/ 79 h 551"/>
                <a:gd name="T28" fmla="*/ 206 w 331"/>
                <a:gd name="T29" fmla="*/ 79 h 551"/>
                <a:gd name="T30" fmla="*/ 206 w 331"/>
                <a:gd name="T31" fmla="*/ 551 h 551"/>
                <a:gd name="T32" fmla="*/ 175 w 331"/>
                <a:gd name="T33" fmla="*/ 551 h 551"/>
                <a:gd name="T34" fmla="*/ 175 w 331"/>
                <a:gd name="T35" fmla="*/ 50 h 551"/>
                <a:gd name="T36" fmla="*/ 331 w 331"/>
                <a:gd name="T37" fmla="*/ 50 h 5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31" h="551">
                  <a:moveTo>
                    <a:pt x="0" y="0"/>
                  </a:moveTo>
                  <a:lnTo>
                    <a:pt x="331" y="0"/>
                  </a:lnTo>
                  <a:lnTo>
                    <a:pt x="331" y="31"/>
                  </a:lnTo>
                  <a:lnTo>
                    <a:pt x="0" y="31"/>
                  </a:lnTo>
                  <a:lnTo>
                    <a:pt x="0" y="0"/>
                  </a:lnTo>
                  <a:close/>
                  <a:moveTo>
                    <a:pt x="156" y="50"/>
                  </a:moveTo>
                  <a:lnTo>
                    <a:pt x="156" y="551"/>
                  </a:lnTo>
                  <a:lnTo>
                    <a:pt x="128" y="551"/>
                  </a:lnTo>
                  <a:lnTo>
                    <a:pt x="128" y="79"/>
                  </a:lnTo>
                  <a:lnTo>
                    <a:pt x="0" y="79"/>
                  </a:lnTo>
                  <a:lnTo>
                    <a:pt x="0" y="50"/>
                  </a:lnTo>
                  <a:lnTo>
                    <a:pt x="156" y="50"/>
                  </a:lnTo>
                  <a:close/>
                  <a:moveTo>
                    <a:pt x="331" y="50"/>
                  </a:moveTo>
                  <a:lnTo>
                    <a:pt x="331" y="79"/>
                  </a:lnTo>
                  <a:lnTo>
                    <a:pt x="206" y="79"/>
                  </a:lnTo>
                  <a:lnTo>
                    <a:pt x="206" y="551"/>
                  </a:lnTo>
                  <a:lnTo>
                    <a:pt x="175" y="551"/>
                  </a:lnTo>
                  <a:lnTo>
                    <a:pt x="175" y="50"/>
                  </a:lnTo>
                  <a:lnTo>
                    <a:pt x="331" y="50"/>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8" name="Freeform 18">
              <a:extLst>
                <a:ext uri="{FF2B5EF4-FFF2-40B4-BE49-F238E27FC236}">
                  <a16:creationId xmlns:a16="http://schemas.microsoft.com/office/drawing/2014/main" id="{B0AD95CE-DFCA-1241-9340-7CE631AED371}"/>
                </a:ext>
              </a:extLst>
            </p:cNvPr>
            <p:cNvSpPr>
              <a:spLocks noEditPoints="1"/>
            </p:cNvSpPr>
            <p:nvPr userDrawn="1"/>
          </p:nvSpPr>
          <p:spPr bwMode="auto">
            <a:xfrm>
              <a:off x="6886" y="2552"/>
              <a:ext cx="312" cy="551"/>
            </a:xfrm>
            <a:custGeom>
              <a:avLst/>
              <a:gdLst>
                <a:gd name="T0" fmla="*/ 295891719 w 132"/>
                <a:gd name="T1" fmla="*/ 0 h 232"/>
                <a:gd name="T2" fmla="*/ 295891719 w 132"/>
                <a:gd name="T3" fmla="*/ 31976658 h 232"/>
                <a:gd name="T4" fmla="*/ 110103249 w 132"/>
                <a:gd name="T5" fmla="*/ 31976658 h 232"/>
                <a:gd name="T6" fmla="*/ 51443210 w 132"/>
                <a:gd name="T7" fmla="*/ 58299493 h 232"/>
                <a:gd name="T8" fmla="*/ 26510905 w 132"/>
                <a:gd name="T9" fmla="*/ 122107630 h 232"/>
                <a:gd name="T10" fmla="*/ 26510905 w 132"/>
                <a:gd name="T11" fmla="*/ 442759715 h 232"/>
                <a:gd name="T12" fmla="*/ 51443210 w 132"/>
                <a:gd name="T13" fmla="*/ 508305993 h 232"/>
                <a:gd name="T14" fmla="*/ 110103249 w 132"/>
                <a:gd name="T15" fmla="*/ 535913430 h 232"/>
                <a:gd name="T16" fmla="*/ 295891719 w 132"/>
                <a:gd name="T17" fmla="*/ 535913430 h 232"/>
                <a:gd name="T18" fmla="*/ 295891719 w 132"/>
                <a:gd name="T19" fmla="*/ 564828430 h 232"/>
                <a:gd name="T20" fmla="*/ 110103249 w 132"/>
                <a:gd name="T21" fmla="*/ 564828430 h 232"/>
                <a:gd name="T22" fmla="*/ 31262608 w 132"/>
                <a:gd name="T23" fmla="*/ 527724589 h 232"/>
                <a:gd name="T24" fmla="*/ 0 w 132"/>
                <a:gd name="T25" fmla="*/ 442759715 h 232"/>
                <a:gd name="T26" fmla="*/ 0 w 132"/>
                <a:gd name="T27" fmla="*/ 122107630 h 232"/>
                <a:gd name="T28" fmla="*/ 31262608 w 132"/>
                <a:gd name="T29" fmla="*/ 37103839 h 232"/>
                <a:gd name="T30" fmla="*/ 110103249 w 132"/>
                <a:gd name="T31" fmla="*/ 0 h 232"/>
                <a:gd name="T32" fmla="*/ 295891719 w 132"/>
                <a:gd name="T33" fmla="*/ 0 h 232"/>
                <a:gd name="T34" fmla="*/ 44482705 w 132"/>
                <a:gd name="T35" fmla="*/ 122107630 h 232"/>
                <a:gd name="T36" fmla="*/ 65404189 w 132"/>
                <a:gd name="T37" fmla="*/ 70832843 h 232"/>
                <a:gd name="T38" fmla="*/ 111981461 w 132"/>
                <a:gd name="T39" fmla="*/ 51413739 h 232"/>
                <a:gd name="T40" fmla="*/ 295891719 w 132"/>
                <a:gd name="T41" fmla="*/ 51413739 h 232"/>
                <a:gd name="T42" fmla="*/ 295891719 w 132"/>
                <a:gd name="T43" fmla="*/ 79781492 h 232"/>
                <a:gd name="T44" fmla="*/ 111981461 w 132"/>
                <a:gd name="T45" fmla="*/ 79781492 h 232"/>
                <a:gd name="T46" fmla="*/ 85443339 w 132"/>
                <a:gd name="T47" fmla="*/ 92335711 h 232"/>
                <a:gd name="T48" fmla="*/ 73893437 w 132"/>
                <a:gd name="T49" fmla="*/ 122107630 h 232"/>
                <a:gd name="T50" fmla="*/ 73893437 w 132"/>
                <a:gd name="T51" fmla="*/ 202009418 h 232"/>
                <a:gd name="T52" fmla="*/ 295891719 w 132"/>
                <a:gd name="T53" fmla="*/ 202009418 h 232"/>
                <a:gd name="T54" fmla="*/ 295891719 w 132"/>
                <a:gd name="T55" fmla="*/ 233836064 h 232"/>
                <a:gd name="T56" fmla="*/ 44482705 w 132"/>
                <a:gd name="T57" fmla="*/ 233836064 h 232"/>
                <a:gd name="T58" fmla="*/ 44482705 w 132"/>
                <a:gd name="T59" fmla="*/ 122107630 h 232"/>
                <a:gd name="T60" fmla="*/ 44482705 w 132"/>
                <a:gd name="T61" fmla="*/ 253283286 h 232"/>
                <a:gd name="T62" fmla="*/ 295891719 w 132"/>
                <a:gd name="T63" fmla="*/ 253283286 h 232"/>
                <a:gd name="T64" fmla="*/ 295891719 w 132"/>
                <a:gd name="T65" fmla="*/ 283050061 h 232"/>
                <a:gd name="T66" fmla="*/ 73893437 w 132"/>
                <a:gd name="T67" fmla="*/ 283050061 h 232"/>
                <a:gd name="T68" fmla="*/ 73893437 w 132"/>
                <a:gd name="T69" fmla="*/ 442759715 h 232"/>
                <a:gd name="T70" fmla="*/ 85443339 w 132"/>
                <a:gd name="T71" fmla="*/ 472485538 h 232"/>
                <a:gd name="T72" fmla="*/ 111981461 w 132"/>
                <a:gd name="T73" fmla="*/ 484506888 h 232"/>
                <a:gd name="T74" fmla="*/ 295891719 w 132"/>
                <a:gd name="T75" fmla="*/ 484506888 h 232"/>
                <a:gd name="T76" fmla="*/ 295891719 w 132"/>
                <a:gd name="T77" fmla="*/ 513431020 h 232"/>
                <a:gd name="T78" fmla="*/ 111981461 w 132"/>
                <a:gd name="T79" fmla="*/ 513431020 h 232"/>
                <a:gd name="T80" fmla="*/ 65404189 w 132"/>
                <a:gd name="T81" fmla="*/ 494012295 h 232"/>
                <a:gd name="T82" fmla="*/ 44482705 w 132"/>
                <a:gd name="T83" fmla="*/ 442759715 h 232"/>
                <a:gd name="T84" fmla="*/ 44482705 w 132"/>
                <a:gd name="T85" fmla="*/ 253283286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132" y="0"/>
                  </a:moveTo>
                  <a:cubicBezTo>
                    <a:pt x="132" y="13"/>
                    <a:pt x="132" y="13"/>
                    <a:pt x="132" y="13"/>
                  </a:cubicBezTo>
                  <a:cubicBezTo>
                    <a:pt x="49" y="13"/>
                    <a:pt x="49" y="13"/>
                    <a:pt x="49" y="13"/>
                  </a:cubicBezTo>
                  <a:cubicBezTo>
                    <a:pt x="39" y="13"/>
                    <a:pt x="30" y="16"/>
                    <a:pt x="23" y="24"/>
                  </a:cubicBezTo>
                  <a:cubicBezTo>
                    <a:pt x="16" y="31"/>
                    <a:pt x="12" y="40"/>
                    <a:pt x="12" y="50"/>
                  </a:cubicBezTo>
                  <a:cubicBezTo>
                    <a:pt x="12" y="182"/>
                    <a:pt x="12" y="182"/>
                    <a:pt x="12" y="182"/>
                  </a:cubicBezTo>
                  <a:cubicBezTo>
                    <a:pt x="12" y="193"/>
                    <a:pt x="16" y="201"/>
                    <a:pt x="23" y="209"/>
                  </a:cubicBezTo>
                  <a:cubicBezTo>
                    <a:pt x="30" y="216"/>
                    <a:pt x="39" y="220"/>
                    <a:pt x="49" y="220"/>
                  </a:cubicBezTo>
                  <a:cubicBezTo>
                    <a:pt x="132" y="220"/>
                    <a:pt x="132" y="220"/>
                    <a:pt x="132" y="220"/>
                  </a:cubicBezTo>
                  <a:cubicBezTo>
                    <a:pt x="132" y="232"/>
                    <a:pt x="132" y="232"/>
                    <a:pt x="132" y="232"/>
                  </a:cubicBezTo>
                  <a:cubicBezTo>
                    <a:pt x="49" y="232"/>
                    <a:pt x="49" y="232"/>
                    <a:pt x="49" y="232"/>
                  </a:cubicBezTo>
                  <a:cubicBezTo>
                    <a:pt x="36" y="232"/>
                    <a:pt x="24" y="227"/>
                    <a:pt x="14" y="217"/>
                  </a:cubicBezTo>
                  <a:cubicBezTo>
                    <a:pt x="5" y="208"/>
                    <a:pt x="0" y="196"/>
                    <a:pt x="0" y="182"/>
                  </a:cubicBezTo>
                  <a:cubicBezTo>
                    <a:pt x="0" y="50"/>
                    <a:pt x="0" y="50"/>
                    <a:pt x="0" y="50"/>
                  </a:cubicBezTo>
                  <a:cubicBezTo>
                    <a:pt x="0" y="36"/>
                    <a:pt x="5" y="25"/>
                    <a:pt x="14" y="15"/>
                  </a:cubicBezTo>
                  <a:cubicBezTo>
                    <a:pt x="24" y="5"/>
                    <a:pt x="36" y="0"/>
                    <a:pt x="49" y="0"/>
                  </a:cubicBezTo>
                  <a:lnTo>
                    <a:pt x="132" y="0"/>
                  </a:lnTo>
                  <a:close/>
                  <a:moveTo>
                    <a:pt x="20" y="50"/>
                  </a:moveTo>
                  <a:cubicBezTo>
                    <a:pt x="20" y="42"/>
                    <a:pt x="23" y="35"/>
                    <a:pt x="29" y="29"/>
                  </a:cubicBezTo>
                  <a:cubicBezTo>
                    <a:pt x="35" y="24"/>
                    <a:pt x="42" y="21"/>
                    <a:pt x="50" y="21"/>
                  </a:cubicBezTo>
                  <a:cubicBezTo>
                    <a:pt x="132" y="21"/>
                    <a:pt x="132" y="21"/>
                    <a:pt x="132" y="21"/>
                  </a:cubicBezTo>
                  <a:cubicBezTo>
                    <a:pt x="132" y="33"/>
                    <a:pt x="132" y="33"/>
                    <a:pt x="132" y="33"/>
                  </a:cubicBezTo>
                  <a:cubicBezTo>
                    <a:pt x="50" y="33"/>
                    <a:pt x="50" y="33"/>
                    <a:pt x="50" y="33"/>
                  </a:cubicBezTo>
                  <a:cubicBezTo>
                    <a:pt x="45" y="33"/>
                    <a:pt x="41" y="35"/>
                    <a:pt x="38" y="38"/>
                  </a:cubicBezTo>
                  <a:cubicBezTo>
                    <a:pt x="35" y="42"/>
                    <a:pt x="33" y="45"/>
                    <a:pt x="33" y="50"/>
                  </a:cubicBezTo>
                  <a:cubicBezTo>
                    <a:pt x="33" y="83"/>
                    <a:pt x="33" y="83"/>
                    <a:pt x="33" y="83"/>
                  </a:cubicBezTo>
                  <a:cubicBezTo>
                    <a:pt x="132" y="83"/>
                    <a:pt x="132" y="83"/>
                    <a:pt x="132" y="83"/>
                  </a:cubicBezTo>
                  <a:cubicBezTo>
                    <a:pt x="132" y="96"/>
                    <a:pt x="132" y="96"/>
                    <a:pt x="132" y="96"/>
                  </a:cubicBezTo>
                  <a:cubicBezTo>
                    <a:pt x="20" y="96"/>
                    <a:pt x="20" y="96"/>
                    <a:pt x="20" y="96"/>
                  </a:cubicBezTo>
                  <a:lnTo>
                    <a:pt x="20" y="50"/>
                  </a:lnTo>
                  <a:close/>
                  <a:moveTo>
                    <a:pt x="20" y="104"/>
                  </a:moveTo>
                  <a:cubicBezTo>
                    <a:pt x="132" y="104"/>
                    <a:pt x="132" y="104"/>
                    <a:pt x="132" y="104"/>
                  </a:cubicBezTo>
                  <a:cubicBezTo>
                    <a:pt x="132" y="116"/>
                    <a:pt x="132" y="116"/>
                    <a:pt x="132" y="116"/>
                  </a:cubicBezTo>
                  <a:cubicBezTo>
                    <a:pt x="33" y="116"/>
                    <a:pt x="33" y="116"/>
                    <a:pt x="33" y="116"/>
                  </a:cubicBezTo>
                  <a:cubicBezTo>
                    <a:pt x="33" y="182"/>
                    <a:pt x="33" y="182"/>
                    <a:pt x="33" y="182"/>
                  </a:cubicBezTo>
                  <a:cubicBezTo>
                    <a:pt x="33" y="187"/>
                    <a:pt x="35" y="191"/>
                    <a:pt x="38" y="194"/>
                  </a:cubicBezTo>
                  <a:cubicBezTo>
                    <a:pt x="41" y="197"/>
                    <a:pt x="45" y="199"/>
                    <a:pt x="50" y="199"/>
                  </a:cubicBezTo>
                  <a:cubicBezTo>
                    <a:pt x="132" y="199"/>
                    <a:pt x="132" y="199"/>
                    <a:pt x="132" y="199"/>
                  </a:cubicBezTo>
                  <a:cubicBezTo>
                    <a:pt x="132" y="211"/>
                    <a:pt x="132" y="211"/>
                    <a:pt x="132" y="211"/>
                  </a:cubicBezTo>
                  <a:cubicBezTo>
                    <a:pt x="50" y="211"/>
                    <a:pt x="50" y="211"/>
                    <a:pt x="50" y="211"/>
                  </a:cubicBezTo>
                  <a:cubicBezTo>
                    <a:pt x="42" y="211"/>
                    <a:pt x="35" y="209"/>
                    <a:pt x="29" y="203"/>
                  </a:cubicBezTo>
                  <a:cubicBezTo>
                    <a:pt x="23" y="197"/>
                    <a:pt x="20" y="190"/>
                    <a:pt x="20" y="182"/>
                  </a:cubicBezTo>
                  <a:lnTo>
                    <a:pt x="20" y="104"/>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9" name="TextBox 23">
            <a:extLst>
              <a:ext uri="{FF2B5EF4-FFF2-40B4-BE49-F238E27FC236}">
                <a16:creationId xmlns:a16="http://schemas.microsoft.com/office/drawing/2014/main" id="{953227FF-B740-8699-8820-5CDE37832317}"/>
              </a:ext>
            </a:extLst>
          </p:cNvPr>
          <p:cNvSpPr txBox="1">
            <a:spLocks noChangeArrowheads="1"/>
          </p:cNvSpPr>
          <p:nvPr/>
        </p:nvSpPr>
        <p:spPr bwMode="auto">
          <a:xfrm>
            <a:off x="11345863" y="6402388"/>
            <a:ext cx="354012" cy="261937"/>
          </a:xfrm>
          <a:prstGeom prst="rect">
            <a:avLst/>
          </a:prstGeom>
          <a:noFill/>
          <a:ln>
            <a:noFill/>
          </a:ln>
        </p:spPr>
        <p:txBody>
          <a:bodyPr wrap="none">
            <a:spAutoFit/>
          </a:bodyPr>
          <a:lstStyle>
            <a:lvl1pPr>
              <a:defRPr>
                <a:solidFill>
                  <a:schemeClr val="tx1"/>
                </a:solidFill>
                <a:latin typeface="Lato Light" panose="020F0502020204030203" pitchFamily="34" charset="0"/>
              </a:defRPr>
            </a:lvl1pPr>
            <a:lvl2pPr marL="742950" indent="-285750">
              <a:defRPr>
                <a:solidFill>
                  <a:schemeClr val="tx1"/>
                </a:solidFill>
                <a:latin typeface="Lato Light" panose="020F0502020204030203" pitchFamily="34" charset="0"/>
              </a:defRPr>
            </a:lvl2pPr>
            <a:lvl3pPr marL="1143000" indent="-228600">
              <a:defRPr>
                <a:solidFill>
                  <a:schemeClr val="tx1"/>
                </a:solidFill>
                <a:latin typeface="Lato Light" panose="020F0502020204030203" pitchFamily="34" charset="0"/>
              </a:defRPr>
            </a:lvl3pPr>
            <a:lvl4pPr marL="1600200" indent="-228600">
              <a:defRPr>
                <a:solidFill>
                  <a:schemeClr val="tx1"/>
                </a:solidFill>
                <a:latin typeface="Lato Light" panose="020F0502020204030203" pitchFamily="34" charset="0"/>
              </a:defRPr>
            </a:lvl4pPr>
            <a:lvl5pPr marL="2057400" indent="-228600">
              <a:defRPr>
                <a:solidFill>
                  <a:schemeClr val="tx1"/>
                </a:solidFill>
                <a:latin typeface="Lato Light" panose="020F0502020204030203" pitchFamily="34" charset="0"/>
              </a:defRPr>
            </a:lvl5pPr>
            <a:lvl6pPr marL="2514600" indent="-228600" eaLnBrk="0" fontAlgn="base" hangingPunct="0">
              <a:spcBef>
                <a:spcPct val="0"/>
              </a:spcBef>
              <a:spcAft>
                <a:spcPct val="0"/>
              </a:spcAft>
              <a:defRPr>
                <a:solidFill>
                  <a:schemeClr val="tx1"/>
                </a:solidFill>
                <a:latin typeface="Lato Light" panose="020F0502020204030203" pitchFamily="34" charset="0"/>
              </a:defRPr>
            </a:lvl6pPr>
            <a:lvl7pPr marL="2971800" indent="-228600" eaLnBrk="0" fontAlgn="base" hangingPunct="0">
              <a:spcBef>
                <a:spcPct val="0"/>
              </a:spcBef>
              <a:spcAft>
                <a:spcPct val="0"/>
              </a:spcAft>
              <a:defRPr>
                <a:solidFill>
                  <a:schemeClr val="tx1"/>
                </a:solidFill>
                <a:latin typeface="Lato Light" panose="020F0502020204030203" pitchFamily="34" charset="0"/>
              </a:defRPr>
            </a:lvl7pPr>
            <a:lvl8pPr marL="3429000" indent="-228600" eaLnBrk="0" fontAlgn="base" hangingPunct="0">
              <a:spcBef>
                <a:spcPct val="0"/>
              </a:spcBef>
              <a:spcAft>
                <a:spcPct val="0"/>
              </a:spcAft>
              <a:defRPr>
                <a:solidFill>
                  <a:schemeClr val="tx1"/>
                </a:solidFill>
                <a:latin typeface="Lato Light" panose="020F0502020204030203" pitchFamily="34" charset="0"/>
              </a:defRPr>
            </a:lvl8pPr>
            <a:lvl9pPr marL="3886200" indent="-228600" eaLnBrk="0" fontAlgn="base" hangingPunct="0">
              <a:spcBef>
                <a:spcPct val="0"/>
              </a:spcBef>
              <a:spcAft>
                <a:spcPct val="0"/>
              </a:spcAft>
              <a:defRPr>
                <a:solidFill>
                  <a:schemeClr val="tx1"/>
                </a:solidFill>
                <a:latin typeface="Lato Light" panose="020F0502020204030203" pitchFamily="34" charset="0"/>
              </a:defRPr>
            </a:lvl9pPr>
          </a:lstStyle>
          <a:p>
            <a:pPr algn="ctr" eaLnBrk="1" hangingPunct="1">
              <a:defRPr/>
            </a:pPr>
            <a:fld id="{92AE150D-70AE-4143-A361-74320BA10189}" type="slidenum">
              <a:rPr lang="en-US" altLang="tr-TR" sz="1100" smtClean="0">
                <a:solidFill>
                  <a:schemeClr val="tx2"/>
                </a:solidFill>
              </a:rPr>
              <a:pPr algn="ctr" eaLnBrk="1" hangingPunct="1">
                <a:defRPr/>
              </a:pPr>
              <a:t>‹#›</a:t>
            </a:fld>
            <a:endParaRPr lang="en-US" altLang="tr-TR" sz="1100">
              <a:solidFill>
                <a:schemeClr val="tx2"/>
              </a:solidFill>
            </a:endParaRPr>
          </a:p>
        </p:txBody>
      </p:sp>
      <p:sp>
        <p:nvSpPr>
          <p:cNvPr id="7" name="Picture Placeholder 3"/>
          <p:cNvSpPr>
            <a:spLocks noGrp="1"/>
          </p:cNvSpPr>
          <p:nvPr>
            <p:ph type="pic" sz="quarter" idx="18"/>
          </p:nvPr>
        </p:nvSpPr>
        <p:spPr>
          <a:xfrm>
            <a:off x="839479" y="1777941"/>
            <a:ext cx="7418109" cy="4144876"/>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Tree>
    <p:extLst>
      <p:ext uri="{BB962C8B-B14F-4D97-AF65-F5344CB8AC3E}">
        <p14:creationId xmlns:p14="http://schemas.microsoft.com/office/powerpoint/2010/main" val="15661499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7_Custom Layout">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6ECAA281-91EC-7C0C-C1E0-DA83987BE662}"/>
              </a:ext>
            </a:extLst>
          </p:cNvPr>
          <p:cNvSpPr/>
          <p:nvPr/>
        </p:nvSpPr>
        <p:spPr>
          <a:xfrm>
            <a:off x="11350625" y="6361113"/>
            <a:ext cx="344488" cy="344487"/>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2"/>
              </a:solidFill>
            </a:endParaRPr>
          </a:p>
        </p:txBody>
      </p:sp>
      <p:grpSp>
        <p:nvGrpSpPr>
          <p:cNvPr id="3" name="Group 4">
            <a:extLst>
              <a:ext uri="{FF2B5EF4-FFF2-40B4-BE49-F238E27FC236}">
                <a16:creationId xmlns:a16="http://schemas.microsoft.com/office/drawing/2014/main" id="{EB715C5D-0B88-56BB-0483-23EF5678BA5C}"/>
              </a:ext>
            </a:extLst>
          </p:cNvPr>
          <p:cNvGrpSpPr>
            <a:grpSpLocks noChangeAspect="1"/>
          </p:cNvGrpSpPr>
          <p:nvPr/>
        </p:nvGrpSpPr>
        <p:grpSpPr bwMode="auto">
          <a:xfrm>
            <a:off x="527050" y="6389688"/>
            <a:ext cx="1039813" cy="284162"/>
            <a:chOff x="297" y="1187"/>
            <a:chExt cx="7085" cy="1944"/>
          </a:xfrm>
        </p:grpSpPr>
        <p:sp>
          <p:nvSpPr>
            <p:cNvPr id="4" name="Freeform 7">
              <a:extLst>
                <a:ext uri="{FF2B5EF4-FFF2-40B4-BE49-F238E27FC236}">
                  <a16:creationId xmlns:a16="http://schemas.microsoft.com/office/drawing/2014/main" id="{4BA57001-AF44-DCDB-571A-D800474F6F7C}"/>
                </a:ext>
              </a:extLst>
            </p:cNvPr>
            <p:cNvSpPr>
              <a:spLocks noEditPoints="1"/>
            </p:cNvSpPr>
            <p:nvPr userDrawn="1"/>
          </p:nvSpPr>
          <p:spPr bwMode="auto">
            <a:xfrm>
              <a:off x="297" y="1189"/>
              <a:ext cx="1266" cy="1105"/>
            </a:xfrm>
            <a:custGeom>
              <a:avLst/>
              <a:gdLst>
                <a:gd name="T0" fmla="*/ 592814223 w 535"/>
                <a:gd name="T1" fmla="*/ 490470457 h 466"/>
                <a:gd name="T2" fmla="*/ 475447313 w 535"/>
                <a:gd name="T3" fmla="*/ 198813566 h 466"/>
                <a:gd name="T4" fmla="*/ 254086917 w 535"/>
                <a:gd name="T5" fmla="*/ 767261907 h 466"/>
                <a:gd name="T6" fmla="*/ 205935911 w 535"/>
                <a:gd name="T7" fmla="*/ 898255873 h 466"/>
                <a:gd name="T8" fmla="*/ 135177273 w 535"/>
                <a:gd name="T9" fmla="*/ 1082812292 h 466"/>
                <a:gd name="T10" fmla="*/ 135177273 w 535"/>
                <a:gd name="T11" fmla="*/ 1079972834 h 466"/>
                <a:gd name="T12" fmla="*/ 102568007 w 535"/>
                <a:gd name="T13" fmla="*/ 1104057219 h 466"/>
                <a:gd name="T14" fmla="*/ 25381052 w 535"/>
                <a:gd name="T15" fmla="*/ 1104057219 h 466"/>
                <a:gd name="T16" fmla="*/ 0 w 535"/>
                <a:gd name="T17" fmla="*/ 1087116478 h 466"/>
                <a:gd name="T18" fmla="*/ 2031267 w 535"/>
                <a:gd name="T19" fmla="*/ 1078264271 h 466"/>
                <a:gd name="T20" fmla="*/ 4806699 w 535"/>
                <a:gd name="T21" fmla="*/ 1068152912 h 466"/>
                <a:gd name="T22" fmla="*/ 423281075 w 535"/>
                <a:gd name="T23" fmla="*/ 19018883 h 466"/>
                <a:gd name="T24" fmla="*/ 425157884 w 535"/>
                <a:gd name="T25" fmla="*/ 16871626 h 466"/>
                <a:gd name="T26" fmla="*/ 423281075 w 535"/>
                <a:gd name="T27" fmla="*/ 19018883 h 466"/>
                <a:gd name="T28" fmla="*/ 430186005 w 535"/>
                <a:gd name="T29" fmla="*/ 7115093 h 466"/>
                <a:gd name="T30" fmla="*/ 453467932 w 535"/>
                <a:gd name="T31" fmla="*/ 0 h 466"/>
                <a:gd name="T32" fmla="*/ 500809590 w 535"/>
                <a:gd name="T33" fmla="*/ 0 h 466"/>
                <a:gd name="T34" fmla="*/ 522062318 w 535"/>
                <a:gd name="T35" fmla="*/ 7115093 h 466"/>
                <a:gd name="T36" fmla="*/ 528624526 w 535"/>
                <a:gd name="T37" fmla="*/ 19018883 h 466"/>
                <a:gd name="T38" fmla="*/ 530657417 w 535"/>
                <a:gd name="T39" fmla="*/ 19018883 h 466"/>
                <a:gd name="T40" fmla="*/ 532753721 w 535"/>
                <a:gd name="T41" fmla="*/ 23986629 h 466"/>
                <a:gd name="T42" fmla="*/ 530657417 w 535"/>
                <a:gd name="T43" fmla="*/ 21137875 h 466"/>
                <a:gd name="T44" fmla="*/ 656507488 w 535"/>
                <a:gd name="T45" fmla="*/ 336755356 h 466"/>
                <a:gd name="T46" fmla="*/ 592814223 w 535"/>
                <a:gd name="T47" fmla="*/ 490470457 h 466"/>
                <a:gd name="T48" fmla="*/ 1063415281 w 535"/>
                <a:gd name="T49" fmla="*/ 1007003229 h 466"/>
                <a:gd name="T50" fmla="*/ 1020096784 w 535"/>
                <a:gd name="T51" fmla="*/ 898255873 h 466"/>
                <a:gd name="T52" fmla="*/ 862287051 w 535"/>
                <a:gd name="T53" fmla="*/ 490470457 h 466"/>
                <a:gd name="T54" fmla="*/ 745075518 w 535"/>
                <a:gd name="T55" fmla="*/ 198813566 h 466"/>
                <a:gd name="T56" fmla="*/ 524093625 w 535"/>
                <a:gd name="T57" fmla="*/ 767261907 h 466"/>
                <a:gd name="T58" fmla="*/ 473909525 w 535"/>
                <a:gd name="T59" fmla="*/ 898255873 h 466"/>
                <a:gd name="T60" fmla="*/ 405184384 w 535"/>
                <a:gd name="T61" fmla="*/ 1082812292 h 466"/>
                <a:gd name="T62" fmla="*/ 405184384 w 535"/>
                <a:gd name="T63" fmla="*/ 1079972834 h 466"/>
                <a:gd name="T64" fmla="*/ 372851835 w 535"/>
                <a:gd name="T65" fmla="*/ 1104057219 h 466"/>
                <a:gd name="T66" fmla="*/ 295029932 w 535"/>
                <a:gd name="T67" fmla="*/ 1104057219 h 466"/>
                <a:gd name="T68" fmla="*/ 269628205 w 535"/>
                <a:gd name="T69" fmla="*/ 1087116478 h 466"/>
                <a:gd name="T70" fmla="*/ 272403609 w 535"/>
                <a:gd name="T71" fmla="*/ 1078264271 h 466"/>
                <a:gd name="T72" fmla="*/ 274527635 w 535"/>
                <a:gd name="T73" fmla="*/ 1068152912 h 466"/>
                <a:gd name="T74" fmla="*/ 693246507 w 535"/>
                <a:gd name="T75" fmla="*/ 19018883 h 466"/>
                <a:gd name="T76" fmla="*/ 694891188 w 535"/>
                <a:gd name="T77" fmla="*/ 16871626 h 466"/>
                <a:gd name="T78" fmla="*/ 693246507 w 535"/>
                <a:gd name="T79" fmla="*/ 19018883 h 466"/>
                <a:gd name="T80" fmla="*/ 699814170 w 535"/>
                <a:gd name="T81" fmla="*/ 7115093 h 466"/>
                <a:gd name="T82" fmla="*/ 722963600 w 535"/>
                <a:gd name="T83" fmla="*/ 0 h 466"/>
                <a:gd name="T84" fmla="*/ 770453496 w 535"/>
                <a:gd name="T85" fmla="*/ 0 h 466"/>
                <a:gd name="T86" fmla="*/ 791690909 w 535"/>
                <a:gd name="T87" fmla="*/ 7115093 h 466"/>
                <a:gd name="T88" fmla="*/ 798593889 w 535"/>
                <a:gd name="T89" fmla="*/ 19018883 h 466"/>
                <a:gd name="T90" fmla="*/ 800282813 w 535"/>
                <a:gd name="T91" fmla="*/ 19018883 h 466"/>
                <a:gd name="T92" fmla="*/ 800282813 w 535"/>
                <a:gd name="T93" fmla="*/ 23986629 h 466"/>
                <a:gd name="T94" fmla="*/ 800282813 w 535"/>
                <a:gd name="T95" fmla="*/ 21137875 h 466"/>
                <a:gd name="T96" fmla="*/ 1221874959 w 535"/>
                <a:gd name="T97" fmla="*/ 1068152912 h 466"/>
                <a:gd name="T98" fmla="*/ 1223907795 w 535"/>
                <a:gd name="T99" fmla="*/ 1073239556 h 466"/>
                <a:gd name="T100" fmla="*/ 1223907795 w 535"/>
                <a:gd name="T101" fmla="*/ 1087116478 h 466"/>
                <a:gd name="T102" fmla="*/ 1198604492 w 535"/>
                <a:gd name="T103" fmla="*/ 1104057219 h 466"/>
                <a:gd name="T104" fmla="*/ 1123315401 w 535"/>
                <a:gd name="T105" fmla="*/ 1104057219 h 466"/>
                <a:gd name="T106" fmla="*/ 1091504023 w 535"/>
                <a:gd name="T107" fmla="*/ 1082812292 h 466"/>
                <a:gd name="T108" fmla="*/ 1063415281 w 535"/>
                <a:gd name="T109" fmla="*/ 1007003229 h 4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35" h="466">
                  <a:moveTo>
                    <a:pt x="259" y="207"/>
                  </a:moveTo>
                  <a:cubicBezTo>
                    <a:pt x="208" y="84"/>
                    <a:pt x="208" y="84"/>
                    <a:pt x="208" y="84"/>
                  </a:cubicBezTo>
                  <a:cubicBezTo>
                    <a:pt x="111" y="324"/>
                    <a:pt x="111" y="324"/>
                    <a:pt x="111" y="324"/>
                  </a:cubicBezTo>
                  <a:cubicBezTo>
                    <a:pt x="90" y="379"/>
                    <a:pt x="90" y="379"/>
                    <a:pt x="90" y="379"/>
                  </a:cubicBezTo>
                  <a:cubicBezTo>
                    <a:pt x="59" y="457"/>
                    <a:pt x="59" y="457"/>
                    <a:pt x="59" y="457"/>
                  </a:cubicBezTo>
                  <a:cubicBezTo>
                    <a:pt x="59" y="456"/>
                    <a:pt x="59" y="456"/>
                    <a:pt x="59" y="456"/>
                  </a:cubicBezTo>
                  <a:cubicBezTo>
                    <a:pt x="56" y="462"/>
                    <a:pt x="51" y="466"/>
                    <a:pt x="45" y="466"/>
                  </a:cubicBezTo>
                  <a:cubicBezTo>
                    <a:pt x="11" y="466"/>
                    <a:pt x="11" y="466"/>
                    <a:pt x="11" y="466"/>
                  </a:cubicBezTo>
                  <a:cubicBezTo>
                    <a:pt x="4" y="466"/>
                    <a:pt x="0" y="464"/>
                    <a:pt x="0" y="459"/>
                  </a:cubicBezTo>
                  <a:cubicBezTo>
                    <a:pt x="0" y="458"/>
                    <a:pt x="0" y="457"/>
                    <a:pt x="1" y="455"/>
                  </a:cubicBezTo>
                  <a:cubicBezTo>
                    <a:pt x="2" y="451"/>
                    <a:pt x="2" y="451"/>
                    <a:pt x="2" y="451"/>
                  </a:cubicBezTo>
                  <a:cubicBezTo>
                    <a:pt x="185" y="8"/>
                    <a:pt x="185" y="8"/>
                    <a:pt x="185" y="8"/>
                  </a:cubicBezTo>
                  <a:cubicBezTo>
                    <a:pt x="185" y="8"/>
                    <a:pt x="185" y="7"/>
                    <a:pt x="186" y="7"/>
                  </a:cubicBezTo>
                  <a:cubicBezTo>
                    <a:pt x="185" y="8"/>
                    <a:pt x="185" y="8"/>
                    <a:pt x="185" y="8"/>
                  </a:cubicBezTo>
                  <a:cubicBezTo>
                    <a:pt x="188" y="3"/>
                    <a:pt x="188" y="3"/>
                    <a:pt x="188" y="3"/>
                  </a:cubicBezTo>
                  <a:cubicBezTo>
                    <a:pt x="190" y="1"/>
                    <a:pt x="193" y="0"/>
                    <a:pt x="198" y="0"/>
                  </a:cubicBezTo>
                  <a:cubicBezTo>
                    <a:pt x="219" y="0"/>
                    <a:pt x="219" y="0"/>
                    <a:pt x="219" y="0"/>
                  </a:cubicBezTo>
                  <a:cubicBezTo>
                    <a:pt x="224" y="0"/>
                    <a:pt x="227" y="1"/>
                    <a:pt x="228" y="3"/>
                  </a:cubicBezTo>
                  <a:cubicBezTo>
                    <a:pt x="231" y="8"/>
                    <a:pt x="231" y="8"/>
                    <a:pt x="231" y="8"/>
                  </a:cubicBezTo>
                  <a:cubicBezTo>
                    <a:pt x="231" y="8"/>
                    <a:pt x="231" y="8"/>
                    <a:pt x="232" y="8"/>
                  </a:cubicBezTo>
                  <a:cubicBezTo>
                    <a:pt x="233" y="10"/>
                    <a:pt x="233" y="10"/>
                    <a:pt x="233" y="10"/>
                  </a:cubicBezTo>
                  <a:cubicBezTo>
                    <a:pt x="232" y="9"/>
                    <a:pt x="232" y="9"/>
                    <a:pt x="232" y="9"/>
                  </a:cubicBezTo>
                  <a:cubicBezTo>
                    <a:pt x="287" y="142"/>
                    <a:pt x="287" y="142"/>
                    <a:pt x="287" y="142"/>
                  </a:cubicBezTo>
                  <a:lnTo>
                    <a:pt x="259" y="207"/>
                  </a:lnTo>
                  <a:close/>
                  <a:moveTo>
                    <a:pt x="465" y="425"/>
                  </a:moveTo>
                  <a:cubicBezTo>
                    <a:pt x="446" y="379"/>
                    <a:pt x="446" y="379"/>
                    <a:pt x="446" y="379"/>
                  </a:cubicBezTo>
                  <a:cubicBezTo>
                    <a:pt x="377" y="207"/>
                    <a:pt x="377" y="207"/>
                    <a:pt x="377" y="207"/>
                  </a:cubicBezTo>
                  <a:cubicBezTo>
                    <a:pt x="326" y="84"/>
                    <a:pt x="326" y="84"/>
                    <a:pt x="326" y="84"/>
                  </a:cubicBezTo>
                  <a:cubicBezTo>
                    <a:pt x="229" y="324"/>
                    <a:pt x="229" y="324"/>
                    <a:pt x="229" y="324"/>
                  </a:cubicBezTo>
                  <a:cubicBezTo>
                    <a:pt x="207" y="379"/>
                    <a:pt x="207" y="379"/>
                    <a:pt x="207" y="379"/>
                  </a:cubicBezTo>
                  <a:cubicBezTo>
                    <a:pt x="177" y="457"/>
                    <a:pt x="177" y="457"/>
                    <a:pt x="177" y="457"/>
                  </a:cubicBezTo>
                  <a:cubicBezTo>
                    <a:pt x="177" y="456"/>
                    <a:pt x="177" y="456"/>
                    <a:pt x="177" y="456"/>
                  </a:cubicBezTo>
                  <a:cubicBezTo>
                    <a:pt x="174" y="462"/>
                    <a:pt x="169" y="466"/>
                    <a:pt x="163" y="466"/>
                  </a:cubicBezTo>
                  <a:cubicBezTo>
                    <a:pt x="129" y="466"/>
                    <a:pt x="129" y="466"/>
                    <a:pt x="129" y="466"/>
                  </a:cubicBezTo>
                  <a:cubicBezTo>
                    <a:pt x="122" y="466"/>
                    <a:pt x="118" y="464"/>
                    <a:pt x="118" y="459"/>
                  </a:cubicBezTo>
                  <a:cubicBezTo>
                    <a:pt x="118" y="458"/>
                    <a:pt x="118" y="457"/>
                    <a:pt x="119" y="455"/>
                  </a:cubicBezTo>
                  <a:cubicBezTo>
                    <a:pt x="120" y="451"/>
                    <a:pt x="120" y="451"/>
                    <a:pt x="120" y="451"/>
                  </a:cubicBezTo>
                  <a:cubicBezTo>
                    <a:pt x="303" y="8"/>
                    <a:pt x="303" y="8"/>
                    <a:pt x="303" y="8"/>
                  </a:cubicBezTo>
                  <a:cubicBezTo>
                    <a:pt x="303" y="8"/>
                    <a:pt x="303" y="7"/>
                    <a:pt x="304" y="7"/>
                  </a:cubicBezTo>
                  <a:cubicBezTo>
                    <a:pt x="303" y="8"/>
                    <a:pt x="303" y="8"/>
                    <a:pt x="303" y="8"/>
                  </a:cubicBezTo>
                  <a:cubicBezTo>
                    <a:pt x="306" y="3"/>
                    <a:pt x="306" y="3"/>
                    <a:pt x="306" y="3"/>
                  </a:cubicBezTo>
                  <a:cubicBezTo>
                    <a:pt x="308" y="1"/>
                    <a:pt x="311" y="0"/>
                    <a:pt x="316" y="0"/>
                  </a:cubicBezTo>
                  <a:cubicBezTo>
                    <a:pt x="337" y="0"/>
                    <a:pt x="337" y="0"/>
                    <a:pt x="337" y="0"/>
                  </a:cubicBezTo>
                  <a:cubicBezTo>
                    <a:pt x="342" y="0"/>
                    <a:pt x="344" y="1"/>
                    <a:pt x="346" y="3"/>
                  </a:cubicBezTo>
                  <a:cubicBezTo>
                    <a:pt x="349" y="8"/>
                    <a:pt x="349" y="8"/>
                    <a:pt x="349" y="8"/>
                  </a:cubicBezTo>
                  <a:cubicBezTo>
                    <a:pt x="349" y="8"/>
                    <a:pt x="349" y="8"/>
                    <a:pt x="350" y="8"/>
                  </a:cubicBezTo>
                  <a:cubicBezTo>
                    <a:pt x="350" y="10"/>
                    <a:pt x="350" y="10"/>
                    <a:pt x="350" y="10"/>
                  </a:cubicBezTo>
                  <a:cubicBezTo>
                    <a:pt x="350" y="9"/>
                    <a:pt x="350" y="9"/>
                    <a:pt x="350" y="9"/>
                  </a:cubicBezTo>
                  <a:cubicBezTo>
                    <a:pt x="534" y="451"/>
                    <a:pt x="534" y="451"/>
                    <a:pt x="534" y="451"/>
                  </a:cubicBezTo>
                  <a:cubicBezTo>
                    <a:pt x="535" y="453"/>
                    <a:pt x="535" y="453"/>
                    <a:pt x="535" y="453"/>
                  </a:cubicBezTo>
                  <a:cubicBezTo>
                    <a:pt x="535" y="455"/>
                    <a:pt x="535" y="457"/>
                    <a:pt x="535" y="459"/>
                  </a:cubicBezTo>
                  <a:cubicBezTo>
                    <a:pt x="535" y="464"/>
                    <a:pt x="532" y="466"/>
                    <a:pt x="524" y="466"/>
                  </a:cubicBezTo>
                  <a:cubicBezTo>
                    <a:pt x="491" y="466"/>
                    <a:pt x="491" y="466"/>
                    <a:pt x="491" y="466"/>
                  </a:cubicBezTo>
                  <a:cubicBezTo>
                    <a:pt x="479" y="466"/>
                    <a:pt x="477" y="456"/>
                    <a:pt x="477" y="457"/>
                  </a:cubicBezTo>
                  <a:lnTo>
                    <a:pt x="465" y="425"/>
                  </a:lnTo>
                  <a:close/>
                </a:path>
              </a:pathLst>
            </a:custGeom>
            <a:solidFill>
              <a:srgbClr val="2580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 name="Freeform 6">
              <a:extLst>
                <a:ext uri="{FF2B5EF4-FFF2-40B4-BE49-F238E27FC236}">
                  <a16:creationId xmlns:a16="http://schemas.microsoft.com/office/drawing/2014/main" id="{C75F4DAB-13DA-9E2A-268A-503033E98871}"/>
                </a:ext>
              </a:extLst>
            </p:cNvPr>
            <p:cNvSpPr>
              <a:spLocks noEditPoints="1"/>
            </p:cNvSpPr>
            <p:nvPr userDrawn="1"/>
          </p:nvSpPr>
          <p:spPr bwMode="auto">
            <a:xfrm>
              <a:off x="1456" y="1189"/>
              <a:ext cx="986" cy="1105"/>
            </a:xfrm>
            <a:custGeom>
              <a:avLst/>
              <a:gdLst>
                <a:gd name="T0" fmla="*/ 26658435 w 417"/>
                <a:gd name="T1" fmla="*/ 1104057219 h 466"/>
                <a:gd name="T2" fmla="*/ 0 w 417"/>
                <a:gd name="T3" fmla="*/ 1084997487 h 466"/>
                <a:gd name="T4" fmla="*/ 0 w 417"/>
                <a:gd name="T5" fmla="*/ 1071148297 h 466"/>
                <a:gd name="T6" fmla="*/ 2016564 w 417"/>
                <a:gd name="T7" fmla="*/ 1065967725 h 466"/>
                <a:gd name="T8" fmla="*/ 440005146 w 417"/>
                <a:gd name="T9" fmla="*/ 19018883 h 466"/>
                <a:gd name="T10" fmla="*/ 469546985 w 417"/>
                <a:gd name="T11" fmla="*/ 0 h 466"/>
                <a:gd name="T12" fmla="*/ 474377529 w 417"/>
                <a:gd name="T13" fmla="*/ 0 h 466"/>
                <a:gd name="T14" fmla="*/ 505945896 w 417"/>
                <a:gd name="T15" fmla="*/ 21137875 h 466"/>
                <a:gd name="T16" fmla="*/ 612172944 w 417"/>
                <a:gd name="T17" fmla="*/ 284828039 h 466"/>
                <a:gd name="T18" fmla="*/ 830540312 w 417"/>
                <a:gd name="T19" fmla="*/ 805128453 h 466"/>
                <a:gd name="T20" fmla="*/ 936767478 w 417"/>
                <a:gd name="T21" fmla="*/ 1065967725 h 466"/>
                <a:gd name="T22" fmla="*/ 936767478 w 417"/>
                <a:gd name="T23" fmla="*/ 1065967725 h 466"/>
                <a:gd name="T24" fmla="*/ 941198430 w 417"/>
                <a:gd name="T25" fmla="*/ 1084997487 h 466"/>
                <a:gd name="T26" fmla="*/ 914535082 w 417"/>
                <a:gd name="T27" fmla="*/ 1104057219 h 466"/>
                <a:gd name="T28" fmla="*/ 26658435 w 417"/>
                <a:gd name="T29" fmla="*/ 1104057219 h 466"/>
                <a:gd name="T30" fmla="*/ 173692259 w 417"/>
                <a:gd name="T31" fmla="*/ 974102843 h 466"/>
                <a:gd name="T32" fmla="*/ 332252753 w 417"/>
                <a:gd name="T33" fmla="*/ 974102843 h 466"/>
                <a:gd name="T34" fmla="*/ 767506131 w 417"/>
                <a:gd name="T35" fmla="*/ 974102843 h 466"/>
                <a:gd name="T36" fmla="*/ 471651445 w 417"/>
                <a:gd name="T37" fmla="*/ 238808028 h 466"/>
                <a:gd name="T38" fmla="*/ 173692259 w 417"/>
                <a:gd name="T39" fmla="*/ 974102843 h 4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17" h="466">
                  <a:moveTo>
                    <a:pt x="12" y="466"/>
                  </a:moveTo>
                  <a:cubicBezTo>
                    <a:pt x="4" y="466"/>
                    <a:pt x="0" y="463"/>
                    <a:pt x="0" y="458"/>
                  </a:cubicBezTo>
                  <a:cubicBezTo>
                    <a:pt x="0" y="455"/>
                    <a:pt x="0" y="453"/>
                    <a:pt x="0" y="452"/>
                  </a:cubicBezTo>
                  <a:cubicBezTo>
                    <a:pt x="1" y="450"/>
                    <a:pt x="1" y="450"/>
                    <a:pt x="1" y="450"/>
                  </a:cubicBezTo>
                  <a:cubicBezTo>
                    <a:pt x="195" y="8"/>
                    <a:pt x="195" y="8"/>
                    <a:pt x="195" y="8"/>
                  </a:cubicBezTo>
                  <a:cubicBezTo>
                    <a:pt x="196" y="5"/>
                    <a:pt x="197" y="0"/>
                    <a:pt x="208" y="0"/>
                  </a:cubicBezTo>
                  <a:cubicBezTo>
                    <a:pt x="210" y="0"/>
                    <a:pt x="210" y="0"/>
                    <a:pt x="210" y="0"/>
                  </a:cubicBezTo>
                  <a:cubicBezTo>
                    <a:pt x="222" y="0"/>
                    <a:pt x="222" y="7"/>
                    <a:pt x="224" y="9"/>
                  </a:cubicBezTo>
                  <a:cubicBezTo>
                    <a:pt x="239" y="46"/>
                    <a:pt x="255" y="83"/>
                    <a:pt x="271" y="120"/>
                  </a:cubicBezTo>
                  <a:cubicBezTo>
                    <a:pt x="368" y="340"/>
                    <a:pt x="368" y="340"/>
                    <a:pt x="368" y="340"/>
                  </a:cubicBezTo>
                  <a:cubicBezTo>
                    <a:pt x="384" y="377"/>
                    <a:pt x="400" y="414"/>
                    <a:pt x="415" y="450"/>
                  </a:cubicBezTo>
                  <a:cubicBezTo>
                    <a:pt x="415" y="450"/>
                    <a:pt x="415" y="450"/>
                    <a:pt x="415" y="450"/>
                  </a:cubicBezTo>
                  <a:cubicBezTo>
                    <a:pt x="417" y="458"/>
                    <a:pt x="417" y="458"/>
                    <a:pt x="417" y="458"/>
                  </a:cubicBezTo>
                  <a:cubicBezTo>
                    <a:pt x="417" y="463"/>
                    <a:pt x="413" y="466"/>
                    <a:pt x="405" y="466"/>
                  </a:cubicBezTo>
                  <a:lnTo>
                    <a:pt x="12" y="466"/>
                  </a:lnTo>
                  <a:close/>
                  <a:moveTo>
                    <a:pt x="77" y="411"/>
                  </a:moveTo>
                  <a:cubicBezTo>
                    <a:pt x="147" y="411"/>
                    <a:pt x="147" y="411"/>
                    <a:pt x="147" y="411"/>
                  </a:cubicBezTo>
                  <a:cubicBezTo>
                    <a:pt x="340" y="411"/>
                    <a:pt x="340" y="411"/>
                    <a:pt x="340" y="411"/>
                  </a:cubicBezTo>
                  <a:cubicBezTo>
                    <a:pt x="209" y="101"/>
                    <a:pt x="209" y="101"/>
                    <a:pt x="209" y="101"/>
                  </a:cubicBezTo>
                  <a:lnTo>
                    <a:pt x="77" y="411"/>
                  </a:lnTo>
                  <a:close/>
                </a:path>
              </a:pathLst>
            </a:custGeom>
            <a:solidFill>
              <a:srgbClr val="1993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 name="Freeform 7">
              <a:extLst>
                <a:ext uri="{FF2B5EF4-FFF2-40B4-BE49-F238E27FC236}">
                  <a16:creationId xmlns:a16="http://schemas.microsoft.com/office/drawing/2014/main" id="{FD2BFBCD-93EA-9D64-9908-62968804F214}"/>
                </a:ext>
              </a:extLst>
            </p:cNvPr>
            <p:cNvSpPr>
              <a:spLocks noEditPoints="1"/>
            </p:cNvSpPr>
            <p:nvPr userDrawn="1"/>
          </p:nvSpPr>
          <p:spPr bwMode="auto">
            <a:xfrm>
              <a:off x="2501" y="1189"/>
              <a:ext cx="1594" cy="1942"/>
            </a:xfrm>
            <a:custGeom>
              <a:avLst/>
              <a:gdLst>
                <a:gd name="T0" fmla="*/ 1483443497 w 674"/>
                <a:gd name="T1" fmla="*/ 1714655374 h 819"/>
                <a:gd name="T2" fmla="*/ 1526729097 w 674"/>
                <a:gd name="T3" fmla="*/ 1761916426 h 819"/>
                <a:gd name="T4" fmla="*/ 1526729097 w 674"/>
                <a:gd name="T5" fmla="*/ 1892482889 h 819"/>
                <a:gd name="T6" fmla="*/ 1483443497 w 674"/>
                <a:gd name="T7" fmla="*/ 1939529634 h 819"/>
                <a:gd name="T8" fmla="*/ 45037621 w 674"/>
                <a:gd name="T9" fmla="*/ 1939529634 h 819"/>
                <a:gd name="T10" fmla="*/ 2021131 w 674"/>
                <a:gd name="T11" fmla="*/ 1892482889 h 819"/>
                <a:gd name="T12" fmla="*/ 2021131 w 674"/>
                <a:gd name="T13" fmla="*/ 1747816468 h 819"/>
                <a:gd name="T14" fmla="*/ 4779945 w 674"/>
                <a:gd name="T15" fmla="*/ 1718918526 h 819"/>
                <a:gd name="T16" fmla="*/ 1173181872 w 674"/>
                <a:gd name="T17" fmla="*/ 224874255 h 819"/>
                <a:gd name="T18" fmla="*/ 67999529 w 674"/>
                <a:gd name="T19" fmla="*/ 224874255 h 819"/>
                <a:gd name="T20" fmla="*/ 23082570 w 674"/>
                <a:gd name="T21" fmla="*/ 177827380 h 819"/>
                <a:gd name="T22" fmla="*/ 23082570 w 674"/>
                <a:gd name="T23" fmla="*/ 39995312 h 819"/>
                <a:gd name="T24" fmla="*/ 67999529 w 674"/>
                <a:gd name="T25" fmla="*/ 0 h 819"/>
                <a:gd name="T26" fmla="*/ 1415437178 w 674"/>
                <a:gd name="T27" fmla="*/ 0 h 819"/>
                <a:gd name="T28" fmla="*/ 1460854109 w 674"/>
                <a:gd name="T29" fmla="*/ 45085377 h 819"/>
                <a:gd name="T30" fmla="*/ 1460854109 w 674"/>
                <a:gd name="T31" fmla="*/ 191701471 h 819"/>
                <a:gd name="T32" fmla="*/ 1458729657 w 674"/>
                <a:gd name="T33" fmla="*/ 205471911 h 819"/>
                <a:gd name="T34" fmla="*/ 1451728403 w 674"/>
                <a:gd name="T35" fmla="*/ 224874255 h 819"/>
                <a:gd name="T36" fmla="*/ 1453837196 w 674"/>
                <a:gd name="T37" fmla="*/ 220773085 h 819"/>
                <a:gd name="T38" fmla="*/ 298805398 w 674"/>
                <a:gd name="T39" fmla="*/ 1714655374 h 819"/>
                <a:gd name="T40" fmla="*/ 892477599 w 674"/>
                <a:gd name="T41" fmla="*/ 1714655374 h 819"/>
                <a:gd name="T42" fmla="*/ 1483443497 w 674"/>
                <a:gd name="T43" fmla="*/ 1714655374 h 819"/>
                <a:gd name="T44" fmla="*/ 901071203 w 674"/>
                <a:gd name="T45" fmla="*/ 1338067130 h 819"/>
                <a:gd name="T46" fmla="*/ 1485464242 w 674"/>
                <a:gd name="T47" fmla="*/ 1338067130 h 819"/>
                <a:gd name="T48" fmla="*/ 1526729097 w 674"/>
                <a:gd name="T49" fmla="*/ 1380181100 h 819"/>
                <a:gd name="T50" fmla="*/ 1526729097 w 674"/>
                <a:gd name="T51" fmla="*/ 1518014804 h 819"/>
                <a:gd name="T52" fmla="*/ 1485464242 w 674"/>
                <a:gd name="T53" fmla="*/ 1565124966 h 819"/>
                <a:gd name="T54" fmla="*/ 899479284 w 674"/>
                <a:gd name="T55" fmla="*/ 1565124966 h 819"/>
                <a:gd name="T56" fmla="*/ 858051680 w 674"/>
                <a:gd name="T57" fmla="*/ 1525126678 h 819"/>
                <a:gd name="T58" fmla="*/ 858051680 w 674"/>
                <a:gd name="T59" fmla="*/ 1385323779 h 819"/>
                <a:gd name="T60" fmla="*/ 872788267 w 674"/>
                <a:gd name="T61" fmla="*/ 1354121744 h 819"/>
                <a:gd name="T62" fmla="*/ 901071203 w 674"/>
                <a:gd name="T63" fmla="*/ 1338067130 h 81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74" h="819">
                  <a:moveTo>
                    <a:pt x="655" y="724"/>
                  </a:moveTo>
                  <a:cubicBezTo>
                    <a:pt x="654" y="724"/>
                    <a:pt x="674" y="721"/>
                    <a:pt x="674" y="744"/>
                  </a:cubicBezTo>
                  <a:cubicBezTo>
                    <a:pt x="674" y="799"/>
                    <a:pt x="674" y="799"/>
                    <a:pt x="674" y="799"/>
                  </a:cubicBezTo>
                  <a:cubicBezTo>
                    <a:pt x="674" y="809"/>
                    <a:pt x="666" y="819"/>
                    <a:pt x="655" y="819"/>
                  </a:cubicBezTo>
                  <a:cubicBezTo>
                    <a:pt x="20" y="819"/>
                    <a:pt x="20" y="819"/>
                    <a:pt x="20" y="819"/>
                  </a:cubicBezTo>
                  <a:cubicBezTo>
                    <a:pt x="10" y="819"/>
                    <a:pt x="0" y="811"/>
                    <a:pt x="1" y="799"/>
                  </a:cubicBezTo>
                  <a:cubicBezTo>
                    <a:pt x="1" y="738"/>
                    <a:pt x="1" y="738"/>
                    <a:pt x="1" y="738"/>
                  </a:cubicBezTo>
                  <a:cubicBezTo>
                    <a:pt x="0" y="735"/>
                    <a:pt x="2" y="730"/>
                    <a:pt x="2" y="726"/>
                  </a:cubicBezTo>
                  <a:cubicBezTo>
                    <a:pt x="518" y="95"/>
                    <a:pt x="518" y="95"/>
                    <a:pt x="518" y="95"/>
                  </a:cubicBezTo>
                  <a:cubicBezTo>
                    <a:pt x="30" y="95"/>
                    <a:pt x="30" y="95"/>
                    <a:pt x="30" y="95"/>
                  </a:cubicBezTo>
                  <a:cubicBezTo>
                    <a:pt x="15" y="95"/>
                    <a:pt x="10" y="88"/>
                    <a:pt x="10" y="75"/>
                  </a:cubicBezTo>
                  <a:cubicBezTo>
                    <a:pt x="10" y="17"/>
                    <a:pt x="10" y="17"/>
                    <a:pt x="10" y="17"/>
                  </a:cubicBezTo>
                  <a:cubicBezTo>
                    <a:pt x="10" y="5"/>
                    <a:pt x="15" y="0"/>
                    <a:pt x="30" y="0"/>
                  </a:cubicBezTo>
                  <a:cubicBezTo>
                    <a:pt x="625" y="0"/>
                    <a:pt x="625" y="0"/>
                    <a:pt x="625" y="0"/>
                  </a:cubicBezTo>
                  <a:cubicBezTo>
                    <a:pt x="637" y="0"/>
                    <a:pt x="645" y="6"/>
                    <a:pt x="645" y="19"/>
                  </a:cubicBezTo>
                  <a:cubicBezTo>
                    <a:pt x="645" y="81"/>
                    <a:pt x="645" y="81"/>
                    <a:pt x="645" y="81"/>
                  </a:cubicBezTo>
                  <a:cubicBezTo>
                    <a:pt x="645" y="82"/>
                    <a:pt x="645" y="85"/>
                    <a:pt x="644" y="87"/>
                  </a:cubicBezTo>
                  <a:cubicBezTo>
                    <a:pt x="641" y="95"/>
                    <a:pt x="641" y="95"/>
                    <a:pt x="641" y="95"/>
                  </a:cubicBezTo>
                  <a:cubicBezTo>
                    <a:pt x="642" y="93"/>
                    <a:pt x="642" y="93"/>
                    <a:pt x="642" y="93"/>
                  </a:cubicBezTo>
                  <a:cubicBezTo>
                    <a:pt x="132" y="724"/>
                    <a:pt x="132" y="724"/>
                    <a:pt x="132" y="724"/>
                  </a:cubicBezTo>
                  <a:cubicBezTo>
                    <a:pt x="394" y="724"/>
                    <a:pt x="394" y="724"/>
                    <a:pt x="394" y="724"/>
                  </a:cubicBezTo>
                  <a:lnTo>
                    <a:pt x="655" y="724"/>
                  </a:lnTo>
                  <a:close/>
                  <a:moveTo>
                    <a:pt x="398" y="565"/>
                  </a:moveTo>
                  <a:cubicBezTo>
                    <a:pt x="656" y="565"/>
                    <a:pt x="656" y="565"/>
                    <a:pt x="656" y="565"/>
                  </a:cubicBezTo>
                  <a:cubicBezTo>
                    <a:pt x="666" y="565"/>
                    <a:pt x="674" y="573"/>
                    <a:pt x="674" y="583"/>
                  </a:cubicBezTo>
                  <a:cubicBezTo>
                    <a:pt x="674" y="641"/>
                    <a:pt x="674" y="641"/>
                    <a:pt x="674" y="641"/>
                  </a:cubicBezTo>
                  <a:cubicBezTo>
                    <a:pt x="674" y="652"/>
                    <a:pt x="666" y="661"/>
                    <a:pt x="656" y="661"/>
                  </a:cubicBezTo>
                  <a:cubicBezTo>
                    <a:pt x="397" y="661"/>
                    <a:pt x="397" y="661"/>
                    <a:pt x="397" y="661"/>
                  </a:cubicBezTo>
                  <a:cubicBezTo>
                    <a:pt x="386" y="661"/>
                    <a:pt x="379" y="654"/>
                    <a:pt x="379" y="644"/>
                  </a:cubicBezTo>
                  <a:cubicBezTo>
                    <a:pt x="379" y="585"/>
                    <a:pt x="379" y="585"/>
                    <a:pt x="379" y="585"/>
                  </a:cubicBezTo>
                  <a:cubicBezTo>
                    <a:pt x="380" y="580"/>
                    <a:pt x="382" y="576"/>
                    <a:pt x="385" y="572"/>
                  </a:cubicBezTo>
                  <a:cubicBezTo>
                    <a:pt x="385" y="572"/>
                    <a:pt x="386" y="565"/>
                    <a:pt x="398" y="565"/>
                  </a:cubicBezTo>
                  <a:close/>
                </a:path>
              </a:pathLst>
            </a:custGeom>
            <a:solidFill>
              <a:srgbClr val="9EBE5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 name="Freeform 8">
              <a:extLst>
                <a:ext uri="{FF2B5EF4-FFF2-40B4-BE49-F238E27FC236}">
                  <a16:creationId xmlns:a16="http://schemas.microsoft.com/office/drawing/2014/main" id="{62D5D508-91CC-E4A2-006C-1CE94F6DE393}"/>
                </a:ext>
              </a:extLst>
            </p:cNvPr>
            <p:cNvSpPr>
              <a:spLocks noEditPoints="1"/>
            </p:cNvSpPr>
            <p:nvPr userDrawn="1"/>
          </p:nvSpPr>
          <p:spPr bwMode="auto">
            <a:xfrm>
              <a:off x="4133" y="1189"/>
              <a:ext cx="986" cy="1105"/>
            </a:xfrm>
            <a:custGeom>
              <a:avLst/>
              <a:gdLst>
                <a:gd name="T0" fmla="*/ 26658435 w 417"/>
                <a:gd name="T1" fmla="*/ 1104057219 h 466"/>
                <a:gd name="T2" fmla="*/ 2016564 w 417"/>
                <a:gd name="T3" fmla="*/ 1084997487 h 466"/>
                <a:gd name="T4" fmla="*/ 2016564 w 417"/>
                <a:gd name="T5" fmla="*/ 1071148297 h 466"/>
                <a:gd name="T6" fmla="*/ 4768183 w 417"/>
                <a:gd name="T7" fmla="*/ 1065967725 h 466"/>
                <a:gd name="T8" fmla="*/ 440005146 w 417"/>
                <a:gd name="T9" fmla="*/ 19018883 h 466"/>
                <a:gd name="T10" fmla="*/ 471651445 w 417"/>
                <a:gd name="T11" fmla="*/ 0 h 466"/>
                <a:gd name="T12" fmla="*/ 476419656 w 417"/>
                <a:gd name="T13" fmla="*/ 0 h 466"/>
                <a:gd name="T14" fmla="*/ 505945896 w 417"/>
                <a:gd name="T15" fmla="*/ 21137875 h 466"/>
                <a:gd name="T16" fmla="*/ 612172944 w 417"/>
                <a:gd name="T17" fmla="*/ 284828039 h 466"/>
                <a:gd name="T18" fmla="*/ 833293680 w 417"/>
                <a:gd name="T19" fmla="*/ 805128453 h 466"/>
                <a:gd name="T20" fmla="*/ 939517011 w 417"/>
                <a:gd name="T21" fmla="*/ 1065967725 h 466"/>
                <a:gd name="T22" fmla="*/ 936767478 w 417"/>
                <a:gd name="T23" fmla="*/ 1065967725 h 466"/>
                <a:gd name="T24" fmla="*/ 941198430 w 417"/>
                <a:gd name="T25" fmla="*/ 1084997487 h 466"/>
                <a:gd name="T26" fmla="*/ 916425650 w 417"/>
                <a:gd name="T27" fmla="*/ 1104057219 h 466"/>
                <a:gd name="T28" fmla="*/ 26658435 w 417"/>
                <a:gd name="T29" fmla="*/ 1104057219 h 466"/>
                <a:gd name="T30" fmla="*/ 173692259 w 417"/>
                <a:gd name="T31" fmla="*/ 974102843 h 466"/>
                <a:gd name="T32" fmla="*/ 332252753 w 417"/>
                <a:gd name="T33" fmla="*/ 974102843 h 466"/>
                <a:gd name="T34" fmla="*/ 767506131 w 417"/>
                <a:gd name="T35" fmla="*/ 974102843 h 466"/>
                <a:gd name="T36" fmla="*/ 471651445 w 417"/>
                <a:gd name="T37" fmla="*/ 238808028 h 466"/>
                <a:gd name="T38" fmla="*/ 173692259 w 417"/>
                <a:gd name="T39" fmla="*/ 974102843 h 4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17" h="466">
                  <a:moveTo>
                    <a:pt x="12" y="466"/>
                  </a:moveTo>
                  <a:cubicBezTo>
                    <a:pt x="4" y="466"/>
                    <a:pt x="0" y="463"/>
                    <a:pt x="1" y="458"/>
                  </a:cubicBezTo>
                  <a:cubicBezTo>
                    <a:pt x="0" y="455"/>
                    <a:pt x="0" y="453"/>
                    <a:pt x="1" y="452"/>
                  </a:cubicBezTo>
                  <a:cubicBezTo>
                    <a:pt x="2" y="450"/>
                    <a:pt x="2" y="450"/>
                    <a:pt x="2" y="450"/>
                  </a:cubicBezTo>
                  <a:cubicBezTo>
                    <a:pt x="195" y="8"/>
                    <a:pt x="195" y="8"/>
                    <a:pt x="195" y="8"/>
                  </a:cubicBezTo>
                  <a:cubicBezTo>
                    <a:pt x="197" y="5"/>
                    <a:pt x="198" y="0"/>
                    <a:pt x="209" y="0"/>
                  </a:cubicBezTo>
                  <a:cubicBezTo>
                    <a:pt x="211" y="0"/>
                    <a:pt x="211" y="0"/>
                    <a:pt x="211" y="0"/>
                  </a:cubicBezTo>
                  <a:cubicBezTo>
                    <a:pt x="222" y="0"/>
                    <a:pt x="223" y="7"/>
                    <a:pt x="224" y="9"/>
                  </a:cubicBezTo>
                  <a:cubicBezTo>
                    <a:pt x="239" y="46"/>
                    <a:pt x="255" y="83"/>
                    <a:pt x="271" y="120"/>
                  </a:cubicBezTo>
                  <a:cubicBezTo>
                    <a:pt x="369" y="340"/>
                    <a:pt x="369" y="340"/>
                    <a:pt x="369" y="340"/>
                  </a:cubicBezTo>
                  <a:cubicBezTo>
                    <a:pt x="385" y="377"/>
                    <a:pt x="401" y="414"/>
                    <a:pt x="416" y="450"/>
                  </a:cubicBezTo>
                  <a:cubicBezTo>
                    <a:pt x="415" y="450"/>
                    <a:pt x="415" y="450"/>
                    <a:pt x="415" y="450"/>
                  </a:cubicBezTo>
                  <a:cubicBezTo>
                    <a:pt x="417" y="458"/>
                    <a:pt x="417" y="458"/>
                    <a:pt x="417" y="458"/>
                  </a:cubicBezTo>
                  <a:cubicBezTo>
                    <a:pt x="417" y="463"/>
                    <a:pt x="414" y="466"/>
                    <a:pt x="406" y="466"/>
                  </a:cubicBezTo>
                  <a:lnTo>
                    <a:pt x="12" y="466"/>
                  </a:lnTo>
                  <a:close/>
                  <a:moveTo>
                    <a:pt x="77" y="411"/>
                  </a:moveTo>
                  <a:cubicBezTo>
                    <a:pt x="147" y="411"/>
                    <a:pt x="147" y="411"/>
                    <a:pt x="147" y="411"/>
                  </a:cubicBezTo>
                  <a:cubicBezTo>
                    <a:pt x="340" y="411"/>
                    <a:pt x="340" y="411"/>
                    <a:pt x="340" y="411"/>
                  </a:cubicBezTo>
                  <a:cubicBezTo>
                    <a:pt x="209" y="101"/>
                    <a:pt x="209" y="101"/>
                    <a:pt x="209" y="101"/>
                  </a:cubicBezTo>
                  <a:lnTo>
                    <a:pt x="77" y="411"/>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 name="Freeform 9">
              <a:extLst>
                <a:ext uri="{FF2B5EF4-FFF2-40B4-BE49-F238E27FC236}">
                  <a16:creationId xmlns:a16="http://schemas.microsoft.com/office/drawing/2014/main" id="{FDA092A2-3439-82D9-E18C-C5C8BFEC8532}"/>
                </a:ext>
              </a:extLst>
            </p:cNvPr>
            <p:cNvSpPr>
              <a:spLocks noEditPoints="1"/>
            </p:cNvSpPr>
            <p:nvPr userDrawn="1"/>
          </p:nvSpPr>
          <p:spPr bwMode="auto">
            <a:xfrm>
              <a:off x="5259" y="1187"/>
              <a:ext cx="941" cy="1107"/>
            </a:xfrm>
            <a:custGeom>
              <a:avLst/>
              <a:gdLst>
                <a:gd name="T0" fmla="*/ 897379222 w 398"/>
                <a:gd name="T1" fmla="*/ 30594420 h 467"/>
                <a:gd name="T2" fmla="*/ 890358234 w 398"/>
                <a:gd name="T3" fmla="*/ 1076168270 h 467"/>
                <a:gd name="T4" fmla="*/ 863748004 w 398"/>
                <a:gd name="T5" fmla="*/ 1100058818 h 467"/>
                <a:gd name="T6" fmla="*/ 771485685 w 398"/>
                <a:gd name="T7" fmla="*/ 1100058818 h 467"/>
                <a:gd name="T8" fmla="*/ 125893508 w 398"/>
                <a:gd name="T9" fmla="*/ 184128005 h 467"/>
                <a:gd name="T10" fmla="*/ 122136901 w 398"/>
                <a:gd name="T11" fmla="*/ 754173992 h 467"/>
                <a:gd name="T12" fmla="*/ 376580847 w 398"/>
                <a:gd name="T13" fmla="*/ 754173992 h 467"/>
                <a:gd name="T14" fmla="*/ 398430025 w 398"/>
                <a:gd name="T15" fmla="*/ 777275989 h 467"/>
                <a:gd name="T16" fmla="*/ 398430025 w 398"/>
                <a:gd name="T17" fmla="*/ 854743724 h 467"/>
                <a:gd name="T18" fmla="*/ 376580847 w 398"/>
                <a:gd name="T19" fmla="*/ 883384289 h 467"/>
                <a:gd name="T20" fmla="*/ 24536535 w 398"/>
                <a:gd name="T21" fmla="*/ 878310296 h 467"/>
                <a:gd name="T22" fmla="*/ 23013058 w 398"/>
                <a:gd name="T23" fmla="*/ 878310296 h 467"/>
                <a:gd name="T24" fmla="*/ 0 w 398"/>
                <a:gd name="T25" fmla="*/ 859366371 h 467"/>
                <a:gd name="T26" fmla="*/ 6865536 w 398"/>
                <a:gd name="T27" fmla="*/ 25974653 h 467"/>
                <a:gd name="T28" fmla="*/ 31374522 w 398"/>
                <a:gd name="T29" fmla="*/ 2072546 h 467"/>
                <a:gd name="T30" fmla="*/ 125893508 w 398"/>
                <a:gd name="T31" fmla="*/ 2072546 h 467"/>
                <a:gd name="T32" fmla="*/ 148746381 w 398"/>
                <a:gd name="T33" fmla="*/ 13823806 h 467"/>
                <a:gd name="T34" fmla="*/ 768580627 w 398"/>
                <a:gd name="T35" fmla="*/ 885333514 h 467"/>
                <a:gd name="T36" fmla="*/ 775022528 w 398"/>
                <a:gd name="T37" fmla="*/ 23886284 h 467"/>
                <a:gd name="T38" fmla="*/ 798083455 w 398"/>
                <a:gd name="T39" fmla="*/ 7074865 h 467"/>
                <a:gd name="T40" fmla="*/ 870741434 w 398"/>
                <a:gd name="T41" fmla="*/ 7074865 h 467"/>
                <a:gd name="T42" fmla="*/ 888769892 w 398"/>
                <a:gd name="T43" fmla="*/ 13823806 h 467"/>
                <a:gd name="T44" fmla="*/ 897379222 w 398"/>
                <a:gd name="T45" fmla="*/ 30594420 h 467"/>
                <a:gd name="T46" fmla="*/ 502483131 w 398"/>
                <a:gd name="T47" fmla="*/ 967923553 h 467"/>
                <a:gd name="T48" fmla="*/ 525479561 w 398"/>
                <a:gd name="T49" fmla="*/ 991784983 h 467"/>
                <a:gd name="T50" fmla="*/ 525479561 w 398"/>
                <a:gd name="T51" fmla="*/ 1069462303 h 467"/>
                <a:gd name="T52" fmla="*/ 502483131 w 398"/>
                <a:gd name="T53" fmla="*/ 1097986322 h 467"/>
                <a:gd name="T54" fmla="*/ 23013058 w 398"/>
                <a:gd name="T55" fmla="*/ 1097986322 h 467"/>
                <a:gd name="T56" fmla="*/ 0 w 398"/>
                <a:gd name="T57" fmla="*/ 1074095937 h 467"/>
                <a:gd name="T58" fmla="*/ 0 w 398"/>
                <a:gd name="T59" fmla="*/ 993579494 h 467"/>
                <a:gd name="T60" fmla="*/ 24536535 w 398"/>
                <a:gd name="T61" fmla="*/ 967923553 h 467"/>
                <a:gd name="T62" fmla="*/ 264174943 w 398"/>
                <a:gd name="T63" fmla="*/ 967923553 h 467"/>
                <a:gd name="T64" fmla="*/ 502483131 w 398"/>
                <a:gd name="T65" fmla="*/ 967923553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98" h="467">
                  <a:moveTo>
                    <a:pt x="398" y="13"/>
                  </a:moveTo>
                  <a:cubicBezTo>
                    <a:pt x="395" y="457"/>
                    <a:pt x="395" y="457"/>
                    <a:pt x="395" y="457"/>
                  </a:cubicBezTo>
                  <a:cubicBezTo>
                    <a:pt x="395" y="464"/>
                    <a:pt x="390" y="467"/>
                    <a:pt x="383" y="467"/>
                  </a:cubicBezTo>
                  <a:cubicBezTo>
                    <a:pt x="342" y="467"/>
                    <a:pt x="342" y="467"/>
                    <a:pt x="342" y="467"/>
                  </a:cubicBezTo>
                  <a:cubicBezTo>
                    <a:pt x="56" y="78"/>
                    <a:pt x="56" y="78"/>
                    <a:pt x="56" y="78"/>
                  </a:cubicBezTo>
                  <a:cubicBezTo>
                    <a:pt x="54" y="320"/>
                    <a:pt x="54" y="320"/>
                    <a:pt x="54" y="320"/>
                  </a:cubicBezTo>
                  <a:cubicBezTo>
                    <a:pt x="167" y="320"/>
                    <a:pt x="167" y="320"/>
                    <a:pt x="167" y="320"/>
                  </a:cubicBezTo>
                  <a:cubicBezTo>
                    <a:pt x="173" y="320"/>
                    <a:pt x="177" y="324"/>
                    <a:pt x="177" y="330"/>
                  </a:cubicBezTo>
                  <a:cubicBezTo>
                    <a:pt x="177" y="363"/>
                    <a:pt x="177" y="363"/>
                    <a:pt x="177" y="363"/>
                  </a:cubicBezTo>
                  <a:cubicBezTo>
                    <a:pt x="177" y="369"/>
                    <a:pt x="173" y="375"/>
                    <a:pt x="167" y="375"/>
                  </a:cubicBezTo>
                  <a:cubicBezTo>
                    <a:pt x="11" y="373"/>
                    <a:pt x="11" y="373"/>
                    <a:pt x="11" y="373"/>
                  </a:cubicBezTo>
                  <a:cubicBezTo>
                    <a:pt x="10" y="373"/>
                    <a:pt x="10" y="373"/>
                    <a:pt x="10" y="373"/>
                  </a:cubicBezTo>
                  <a:cubicBezTo>
                    <a:pt x="4" y="373"/>
                    <a:pt x="1" y="370"/>
                    <a:pt x="0" y="365"/>
                  </a:cubicBezTo>
                  <a:cubicBezTo>
                    <a:pt x="3" y="11"/>
                    <a:pt x="3" y="11"/>
                    <a:pt x="3" y="11"/>
                  </a:cubicBezTo>
                  <a:cubicBezTo>
                    <a:pt x="3" y="5"/>
                    <a:pt x="7" y="0"/>
                    <a:pt x="14" y="1"/>
                  </a:cubicBezTo>
                  <a:cubicBezTo>
                    <a:pt x="56" y="1"/>
                    <a:pt x="56" y="1"/>
                    <a:pt x="56" y="1"/>
                  </a:cubicBezTo>
                  <a:cubicBezTo>
                    <a:pt x="60" y="1"/>
                    <a:pt x="64" y="3"/>
                    <a:pt x="66" y="6"/>
                  </a:cubicBezTo>
                  <a:cubicBezTo>
                    <a:pt x="341" y="376"/>
                    <a:pt x="341" y="376"/>
                    <a:pt x="341" y="376"/>
                  </a:cubicBezTo>
                  <a:cubicBezTo>
                    <a:pt x="344" y="10"/>
                    <a:pt x="344" y="10"/>
                    <a:pt x="344" y="10"/>
                  </a:cubicBezTo>
                  <a:cubicBezTo>
                    <a:pt x="345" y="5"/>
                    <a:pt x="349" y="3"/>
                    <a:pt x="354" y="3"/>
                  </a:cubicBezTo>
                  <a:cubicBezTo>
                    <a:pt x="386" y="3"/>
                    <a:pt x="386" y="3"/>
                    <a:pt x="386" y="3"/>
                  </a:cubicBezTo>
                  <a:cubicBezTo>
                    <a:pt x="389" y="3"/>
                    <a:pt x="391" y="4"/>
                    <a:pt x="394" y="6"/>
                  </a:cubicBezTo>
                  <a:cubicBezTo>
                    <a:pt x="396" y="7"/>
                    <a:pt x="398" y="10"/>
                    <a:pt x="398" y="13"/>
                  </a:cubicBezTo>
                  <a:close/>
                  <a:moveTo>
                    <a:pt x="223" y="411"/>
                  </a:moveTo>
                  <a:cubicBezTo>
                    <a:pt x="229" y="411"/>
                    <a:pt x="233" y="415"/>
                    <a:pt x="233" y="421"/>
                  </a:cubicBezTo>
                  <a:cubicBezTo>
                    <a:pt x="233" y="454"/>
                    <a:pt x="233" y="454"/>
                    <a:pt x="233" y="454"/>
                  </a:cubicBezTo>
                  <a:cubicBezTo>
                    <a:pt x="233" y="460"/>
                    <a:pt x="230" y="466"/>
                    <a:pt x="223" y="466"/>
                  </a:cubicBezTo>
                  <a:cubicBezTo>
                    <a:pt x="10" y="466"/>
                    <a:pt x="10" y="466"/>
                    <a:pt x="10" y="466"/>
                  </a:cubicBezTo>
                  <a:cubicBezTo>
                    <a:pt x="4" y="466"/>
                    <a:pt x="0" y="462"/>
                    <a:pt x="0" y="456"/>
                  </a:cubicBezTo>
                  <a:cubicBezTo>
                    <a:pt x="0" y="422"/>
                    <a:pt x="0" y="422"/>
                    <a:pt x="0" y="422"/>
                  </a:cubicBezTo>
                  <a:cubicBezTo>
                    <a:pt x="0" y="416"/>
                    <a:pt x="4" y="411"/>
                    <a:pt x="11" y="411"/>
                  </a:cubicBezTo>
                  <a:cubicBezTo>
                    <a:pt x="117" y="411"/>
                    <a:pt x="117" y="411"/>
                    <a:pt x="117" y="411"/>
                  </a:cubicBezTo>
                  <a:lnTo>
                    <a:pt x="223" y="411"/>
                  </a:lnTo>
                  <a:close/>
                </a:path>
              </a:pathLst>
            </a:custGeom>
            <a:solidFill>
              <a:srgbClr val="C03B2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9" name="Freeform 10">
              <a:extLst>
                <a:ext uri="{FF2B5EF4-FFF2-40B4-BE49-F238E27FC236}">
                  <a16:creationId xmlns:a16="http://schemas.microsoft.com/office/drawing/2014/main" id="{A51DAFC4-843F-BCBD-6B2A-9579E01F7B31}"/>
                </a:ext>
              </a:extLst>
            </p:cNvPr>
            <p:cNvSpPr>
              <a:spLocks noEditPoints="1"/>
            </p:cNvSpPr>
            <p:nvPr userDrawn="1"/>
          </p:nvSpPr>
          <p:spPr bwMode="auto">
            <a:xfrm>
              <a:off x="6280" y="1189"/>
              <a:ext cx="1102" cy="1105"/>
            </a:xfrm>
            <a:custGeom>
              <a:avLst/>
              <a:gdLst>
                <a:gd name="T0" fmla="*/ 154128366 w 466"/>
                <a:gd name="T1" fmla="*/ 943010351 h 466"/>
                <a:gd name="T2" fmla="*/ 0 w 466"/>
                <a:gd name="T3" fmla="*/ 552442640 h 466"/>
                <a:gd name="T4" fmla="*/ 154128366 w 466"/>
                <a:gd name="T5" fmla="*/ 163833771 h 466"/>
                <a:gd name="T6" fmla="*/ 527029454 w 466"/>
                <a:gd name="T7" fmla="*/ 0 h 466"/>
                <a:gd name="T8" fmla="*/ 900145882 w 466"/>
                <a:gd name="T9" fmla="*/ 163833771 h 466"/>
                <a:gd name="T10" fmla="*/ 1054209675 w 466"/>
                <a:gd name="T11" fmla="*/ 552442640 h 466"/>
                <a:gd name="T12" fmla="*/ 900145882 w 466"/>
                <a:gd name="T13" fmla="*/ 943010351 h 466"/>
                <a:gd name="T14" fmla="*/ 527029454 w 466"/>
                <a:gd name="T15" fmla="*/ 1104057219 h 466"/>
                <a:gd name="T16" fmla="*/ 154128366 w 466"/>
                <a:gd name="T17" fmla="*/ 943010351 h 466"/>
                <a:gd name="T18" fmla="*/ 237118879 w 466"/>
                <a:gd name="T19" fmla="*/ 248554821 h 466"/>
                <a:gd name="T20" fmla="*/ 117706387 w 466"/>
                <a:gd name="T21" fmla="*/ 552442640 h 466"/>
                <a:gd name="T22" fmla="*/ 237118879 w 466"/>
                <a:gd name="T23" fmla="*/ 855407497 h 466"/>
                <a:gd name="T24" fmla="*/ 527029454 w 466"/>
                <a:gd name="T25" fmla="*/ 983016883 h 466"/>
                <a:gd name="T26" fmla="*/ 817155276 w 466"/>
                <a:gd name="T27" fmla="*/ 855407497 h 466"/>
                <a:gd name="T28" fmla="*/ 938406617 w 466"/>
                <a:gd name="T29" fmla="*/ 552442640 h 466"/>
                <a:gd name="T30" fmla="*/ 817155276 w 466"/>
                <a:gd name="T31" fmla="*/ 248554821 h 466"/>
                <a:gd name="T32" fmla="*/ 527029454 w 466"/>
                <a:gd name="T33" fmla="*/ 121039414 h 466"/>
                <a:gd name="T34" fmla="*/ 237118879 w 466"/>
                <a:gd name="T35" fmla="*/ 248554821 h 4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6" h="466">
                  <a:moveTo>
                    <a:pt x="68" y="398"/>
                  </a:moveTo>
                  <a:cubicBezTo>
                    <a:pt x="24" y="354"/>
                    <a:pt x="2" y="299"/>
                    <a:pt x="0" y="233"/>
                  </a:cubicBezTo>
                  <a:cubicBezTo>
                    <a:pt x="2" y="167"/>
                    <a:pt x="24" y="112"/>
                    <a:pt x="68" y="69"/>
                  </a:cubicBezTo>
                  <a:cubicBezTo>
                    <a:pt x="112" y="24"/>
                    <a:pt x="167" y="2"/>
                    <a:pt x="233" y="0"/>
                  </a:cubicBezTo>
                  <a:cubicBezTo>
                    <a:pt x="299" y="2"/>
                    <a:pt x="354" y="24"/>
                    <a:pt x="398" y="69"/>
                  </a:cubicBezTo>
                  <a:cubicBezTo>
                    <a:pt x="442" y="112"/>
                    <a:pt x="465" y="167"/>
                    <a:pt x="466" y="233"/>
                  </a:cubicBezTo>
                  <a:cubicBezTo>
                    <a:pt x="465" y="299"/>
                    <a:pt x="442" y="354"/>
                    <a:pt x="398" y="398"/>
                  </a:cubicBezTo>
                  <a:cubicBezTo>
                    <a:pt x="354" y="441"/>
                    <a:pt x="299" y="464"/>
                    <a:pt x="233" y="466"/>
                  </a:cubicBezTo>
                  <a:cubicBezTo>
                    <a:pt x="167" y="464"/>
                    <a:pt x="112" y="441"/>
                    <a:pt x="68" y="398"/>
                  </a:cubicBezTo>
                  <a:close/>
                  <a:moveTo>
                    <a:pt x="105" y="105"/>
                  </a:moveTo>
                  <a:cubicBezTo>
                    <a:pt x="70" y="139"/>
                    <a:pt x="53" y="181"/>
                    <a:pt x="52" y="233"/>
                  </a:cubicBezTo>
                  <a:cubicBezTo>
                    <a:pt x="53" y="284"/>
                    <a:pt x="70" y="327"/>
                    <a:pt x="105" y="361"/>
                  </a:cubicBezTo>
                  <a:cubicBezTo>
                    <a:pt x="139" y="395"/>
                    <a:pt x="181" y="413"/>
                    <a:pt x="233" y="415"/>
                  </a:cubicBezTo>
                  <a:cubicBezTo>
                    <a:pt x="284" y="413"/>
                    <a:pt x="327" y="395"/>
                    <a:pt x="361" y="361"/>
                  </a:cubicBezTo>
                  <a:cubicBezTo>
                    <a:pt x="395" y="327"/>
                    <a:pt x="413" y="284"/>
                    <a:pt x="415" y="233"/>
                  </a:cubicBezTo>
                  <a:cubicBezTo>
                    <a:pt x="413" y="181"/>
                    <a:pt x="395" y="139"/>
                    <a:pt x="361" y="105"/>
                  </a:cubicBezTo>
                  <a:cubicBezTo>
                    <a:pt x="327" y="71"/>
                    <a:pt x="284" y="53"/>
                    <a:pt x="233" y="51"/>
                  </a:cubicBezTo>
                  <a:cubicBezTo>
                    <a:pt x="181" y="53"/>
                    <a:pt x="139" y="71"/>
                    <a:pt x="105" y="105"/>
                  </a:cubicBezTo>
                  <a:close/>
                </a:path>
              </a:pathLst>
            </a:custGeom>
            <a:solidFill>
              <a:srgbClr val="64324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0" name="Freeform 11">
              <a:extLst>
                <a:ext uri="{FF2B5EF4-FFF2-40B4-BE49-F238E27FC236}">
                  <a16:creationId xmlns:a16="http://schemas.microsoft.com/office/drawing/2014/main" id="{73CFE1E6-1030-37B5-0752-1332CA8879EC}"/>
                </a:ext>
              </a:extLst>
            </p:cNvPr>
            <p:cNvSpPr>
              <a:spLocks noEditPoints="1"/>
            </p:cNvSpPr>
            <p:nvPr userDrawn="1"/>
          </p:nvSpPr>
          <p:spPr bwMode="auto">
            <a:xfrm>
              <a:off x="4230" y="2552"/>
              <a:ext cx="334" cy="551"/>
            </a:xfrm>
            <a:custGeom>
              <a:avLst/>
              <a:gdLst>
                <a:gd name="T0" fmla="*/ 0 w 334"/>
                <a:gd name="T1" fmla="*/ 0 h 551"/>
                <a:gd name="T2" fmla="*/ 334 w 334"/>
                <a:gd name="T3" fmla="*/ 0 h 551"/>
                <a:gd name="T4" fmla="*/ 334 w 334"/>
                <a:gd name="T5" fmla="*/ 31 h 551"/>
                <a:gd name="T6" fmla="*/ 0 w 334"/>
                <a:gd name="T7" fmla="*/ 31 h 551"/>
                <a:gd name="T8" fmla="*/ 0 w 334"/>
                <a:gd name="T9" fmla="*/ 0 h 551"/>
                <a:gd name="T10" fmla="*/ 156 w 334"/>
                <a:gd name="T11" fmla="*/ 50 h 551"/>
                <a:gd name="T12" fmla="*/ 156 w 334"/>
                <a:gd name="T13" fmla="*/ 551 h 551"/>
                <a:gd name="T14" fmla="*/ 128 w 334"/>
                <a:gd name="T15" fmla="*/ 551 h 551"/>
                <a:gd name="T16" fmla="*/ 128 w 334"/>
                <a:gd name="T17" fmla="*/ 79 h 551"/>
                <a:gd name="T18" fmla="*/ 0 w 334"/>
                <a:gd name="T19" fmla="*/ 79 h 551"/>
                <a:gd name="T20" fmla="*/ 0 w 334"/>
                <a:gd name="T21" fmla="*/ 50 h 551"/>
                <a:gd name="T22" fmla="*/ 156 w 334"/>
                <a:gd name="T23" fmla="*/ 50 h 551"/>
                <a:gd name="T24" fmla="*/ 334 w 334"/>
                <a:gd name="T25" fmla="*/ 50 h 551"/>
                <a:gd name="T26" fmla="*/ 334 w 334"/>
                <a:gd name="T27" fmla="*/ 79 h 551"/>
                <a:gd name="T28" fmla="*/ 206 w 334"/>
                <a:gd name="T29" fmla="*/ 79 h 551"/>
                <a:gd name="T30" fmla="*/ 206 w 334"/>
                <a:gd name="T31" fmla="*/ 551 h 551"/>
                <a:gd name="T32" fmla="*/ 175 w 334"/>
                <a:gd name="T33" fmla="*/ 551 h 551"/>
                <a:gd name="T34" fmla="*/ 175 w 334"/>
                <a:gd name="T35" fmla="*/ 50 h 551"/>
                <a:gd name="T36" fmla="*/ 334 w 334"/>
                <a:gd name="T37" fmla="*/ 50 h 5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34" h="551">
                  <a:moveTo>
                    <a:pt x="0" y="0"/>
                  </a:moveTo>
                  <a:lnTo>
                    <a:pt x="334" y="0"/>
                  </a:lnTo>
                  <a:lnTo>
                    <a:pt x="334" y="31"/>
                  </a:lnTo>
                  <a:lnTo>
                    <a:pt x="0" y="31"/>
                  </a:lnTo>
                  <a:lnTo>
                    <a:pt x="0" y="0"/>
                  </a:lnTo>
                  <a:close/>
                  <a:moveTo>
                    <a:pt x="156" y="50"/>
                  </a:moveTo>
                  <a:lnTo>
                    <a:pt x="156" y="551"/>
                  </a:lnTo>
                  <a:lnTo>
                    <a:pt x="128" y="551"/>
                  </a:lnTo>
                  <a:lnTo>
                    <a:pt x="128" y="79"/>
                  </a:lnTo>
                  <a:lnTo>
                    <a:pt x="0" y="79"/>
                  </a:lnTo>
                  <a:lnTo>
                    <a:pt x="0" y="50"/>
                  </a:lnTo>
                  <a:lnTo>
                    <a:pt x="156" y="50"/>
                  </a:lnTo>
                  <a:close/>
                  <a:moveTo>
                    <a:pt x="334" y="50"/>
                  </a:moveTo>
                  <a:lnTo>
                    <a:pt x="334" y="79"/>
                  </a:lnTo>
                  <a:lnTo>
                    <a:pt x="206" y="79"/>
                  </a:lnTo>
                  <a:lnTo>
                    <a:pt x="206" y="551"/>
                  </a:lnTo>
                  <a:lnTo>
                    <a:pt x="175" y="551"/>
                  </a:lnTo>
                  <a:lnTo>
                    <a:pt x="175" y="50"/>
                  </a:lnTo>
                  <a:lnTo>
                    <a:pt x="334" y="50"/>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1" name="Freeform 12">
              <a:extLst>
                <a:ext uri="{FF2B5EF4-FFF2-40B4-BE49-F238E27FC236}">
                  <a16:creationId xmlns:a16="http://schemas.microsoft.com/office/drawing/2014/main" id="{257282AC-924E-9181-0AF0-66BF2028FC8A}"/>
                </a:ext>
              </a:extLst>
            </p:cNvPr>
            <p:cNvSpPr>
              <a:spLocks noEditPoints="1"/>
            </p:cNvSpPr>
            <p:nvPr userDrawn="1"/>
          </p:nvSpPr>
          <p:spPr bwMode="auto">
            <a:xfrm>
              <a:off x="4599" y="2552"/>
              <a:ext cx="312" cy="551"/>
            </a:xfrm>
            <a:custGeom>
              <a:avLst/>
              <a:gdLst>
                <a:gd name="T0" fmla="*/ 295891719 w 132"/>
                <a:gd name="T1" fmla="*/ 0 h 232"/>
                <a:gd name="T2" fmla="*/ 295891719 w 132"/>
                <a:gd name="T3" fmla="*/ 31976658 h 232"/>
                <a:gd name="T4" fmla="*/ 111981461 w 132"/>
                <a:gd name="T5" fmla="*/ 31976658 h 232"/>
                <a:gd name="T6" fmla="*/ 51443210 w 132"/>
                <a:gd name="T7" fmla="*/ 58299493 h 232"/>
                <a:gd name="T8" fmla="*/ 26510905 w 132"/>
                <a:gd name="T9" fmla="*/ 122107630 h 232"/>
                <a:gd name="T10" fmla="*/ 26510905 w 132"/>
                <a:gd name="T11" fmla="*/ 442759715 h 232"/>
                <a:gd name="T12" fmla="*/ 51443210 w 132"/>
                <a:gd name="T13" fmla="*/ 508305993 h 232"/>
                <a:gd name="T14" fmla="*/ 111981461 w 132"/>
                <a:gd name="T15" fmla="*/ 535913430 h 232"/>
                <a:gd name="T16" fmla="*/ 295891719 w 132"/>
                <a:gd name="T17" fmla="*/ 535913430 h 232"/>
                <a:gd name="T18" fmla="*/ 295891719 w 132"/>
                <a:gd name="T19" fmla="*/ 564828430 h 232"/>
                <a:gd name="T20" fmla="*/ 111981461 w 132"/>
                <a:gd name="T21" fmla="*/ 564828430 h 232"/>
                <a:gd name="T22" fmla="*/ 33265636 w 132"/>
                <a:gd name="T23" fmla="*/ 527724589 h 232"/>
                <a:gd name="T24" fmla="*/ 0 w 132"/>
                <a:gd name="T25" fmla="*/ 442759715 h 232"/>
                <a:gd name="T26" fmla="*/ 0 w 132"/>
                <a:gd name="T27" fmla="*/ 122107630 h 232"/>
                <a:gd name="T28" fmla="*/ 33265636 w 132"/>
                <a:gd name="T29" fmla="*/ 37103839 h 232"/>
                <a:gd name="T30" fmla="*/ 111981461 w 132"/>
                <a:gd name="T31" fmla="*/ 0 h 232"/>
                <a:gd name="T32" fmla="*/ 295891719 w 132"/>
                <a:gd name="T33" fmla="*/ 0 h 232"/>
                <a:gd name="T34" fmla="*/ 47376772 w 132"/>
                <a:gd name="T35" fmla="*/ 122107630 h 232"/>
                <a:gd name="T36" fmla="*/ 65404189 w 132"/>
                <a:gd name="T37" fmla="*/ 70832843 h 232"/>
                <a:gd name="T38" fmla="*/ 111981461 w 132"/>
                <a:gd name="T39" fmla="*/ 51413739 h 232"/>
                <a:gd name="T40" fmla="*/ 295891719 w 132"/>
                <a:gd name="T41" fmla="*/ 51413739 h 232"/>
                <a:gd name="T42" fmla="*/ 295891719 w 132"/>
                <a:gd name="T43" fmla="*/ 79781492 h 232"/>
                <a:gd name="T44" fmla="*/ 111981461 w 132"/>
                <a:gd name="T45" fmla="*/ 79781492 h 232"/>
                <a:gd name="T46" fmla="*/ 85443339 w 132"/>
                <a:gd name="T47" fmla="*/ 92335711 h 232"/>
                <a:gd name="T48" fmla="*/ 73893437 w 132"/>
                <a:gd name="T49" fmla="*/ 122107630 h 232"/>
                <a:gd name="T50" fmla="*/ 73893437 w 132"/>
                <a:gd name="T51" fmla="*/ 202009418 h 232"/>
                <a:gd name="T52" fmla="*/ 295891719 w 132"/>
                <a:gd name="T53" fmla="*/ 202009418 h 232"/>
                <a:gd name="T54" fmla="*/ 295891719 w 132"/>
                <a:gd name="T55" fmla="*/ 233836064 h 232"/>
                <a:gd name="T56" fmla="*/ 47376772 w 132"/>
                <a:gd name="T57" fmla="*/ 233836064 h 232"/>
                <a:gd name="T58" fmla="*/ 47376772 w 132"/>
                <a:gd name="T59" fmla="*/ 122107630 h 232"/>
                <a:gd name="T60" fmla="*/ 47376772 w 132"/>
                <a:gd name="T61" fmla="*/ 253283286 h 232"/>
                <a:gd name="T62" fmla="*/ 295891719 w 132"/>
                <a:gd name="T63" fmla="*/ 253283286 h 232"/>
                <a:gd name="T64" fmla="*/ 295891719 w 132"/>
                <a:gd name="T65" fmla="*/ 283050061 h 232"/>
                <a:gd name="T66" fmla="*/ 73893437 w 132"/>
                <a:gd name="T67" fmla="*/ 283050061 h 232"/>
                <a:gd name="T68" fmla="*/ 73893437 w 132"/>
                <a:gd name="T69" fmla="*/ 442759715 h 232"/>
                <a:gd name="T70" fmla="*/ 85443339 w 132"/>
                <a:gd name="T71" fmla="*/ 472485538 h 232"/>
                <a:gd name="T72" fmla="*/ 111981461 w 132"/>
                <a:gd name="T73" fmla="*/ 484506888 h 232"/>
                <a:gd name="T74" fmla="*/ 295891719 w 132"/>
                <a:gd name="T75" fmla="*/ 484506888 h 232"/>
                <a:gd name="T76" fmla="*/ 295891719 w 132"/>
                <a:gd name="T77" fmla="*/ 513431020 h 232"/>
                <a:gd name="T78" fmla="*/ 111981461 w 132"/>
                <a:gd name="T79" fmla="*/ 513431020 h 232"/>
                <a:gd name="T80" fmla="*/ 65404189 w 132"/>
                <a:gd name="T81" fmla="*/ 494012295 h 232"/>
                <a:gd name="T82" fmla="*/ 47376772 w 132"/>
                <a:gd name="T83" fmla="*/ 442759715 h 232"/>
                <a:gd name="T84" fmla="*/ 47376772 w 132"/>
                <a:gd name="T85" fmla="*/ 253283286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132" y="0"/>
                  </a:moveTo>
                  <a:cubicBezTo>
                    <a:pt x="132" y="13"/>
                    <a:pt x="132" y="13"/>
                    <a:pt x="132" y="13"/>
                  </a:cubicBezTo>
                  <a:cubicBezTo>
                    <a:pt x="50" y="13"/>
                    <a:pt x="50" y="13"/>
                    <a:pt x="50" y="13"/>
                  </a:cubicBezTo>
                  <a:cubicBezTo>
                    <a:pt x="39" y="13"/>
                    <a:pt x="31" y="16"/>
                    <a:pt x="23" y="24"/>
                  </a:cubicBezTo>
                  <a:cubicBezTo>
                    <a:pt x="16" y="31"/>
                    <a:pt x="12" y="40"/>
                    <a:pt x="12" y="50"/>
                  </a:cubicBezTo>
                  <a:cubicBezTo>
                    <a:pt x="12" y="182"/>
                    <a:pt x="12" y="182"/>
                    <a:pt x="12" y="182"/>
                  </a:cubicBezTo>
                  <a:cubicBezTo>
                    <a:pt x="12" y="193"/>
                    <a:pt x="16" y="201"/>
                    <a:pt x="23" y="209"/>
                  </a:cubicBezTo>
                  <a:cubicBezTo>
                    <a:pt x="31" y="216"/>
                    <a:pt x="39" y="220"/>
                    <a:pt x="50" y="220"/>
                  </a:cubicBezTo>
                  <a:cubicBezTo>
                    <a:pt x="132" y="220"/>
                    <a:pt x="132" y="220"/>
                    <a:pt x="132" y="220"/>
                  </a:cubicBezTo>
                  <a:cubicBezTo>
                    <a:pt x="132" y="232"/>
                    <a:pt x="132" y="232"/>
                    <a:pt x="132" y="232"/>
                  </a:cubicBezTo>
                  <a:cubicBezTo>
                    <a:pt x="50" y="232"/>
                    <a:pt x="50" y="232"/>
                    <a:pt x="50" y="232"/>
                  </a:cubicBezTo>
                  <a:cubicBezTo>
                    <a:pt x="36" y="232"/>
                    <a:pt x="24" y="227"/>
                    <a:pt x="15" y="217"/>
                  </a:cubicBezTo>
                  <a:cubicBezTo>
                    <a:pt x="5" y="208"/>
                    <a:pt x="0" y="196"/>
                    <a:pt x="0" y="182"/>
                  </a:cubicBezTo>
                  <a:cubicBezTo>
                    <a:pt x="0" y="50"/>
                    <a:pt x="0" y="50"/>
                    <a:pt x="0" y="50"/>
                  </a:cubicBezTo>
                  <a:cubicBezTo>
                    <a:pt x="0" y="36"/>
                    <a:pt x="5" y="25"/>
                    <a:pt x="15" y="15"/>
                  </a:cubicBezTo>
                  <a:cubicBezTo>
                    <a:pt x="24" y="5"/>
                    <a:pt x="36" y="0"/>
                    <a:pt x="50" y="0"/>
                  </a:cubicBezTo>
                  <a:lnTo>
                    <a:pt x="132" y="0"/>
                  </a:lnTo>
                  <a:close/>
                  <a:moveTo>
                    <a:pt x="21" y="50"/>
                  </a:moveTo>
                  <a:cubicBezTo>
                    <a:pt x="21" y="42"/>
                    <a:pt x="24" y="35"/>
                    <a:pt x="29" y="29"/>
                  </a:cubicBezTo>
                  <a:cubicBezTo>
                    <a:pt x="35" y="24"/>
                    <a:pt x="42" y="21"/>
                    <a:pt x="50" y="21"/>
                  </a:cubicBezTo>
                  <a:cubicBezTo>
                    <a:pt x="132" y="21"/>
                    <a:pt x="132" y="21"/>
                    <a:pt x="132" y="21"/>
                  </a:cubicBezTo>
                  <a:cubicBezTo>
                    <a:pt x="132" y="33"/>
                    <a:pt x="132" y="33"/>
                    <a:pt x="132" y="33"/>
                  </a:cubicBezTo>
                  <a:cubicBezTo>
                    <a:pt x="50" y="33"/>
                    <a:pt x="50" y="33"/>
                    <a:pt x="50" y="33"/>
                  </a:cubicBezTo>
                  <a:cubicBezTo>
                    <a:pt x="45" y="33"/>
                    <a:pt x="41" y="35"/>
                    <a:pt x="38" y="38"/>
                  </a:cubicBezTo>
                  <a:cubicBezTo>
                    <a:pt x="35" y="42"/>
                    <a:pt x="33" y="45"/>
                    <a:pt x="33" y="50"/>
                  </a:cubicBezTo>
                  <a:cubicBezTo>
                    <a:pt x="33" y="83"/>
                    <a:pt x="33" y="83"/>
                    <a:pt x="33" y="83"/>
                  </a:cubicBezTo>
                  <a:cubicBezTo>
                    <a:pt x="132" y="83"/>
                    <a:pt x="132" y="83"/>
                    <a:pt x="132" y="83"/>
                  </a:cubicBezTo>
                  <a:cubicBezTo>
                    <a:pt x="132" y="96"/>
                    <a:pt x="132" y="96"/>
                    <a:pt x="132" y="96"/>
                  </a:cubicBezTo>
                  <a:cubicBezTo>
                    <a:pt x="21" y="96"/>
                    <a:pt x="21" y="96"/>
                    <a:pt x="21" y="96"/>
                  </a:cubicBezTo>
                  <a:lnTo>
                    <a:pt x="21" y="50"/>
                  </a:lnTo>
                  <a:close/>
                  <a:moveTo>
                    <a:pt x="21" y="104"/>
                  </a:moveTo>
                  <a:cubicBezTo>
                    <a:pt x="132" y="104"/>
                    <a:pt x="132" y="104"/>
                    <a:pt x="132" y="104"/>
                  </a:cubicBezTo>
                  <a:cubicBezTo>
                    <a:pt x="132" y="116"/>
                    <a:pt x="132" y="116"/>
                    <a:pt x="132" y="116"/>
                  </a:cubicBezTo>
                  <a:cubicBezTo>
                    <a:pt x="33" y="116"/>
                    <a:pt x="33" y="116"/>
                    <a:pt x="33" y="116"/>
                  </a:cubicBezTo>
                  <a:cubicBezTo>
                    <a:pt x="33" y="182"/>
                    <a:pt x="33" y="182"/>
                    <a:pt x="33" y="182"/>
                  </a:cubicBezTo>
                  <a:cubicBezTo>
                    <a:pt x="33" y="187"/>
                    <a:pt x="35" y="191"/>
                    <a:pt x="38" y="194"/>
                  </a:cubicBezTo>
                  <a:cubicBezTo>
                    <a:pt x="41" y="197"/>
                    <a:pt x="45" y="199"/>
                    <a:pt x="50" y="199"/>
                  </a:cubicBezTo>
                  <a:cubicBezTo>
                    <a:pt x="132" y="199"/>
                    <a:pt x="132" y="199"/>
                    <a:pt x="132" y="199"/>
                  </a:cubicBezTo>
                  <a:cubicBezTo>
                    <a:pt x="132" y="211"/>
                    <a:pt x="132" y="211"/>
                    <a:pt x="132" y="211"/>
                  </a:cubicBezTo>
                  <a:cubicBezTo>
                    <a:pt x="50" y="211"/>
                    <a:pt x="50" y="211"/>
                    <a:pt x="50" y="211"/>
                  </a:cubicBezTo>
                  <a:cubicBezTo>
                    <a:pt x="42" y="211"/>
                    <a:pt x="35" y="209"/>
                    <a:pt x="29" y="203"/>
                  </a:cubicBezTo>
                  <a:cubicBezTo>
                    <a:pt x="24" y="197"/>
                    <a:pt x="21" y="190"/>
                    <a:pt x="21" y="182"/>
                  </a:cubicBezTo>
                  <a:lnTo>
                    <a:pt x="21" y="104"/>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13">
              <a:extLst>
                <a:ext uri="{FF2B5EF4-FFF2-40B4-BE49-F238E27FC236}">
                  <a16:creationId xmlns:a16="http://schemas.microsoft.com/office/drawing/2014/main" id="{08B860D7-E189-142A-4BFB-1684522FADCC}"/>
                </a:ext>
              </a:extLst>
            </p:cNvPr>
            <p:cNvSpPr>
              <a:spLocks noEditPoints="1"/>
            </p:cNvSpPr>
            <p:nvPr userDrawn="1"/>
          </p:nvSpPr>
          <p:spPr bwMode="auto">
            <a:xfrm>
              <a:off x="4958" y="2552"/>
              <a:ext cx="391" cy="551"/>
            </a:xfrm>
            <a:custGeom>
              <a:avLst/>
              <a:gdLst>
                <a:gd name="T0" fmla="*/ 309548631 w 165"/>
                <a:gd name="T1" fmla="*/ 0 h 232"/>
                <a:gd name="T2" fmla="*/ 363029971 w 165"/>
                <a:gd name="T3" fmla="*/ 24547155 h 232"/>
                <a:gd name="T4" fmla="*/ 386832786 w 165"/>
                <a:gd name="T5" fmla="*/ 79781492 h 232"/>
                <a:gd name="T6" fmla="*/ 386832786 w 165"/>
                <a:gd name="T7" fmla="*/ 564828430 h 232"/>
                <a:gd name="T8" fmla="*/ 358797870 w 165"/>
                <a:gd name="T9" fmla="*/ 564828430 h 232"/>
                <a:gd name="T10" fmla="*/ 358797870 w 165"/>
                <a:gd name="T11" fmla="*/ 79781492 h 232"/>
                <a:gd name="T12" fmla="*/ 344252405 w 165"/>
                <a:gd name="T13" fmla="*/ 46120372 h 232"/>
                <a:gd name="T14" fmla="*/ 309548631 w 165"/>
                <a:gd name="T15" fmla="*/ 31976658 h 232"/>
                <a:gd name="T16" fmla="*/ 77129169 w 165"/>
                <a:gd name="T17" fmla="*/ 31976658 h 232"/>
                <a:gd name="T18" fmla="*/ 42581549 w 165"/>
                <a:gd name="T19" fmla="*/ 46120372 h 232"/>
                <a:gd name="T20" fmla="*/ 27493911 w 165"/>
                <a:gd name="T21" fmla="*/ 79781492 h 232"/>
                <a:gd name="T22" fmla="*/ 27493911 w 165"/>
                <a:gd name="T23" fmla="*/ 564828430 h 232"/>
                <a:gd name="T24" fmla="*/ 0 w 165"/>
                <a:gd name="T25" fmla="*/ 564828430 h 232"/>
                <a:gd name="T26" fmla="*/ 0 w 165"/>
                <a:gd name="T27" fmla="*/ 79781492 h 232"/>
                <a:gd name="T28" fmla="*/ 20815816 w 165"/>
                <a:gd name="T29" fmla="*/ 24547155 h 232"/>
                <a:gd name="T30" fmla="*/ 77129169 w 165"/>
                <a:gd name="T31" fmla="*/ 0 h 232"/>
                <a:gd name="T32" fmla="*/ 309548631 w 165"/>
                <a:gd name="T33" fmla="*/ 0 h 232"/>
                <a:gd name="T34" fmla="*/ 182772758 w 165"/>
                <a:gd name="T35" fmla="*/ 51413739 h 232"/>
                <a:gd name="T36" fmla="*/ 182772758 w 165"/>
                <a:gd name="T37" fmla="*/ 263208180 h 232"/>
                <a:gd name="T38" fmla="*/ 154391061 w 165"/>
                <a:gd name="T39" fmla="*/ 263208180 h 232"/>
                <a:gd name="T40" fmla="*/ 154391061 w 165"/>
                <a:gd name="T41" fmla="*/ 79781492 h 232"/>
                <a:gd name="T42" fmla="*/ 77129169 w 165"/>
                <a:gd name="T43" fmla="*/ 79781492 h 232"/>
                <a:gd name="T44" fmla="*/ 77129169 w 165"/>
                <a:gd name="T45" fmla="*/ 564828430 h 232"/>
                <a:gd name="T46" fmla="*/ 46283478 w 165"/>
                <a:gd name="T47" fmla="*/ 564828430 h 232"/>
                <a:gd name="T48" fmla="*/ 46283478 w 165"/>
                <a:gd name="T49" fmla="*/ 79781492 h 232"/>
                <a:gd name="T50" fmla="*/ 56311393 w 165"/>
                <a:gd name="T51" fmla="*/ 60526659 h 232"/>
                <a:gd name="T52" fmla="*/ 77129169 w 165"/>
                <a:gd name="T53" fmla="*/ 51413739 h 232"/>
                <a:gd name="T54" fmla="*/ 182772758 w 165"/>
                <a:gd name="T55" fmla="*/ 51413739 h 232"/>
                <a:gd name="T56" fmla="*/ 309548631 w 165"/>
                <a:gd name="T57" fmla="*/ 51413739 h 232"/>
                <a:gd name="T58" fmla="*/ 329989272 w 165"/>
                <a:gd name="T59" fmla="*/ 60526659 h 232"/>
                <a:gd name="T60" fmla="*/ 337199511 w 165"/>
                <a:gd name="T61" fmla="*/ 79781492 h 232"/>
                <a:gd name="T62" fmla="*/ 337199511 w 165"/>
                <a:gd name="T63" fmla="*/ 564828430 h 232"/>
                <a:gd name="T64" fmla="*/ 309548631 w 165"/>
                <a:gd name="T65" fmla="*/ 564828430 h 232"/>
                <a:gd name="T66" fmla="*/ 309548631 w 165"/>
                <a:gd name="T67" fmla="*/ 79781492 h 232"/>
                <a:gd name="T68" fmla="*/ 232402284 w 165"/>
                <a:gd name="T69" fmla="*/ 79781492 h 232"/>
                <a:gd name="T70" fmla="*/ 232402284 w 165"/>
                <a:gd name="T71" fmla="*/ 263208180 h 232"/>
                <a:gd name="T72" fmla="*/ 203534936 w 165"/>
                <a:gd name="T73" fmla="*/ 263208180 h 232"/>
                <a:gd name="T74" fmla="*/ 203534936 w 165"/>
                <a:gd name="T75" fmla="*/ 51413739 h 232"/>
                <a:gd name="T76" fmla="*/ 309548631 w 165"/>
                <a:gd name="T77" fmla="*/ 51413739 h 23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65" h="232">
                  <a:moveTo>
                    <a:pt x="132" y="0"/>
                  </a:moveTo>
                  <a:cubicBezTo>
                    <a:pt x="141" y="0"/>
                    <a:pt x="149" y="4"/>
                    <a:pt x="155" y="10"/>
                  </a:cubicBezTo>
                  <a:cubicBezTo>
                    <a:pt x="162" y="16"/>
                    <a:pt x="165" y="24"/>
                    <a:pt x="165" y="33"/>
                  </a:cubicBezTo>
                  <a:cubicBezTo>
                    <a:pt x="165" y="232"/>
                    <a:pt x="165" y="232"/>
                    <a:pt x="165" y="232"/>
                  </a:cubicBezTo>
                  <a:cubicBezTo>
                    <a:pt x="153" y="232"/>
                    <a:pt x="153" y="232"/>
                    <a:pt x="153" y="232"/>
                  </a:cubicBezTo>
                  <a:cubicBezTo>
                    <a:pt x="153" y="33"/>
                    <a:pt x="153" y="33"/>
                    <a:pt x="153" y="33"/>
                  </a:cubicBezTo>
                  <a:cubicBezTo>
                    <a:pt x="153" y="28"/>
                    <a:pt x="151" y="23"/>
                    <a:pt x="147" y="19"/>
                  </a:cubicBezTo>
                  <a:cubicBezTo>
                    <a:pt x="143" y="15"/>
                    <a:pt x="138" y="13"/>
                    <a:pt x="132" y="13"/>
                  </a:cubicBezTo>
                  <a:cubicBezTo>
                    <a:pt x="33" y="13"/>
                    <a:pt x="33" y="13"/>
                    <a:pt x="33" y="13"/>
                  </a:cubicBezTo>
                  <a:cubicBezTo>
                    <a:pt x="27" y="13"/>
                    <a:pt x="22" y="15"/>
                    <a:pt x="18" y="19"/>
                  </a:cubicBezTo>
                  <a:cubicBezTo>
                    <a:pt x="14" y="23"/>
                    <a:pt x="12" y="28"/>
                    <a:pt x="12" y="33"/>
                  </a:cubicBezTo>
                  <a:cubicBezTo>
                    <a:pt x="12" y="232"/>
                    <a:pt x="12" y="232"/>
                    <a:pt x="12" y="232"/>
                  </a:cubicBezTo>
                  <a:cubicBezTo>
                    <a:pt x="0" y="232"/>
                    <a:pt x="0" y="232"/>
                    <a:pt x="0" y="232"/>
                  </a:cubicBezTo>
                  <a:cubicBezTo>
                    <a:pt x="0" y="33"/>
                    <a:pt x="0" y="33"/>
                    <a:pt x="0" y="33"/>
                  </a:cubicBezTo>
                  <a:cubicBezTo>
                    <a:pt x="0" y="24"/>
                    <a:pt x="3" y="16"/>
                    <a:pt x="9" y="10"/>
                  </a:cubicBezTo>
                  <a:cubicBezTo>
                    <a:pt x="16" y="4"/>
                    <a:pt x="24" y="0"/>
                    <a:pt x="33" y="0"/>
                  </a:cubicBezTo>
                  <a:lnTo>
                    <a:pt x="132" y="0"/>
                  </a:lnTo>
                  <a:close/>
                  <a:moveTo>
                    <a:pt x="78" y="21"/>
                  </a:moveTo>
                  <a:cubicBezTo>
                    <a:pt x="78" y="108"/>
                    <a:pt x="78" y="108"/>
                    <a:pt x="78" y="108"/>
                  </a:cubicBezTo>
                  <a:cubicBezTo>
                    <a:pt x="66" y="108"/>
                    <a:pt x="66" y="108"/>
                    <a:pt x="66" y="108"/>
                  </a:cubicBezTo>
                  <a:cubicBezTo>
                    <a:pt x="66" y="33"/>
                    <a:pt x="66" y="33"/>
                    <a:pt x="66" y="33"/>
                  </a:cubicBezTo>
                  <a:cubicBezTo>
                    <a:pt x="33" y="33"/>
                    <a:pt x="33" y="33"/>
                    <a:pt x="33" y="33"/>
                  </a:cubicBezTo>
                  <a:cubicBezTo>
                    <a:pt x="33" y="232"/>
                    <a:pt x="33" y="232"/>
                    <a:pt x="33" y="232"/>
                  </a:cubicBezTo>
                  <a:cubicBezTo>
                    <a:pt x="20" y="232"/>
                    <a:pt x="20" y="232"/>
                    <a:pt x="20" y="232"/>
                  </a:cubicBezTo>
                  <a:cubicBezTo>
                    <a:pt x="20" y="33"/>
                    <a:pt x="20" y="33"/>
                    <a:pt x="20" y="33"/>
                  </a:cubicBezTo>
                  <a:cubicBezTo>
                    <a:pt x="20" y="30"/>
                    <a:pt x="21" y="27"/>
                    <a:pt x="24" y="25"/>
                  </a:cubicBezTo>
                  <a:cubicBezTo>
                    <a:pt x="26" y="22"/>
                    <a:pt x="29" y="21"/>
                    <a:pt x="33" y="21"/>
                  </a:cubicBezTo>
                  <a:lnTo>
                    <a:pt x="78" y="21"/>
                  </a:lnTo>
                  <a:close/>
                  <a:moveTo>
                    <a:pt x="132" y="21"/>
                  </a:moveTo>
                  <a:cubicBezTo>
                    <a:pt x="135" y="21"/>
                    <a:pt x="138" y="22"/>
                    <a:pt x="141" y="25"/>
                  </a:cubicBezTo>
                  <a:cubicBezTo>
                    <a:pt x="143" y="27"/>
                    <a:pt x="144" y="30"/>
                    <a:pt x="144" y="33"/>
                  </a:cubicBezTo>
                  <a:cubicBezTo>
                    <a:pt x="144" y="232"/>
                    <a:pt x="144" y="232"/>
                    <a:pt x="144" y="232"/>
                  </a:cubicBezTo>
                  <a:cubicBezTo>
                    <a:pt x="132" y="232"/>
                    <a:pt x="132" y="232"/>
                    <a:pt x="132" y="232"/>
                  </a:cubicBezTo>
                  <a:cubicBezTo>
                    <a:pt x="132" y="33"/>
                    <a:pt x="132" y="33"/>
                    <a:pt x="132" y="33"/>
                  </a:cubicBezTo>
                  <a:cubicBezTo>
                    <a:pt x="99" y="33"/>
                    <a:pt x="99" y="33"/>
                    <a:pt x="99" y="33"/>
                  </a:cubicBezTo>
                  <a:cubicBezTo>
                    <a:pt x="99" y="108"/>
                    <a:pt x="99" y="108"/>
                    <a:pt x="99" y="108"/>
                  </a:cubicBezTo>
                  <a:cubicBezTo>
                    <a:pt x="87" y="108"/>
                    <a:pt x="87" y="108"/>
                    <a:pt x="87" y="108"/>
                  </a:cubicBezTo>
                  <a:cubicBezTo>
                    <a:pt x="87" y="21"/>
                    <a:pt x="87" y="21"/>
                    <a:pt x="87" y="21"/>
                  </a:cubicBezTo>
                  <a:lnTo>
                    <a:pt x="132" y="21"/>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3" name="Freeform 14">
              <a:extLst>
                <a:ext uri="{FF2B5EF4-FFF2-40B4-BE49-F238E27FC236}">
                  <a16:creationId xmlns:a16="http://schemas.microsoft.com/office/drawing/2014/main" id="{CA211B4F-57E1-428A-C7FC-7B1807BB26FC}"/>
                </a:ext>
              </a:extLst>
            </p:cNvPr>
            <p:cNvSpPr>
              <a:spLocks noEditPoints="1"/>
            </p:cNvSpPr>
            <p:nvPr userDrawn="1"/>
          </p:nvSpPr>
          <p:spPr bwMode="auto">
            <a:xfrm>
              <a:off x="5412" y="2552"/>
              <a:ext cx="313" cy="551"/>
            </a:xfrm>
            <a:custGeom>
              <a:avLst/>
              <a:gdLst>
                <a:gd name="T0" fmla="*/ 234667157 w 132"/>
                <a:gd name="T1" fmla="*/ 0 h 232"/>
                <a:gd name="T2" fmla="*/ 291517195 w 132"/>
                <a:gd name="T3" fmla="*/ 24547155 h 232"/>
                <a:gd name="T4" fmla="*/ 312488786 w 132"/>
                <a:gd name="T5" fmla="*/ 79781492 h 232"/>
                <a:gd name="T6" fmla="*/ 312488786 w 132"/>
                <a:gd name="T7" fmla="*/ 202009418 h 232"/>
                <a:gd name="T8" fmla="*/ 291517195 w 132"/>
                <a:gd name="T9" fmla="*/ 258572736 h 232"/>
                <a:gd name="T10" fmla="*/ 234667157 w 132"/>
                <a:gd name="T11" fmla="*/ 283050061 h 232"/>
                <a:gd name="T12" fmla="*/ 77977488 w 132"/>
                <a:gd name="T13" fmla="*/ 283050061 h 232"/>
                <a:gd name="T14" fmla="*/ 77977488 w 132"/>
                <a:gd name="T15" fmla="*/ 564828430 h 232"/>
                <a:gd name="T16" fmla="*/ 46760663 w 132"/>
                <a:gd name="T17" fmla="*/ 564828430 h 232"/>
                <a:gd name="T18" fmla="*/ 46760663 w 132"/>
                <a:gd name="T19" fmla="*/ 253283286 h 232"/>
                <a:gd name="T20" fmla="*/ 234667157 w 132"/>
                <a:gd name="T21" fmla="*/ 253283286 h 232"/>
                <a:gd name="T22" fmla="*/ 269717845 w 132"/>
                <a:gd name="T23" fmla="*/ 238499835 h 232"/>
                <a:gd name="T24" fmla="*/ 284788810 w 132"/>
                <a:gd name="T25" fmla="*/ 202009418 h 232"/>
                <a:gd name="T26" fmla="*/ 284788810 w 132"/>
                <a:gd name="T27" fmla="*/ 79781492 h 232"/>
                <a:gd name="T28" fmla="*/ 269717845 w 132"/>
                <a:gd name="T29" fmla="*/ 46120372 h 232"/>
                <a:gd name="T30" fmla="*/ 234667157 w 132"/>
                <a:gd name="T31" fmla="*/ 31976658 h 232"/>
                <a:gd name="T32" fmla="*/ 115836743 w 132"/>
                <a:gd name="T33" fmla="*/ 31976658 h 232"/>
                <a:gd name="T34" fmla="*/ 54699961 w 132"/>
                <a:gd name="T35" fmla="*/ 58299493 h 232"/>
                <a:gd name="T36" fmla="*/ 27860863 w 132"/>
                <a:gd name="T37" fmla="*/ 122107630 h 232"/>
                <a:gd name="T38" fmla="*/ 27860863 w 132"/>
                <a:gd name="T39" fmla="*/ 564828430 h 232"/>
                <a:gd name="T40" fmla="*/ 0 w 132"/>
                <a:gd name="T41" fmla="*/ 564828430 h 232"/>
                <a:gd name="T42" fmla="*/ 0 w 132"/>
                <a:gd name="T43" fmla="*/ 122107630 h 232"/>
                <a:gd name="T44" fmla="*/ 32885075 w 132"/>
                <a:gd name="T45" fmla="*/ 37103839 h 232"/>
                <a:gd name="T46" fmla="*/ 115836743 w 132"/>
                <a:gd name="T47" fmla="*/ 0 h 232"/>
                <a:gd name="T48" fmla="*/ 234667157 w 132"/>
                <a:gd name="T49" fmla="*/ 0 h 232"/>
                <a:gd name="T50" fmla="*/ 262918698 w 132"/>
                <a:gd name="T51" fmla="*/ 202009418 h 232"/>
                <a:gd name="T52" fmla="*/ 255645496 w 132"/>
                <a:gd name="T53" fmla="*/ 224358826 h 232"/>
                <a:gd name="T54" fmla="*/ 234667157 w 132"/>
                <a:gd name="T55" fmla="*/ 233836064 h 232"/>
                <a:gd name="T56" fmla="*/ 46760663 w 132"/>
                <a:gd name="T57" fmla="*/ 233836064 h 232"/>
                <a:gd name="T58" fmla="*/ 46760663 w 132"/>
                <a:gd name="T59" fmla="*/ 122107630 h 232"/>
                <a:gd name="T60" fmla="*/ 69064519 w 132"/>
                <a:gd name="T61" fmla="*/ 70832843 h 232"/>
                <a:gd name="T62" fmla="*/ 115836743 w 132"/>
                <a:gd name="T63" fmla="*/ 51413739 h 232"/>
                <a:gd name="T64" fmla="*/ 234667157 w 132"/>
                <a:gd name="T65" fmla="*/ 51413739 h 232"/>
                <a:gd name="T66" fmla="*/ 255645496 w 132"/>
                <a:gd name="T67" fmla="*/ 60526659 h 232"/>
                <a:gd name="T68" fmla="*/ 262918698 w 132"/>
                <a:gd name="T69" fmla="*/ 79781492 h 232"/>
                <a:gd name="T70" fmla="*/ 262918698 w 132"/>
                <a:gd name="T71" fmla="*/ 202009418 h 232"/>
                <a:gd name="T72" fmla="*/ 77977488 w 132"/>
                <a:gd name="T73" fmla="*/ 202009418 h 232"/>
                <a:gd name="T74" fmla="*/ 234667157 w 132"/>
                <a:gd name="T75" fmla="*/ 202009418 h 232"/>
                <a:gd name="T76" fmla="*/ 234667157 w 132"/>
                <a:gd name="T77" fmla="*/ 79781492 h 232"/>
                <a:gd name="T78" fmla="*/ 115836743 w 132"/>
                <a:gd name="T79" fmla="*/ 79781492 h 232"/>
                <a:gd name="T80" fmla="*/ 89678239 w 132"/>
                <a:gd name="T81" fmla="*/ 92335711 h 232"/>
                <a:gd name="T82" fmla="*/ 77977488 w 132"/>
                <a:gd name="T83" fmla="*/ 122107630 h 232"/>
                <a:gd name="T84" fmla="*/ 77977488 w 132"/>
                <a:gd name="T85" fmla="*/ 202009418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99" y="0"/>
                  </a:moveTo>
                  <a:cubicBezTo>
                    <a:pt x="108" y="0"/>
                    <a:pt x="116" y="4"/>
                    <a:pt x="123" y="10"/>
                  </a:cubicBezTo>
                  <a:cubicBezTo>
                    <a:pt x="129" y="16"/>
                    <a:pt x="132" y="24"/>
                    <a:pt x="132" y="33"/>
                  </a:cubicBezTo>
                  <a:cubicBezTo>
                    <a:pt x="132" y="83"/>
                    <a:pt x="132" y="83"/>
                    <a:pt x="132" y="83"/>
                  </a:cubicBezTo>
                  <a:cubicBezTo>
                    <a:pt x="132" y="92"/>
                    <a:pt x="129" y="100"/>
                    <a:pt x="123" y="106"/>
                  </a:cubicBezTo>
                  <a:cubicBezTo>
                    <a:pt x="116" y="113"/>
                    <a:pt x="108" y="116"/>
                    <a:pt x="99" y="116"/>
                  </a:cubicBezTo>
                  <a:cubicBezTo>
                    <a:pt x="33" y="116"/>
                    <a:pt x="33" y="116"/>
                    <a:pt x="33" y="116"/>
                  </a:cubicBezTo>
                  <a:cubicBezTo>
                    <a:pt x="33" y="232"/>
                    <a:pt x="33" y="232"/>
                    <a:pt x="33" y="232"/>
                  </a:cubicBezTo>
                  <a:cubicBezTo>
                    <a:pt x="20" y="232"/>
                    <a:pt x="20" y="232"/>
                    <a:pt x="20" y="232"/>
                  </a:cubicBezTo>
                  <a:cubicBezTo>
                    <a:pt x="20" y="104"/>
                    <a:pt x="20" y="104"/>
                    <a:pt x="20" y="104"/>
                  </a:cubicBezTo>
                  <a:cubicBezTo>
                    <a:pt x="99" y="104"/>
                    <a:pt x="99" y="104"/>
                    <a:pt x="99" y="104"/>
                  </a:cubicBezTo>
                  <a:cubicBezTo>
                    <a:pt x="105" y="104"/>
                    <a:pt x="110" y="102"/>
                    <a:pt x="114" y="98"/>
                  </a:cubicBezTo>
                  <a:cubicBezTo>
                    <a:pt x="118" y="94"/>
                    <a:pt x="120" y="89"/>
                    <a:pt x="120" y="83"/>
                  </a:cubicBezTo>
                  <a:cubicBezTo>
                    <a:pt x="120" y="33"/>
                    <a:pt x="120" y="33"/>
                    <a:pt x="120" y="33"/>
                  </a:cubicBezTo>
                  <a:cubicBezTo>
                    <a:pt x="120" y="28"/>
                    <a:pt x="118" y="23"/>
                    <a:pt x="114" y="19"/>
                  </a:cubicBezTo>
                  <a:cubicBezTo>
                    <a:pt x="110" y="15"/>
                    <a:pt x="105" y="13"/>
                    <a:pt x="99" y="13"/>
                  </a:cubicBezTo>
                  <a:cubicBezTo>
                    <a:pt x="49" y="13"/>
                    <a:pt x="49" y="13"/>
                    <a:pt x="49" y="13"/>
                  </a:cubicBezTo>
                  <a:cubicBezTo>
                    <a:pt x="39" y="13"/>
                    <a:pt x="30" y="16"/>
                    <a:pt x="23" y="24"/>
                  </a:cubicBezTo>
                  <a:cubicBezTo>
                    <a:pt x="16" y="31"/>
                    <a:pt x="12" y="40"/>
                    <a:pt x="12" y="50"/>
                  </a:cubicBezTo>
                  <a:cubicBezTo>
                    <a:pt x="12" y="232"/>
                    <a:pt x="12" y="232"/>
                    <a:pt x="12" y="232"/>
                  </a:cubicBezTo>
                  <a:cubicBezTo>
                    <a:pt x="0" y="232"/>
                    <a:pt x="0" y="232"/>
                    <a:pt x="0" y="232"/>
                  </a:cubicBezTo>
                  <a:cubicBezTo>
                    <a:pt x="0" y="50"/>
                    <a:pt x="0" y="50"/>
                    <a:pt x="0" y="50"/>
                  </a:cubicBezTo>
                  <a:cubicBezTo>
                    <a:pt x="0" y="36"/>
                    <a:pt x="5" y="25"/>
                    <a:pt x="14" y="15"/>
                  </a:cubicBezTo>
                  <a:cubicBezTo>
                    <a:pt x="24" y="5"/>
                    <a:pt x="36" y="0"/>
                    <a:pt x="49" y="0"/>
                  </a:cubicBezTo>
                  <a:lnTo>
                    <a:pt x="99" y="0"/>
                  </a:lnTo>
                  <a:close/>
                  <a:moveTo>
                    <a:pt x="111" y="83"/>
                  </a:moveTo>
                  <a:cubicBezTo>
                    <a:pt x="111" y="87"/>
                    <a:pt x="110" y="89"/>
                    <a:pt x="108" y="92"/>
                  </a:cubicBezTo>
                  <a:cubicBezTo>
                    <a:pt x="105" y="94"/>
                    <a:pt x="102" y="96"/>
                    <a:pt x="99" y="96"/>
                  </a:cubicBezTo>
                  <a:cubicBezTo>
                    <a:pt x="20" y="96"/>
                    <a:pt x="20" y="96"/>
                    <a:pt x="20" y="96"/>
                  </a:cubicBezTo>
                  <a:cubicBezTo>
                    <a:pt x="20" y="50"/>
                    <a:pt x="20" y="50"/>
                    <a:pt x="20" y="50"/>
                  </a:cubicBezTo>
                  <a:cubicBezTo>
                    <a:pt x="20" y="42"/>
                    <a:pt x="23" y="35"/>
                    <a:pt x="29" y="29"/>
                  </a:cubicBezTo>
                  <a:cubicBezTo>
                    <a:pt x="35" y="24"/>
                    <a:pt x="41" y="21"/>
                    <a:pt x="49" y="21"/>
                  </a:cubicBezTo>
                  <a:cubicBezTo>
                    <a:pt x="99" y="21"/>
                    <a:pt x="99" y="21"/>
                    <a:pt x="99" y="21"/>
                  </a:cubicBezTo>
                  <a:cubicBezTo>
                    <a:pt x="102" y="21"/>
                    <a:pt x="105" y="22"/>
                    <a:pt x="108" y="25"/>
                  </a:cubicBezTo>
                  <a:cubicBezTo>
                    <a:pt x="110" y="27"/>
                    <a:pt x="111" y="30"/>
                    <a:pt x="111" y="33"/>
                  </a:cubicBezTo>
                  <a:lnTo>
                    <a:pt x="111" y="83"/>
                  </a:lnTo>
                  <a:close/>
                  <a:moveTo>
                    <a:pt x="33" y="83"/>
                  </a:moveTo>
                  <a:cubicBezTo>
                    <a:pt x="99" y="83"/>
                    <a:pt x="99" y="83"/>
                    <a:pt x="99" y="83"/>
                  </a:cubicBezTo>
                  <a:cubicBezTo>
                    <a:pt x="99" y="33"/>
                    <a:pt x="99" y="33"/>
                    <a:pt x="99" y="33"/>
                  </a:cubicBezTo>
                  <a:cubicBezTo>
                    <a:pt x="49" y="33"/>
                    <a:pt x="49" y="33"/>
                    <a:pt x="49" y="33"/>
                  </a:cubicBezTo>
                  <a:cubicBezTo>
                    <a:pt x="45" y="33"/>
                    <a:pt x="41" y="35"/>
                    <a:pt x="38" y="38"/>
                  </a:cubicBezTo>
                  <a:cubicBezTo>
                    <a:pt x="34" y="42"/>
                    <a:pt x="33" y="45"/>
                    <a:pt x="33" y="50"/>
                  </a:cubicBezTo>
                  <a:lnTo>
                    <a:pt x="33" y="83"/>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5">
              <a:extLst>
                <a:ext uri="{FF2B5EF4-FFF2-40B4-BE49-F238E27FC236}">
                  <a16:creationId xmlns:a16="http://schemas.microsoft.com/office/drawing/2014/main" id="{5B32C180-1B17-03B8-8F26-17152FCBFF09}"/>
                </a:ext>
              </a:extLst>
            </p:cNvPr>
            <p:cNvSpPr>
              <a:spLocks noEditPoints="1"/>
            </p:cNvSpPr>
            <p:nvPr userDrawn="1"/>
          </p:nvSpPr>
          <p:spPr bwMode="auto">
            <a:xfrm>
              <a:off x="5774" y="2552"/>
              <a:ext cx="312" cy="551"/>
            </a:xfrm>
            <a:custGeom>
              <a:avLst/>
              <a:gdLst>
                <a:gd name="T0" fmla="*/ 26510905 w 132"/>
                <a:gd name="T1" fmla="*/ 442759715 h 232"/>
                <a:gd name="T2" fmla="*/ 51443210 w 132"/>
                <a:gd name="T3" fmla="*/ 508305993 h 232"/>
                <a:gd name="T4" fmla="*/ 110103249 w 132"/>
                <a:gd name="T5" fmla="*/ 535913430 h 232"/>
                <a:gd name="T6" fmla="*/ 295891719 w 132"/>
                <a:gd name="T7" fmla="*/ 535913430 h 232"/>
                <a:gd name="T8" fmla="*/ 295891719 w 132"/>
                <a:gd name="T9" fmla="*/ 564828430 h 232"/>
                <a:gd name="T10" fmla="*/ 110103249 w 132"/>
                <a:gd name="T11" fmla="*/ 564828430 h 232"/>
                <a:gd name="T12" fmla="*/ 31262608 w 132"/>
                <a:gd name="T13" fmla="*/ 527724589 h 232"/>
                <a:gd name="T14" fmla="*/ 0 w 132"/>
                <a:gd name="T15" fmla="*/ 442759715 h 232"/>
                <a:gd name="T16" fmla="*/ 0 w 132"/>
                <a:gd name="T17" fmla="*/ 0 h 232"/>
                <a:gd name="T18" fmla="*/ 26510905 w 132"/>
                <a:gd name="T19" fmla="*/ 0 h 232"/>
                <a:gd name="T20" fmla="*/ 26510905 w 132"/>
                <a:gd name="T21" fmla="*/ 442759715 h 232"/>
                <a:gd name="T22" fmla="*/ 295891719 w 132"/>
                <a:gd name="T23" fmla="*/ 484506888 h 232"/>
                <a:gd name="T24" fmla="*/ 295891719 w 132"/>
                <a:gd name="T25" fmla="*/ 513431020 h 232"/>
                <a:gd name="T26" fmla="*/ 110103249 w 132"/>
                <a:gd name="T27" fmla="*/ 513431020 h 232"/>
                <a:gd name="T28" fmla="*/ 65404189 w 132"/>
                <a:gd name="T29" fmla="*/ 494012295 h 232"/>
                <a:gd name="T30" fmla="*/ 44482705 w 132"/>
                <a:gd name="T31" fmla="*/ 442759715 h 232"/>
                <a:gd name="T32" fmla="*/ 44482705 w 132"/>
                <a:gd name="T33" fmla="*/ 0 h 232"/>
                <a:gd name="T34" fmla="*/ 73893437 w 132"/>
                <a:gd name="T35" fmla="*/ 0 h 232"/>
                <a:gd name="T36" fmla="*/ 73893437 w 132"/>
                <a:gd name="T37" fmla="*/ 442759715 h 232"/>
                <a:gd name="T38" fmla="*/ 85443339 w 132"/>
                <a:gd name="T39" fmla="*/ 472485538 h 232"/>
                <a:gd name="T40" fmla="*/ 110103249 w 132"/>
                <a:gd name="T41" fmla="*/ 484506888 h 232"/>
                <a:gd name="T42" fmla="*/ 295891719 w 132"/>
                <a:gd name="T43" fmla="*/ 484506888 h 2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2" h="232">
                  <a:moveTo>
                    <a:pt x="12" y="182"/>
                  </a:moveTo>
                  <a:cubicBezTo>
                    <a:pt x="12" y="193"/>
                    <a:pt x="16" y="201"/>
                    <a:pt x="23" y="209"/>
                  </a:cubicBezTo>
                  <a:cubicBezTo>
                    <a:pt x="30" y="216"/>
                    <a:pt x="39" y="220"/>
                    <a:pt x="49" y="220"/>
                  </a:cubicBezTo>
                  <a:cubicBezTo>
                    <a:pt x="132" y="220"/>
                    <a:pt x="132" y="220"/>
                    <a:pt x="132" y="220"/>
                  </a:cubicBezTo>
                  <a:cubicBezTo>
                    <a:pt x="132" y="232"/>
                    <a:pt x="132" y="232"/>
                    <a:pt x="132" y="232"/>
                  </a:cubicBezTo>
                  <a:cubicBezTo>
                    <a:pt x="49" y="232"/>
                    <a:pt x="49" y="232"/>
                    <a:pt x="49" y="232"/>
                  </a:cubicBezTo>
                  <a:cubicBezTo>
                    <a:pt x="36" y="232"/>
                    <a:pt x="24" y="227"/>
                    <a:pt x="14" y="217"/>
                  </a:cubicBezTo>
                  <a:cubicBezTo>
                    <a:pt x="4" y="208"/>
                    <a:pt x="0" y="196"/>
                    <a:pt x="0" y="182"/>
                  </a:cubicBezTo>
                  <a:cubicBezTo>
                    <a:pt x="0" y="0"/>
                    <a:pt x="0" y="0"/>
                    <a:pt x="0" y="0"/>
                  </a:cubicBezTo>
                  <a:cubicBezTo>
                    <a:pt x="12" y="0"/>
                    <a:pt x="12" y="0"/>
                    <a:pt x="12" y="0"/>
                  </a:cubicBezTo>
                  <a:lnTo>
                    <a:pt x="12" y="182"/>
                  </a:lnTo>
                  <a:close/>
                  <a:moveTo>
                    <a:pt x="132" y="199"/>
                  </a:moveTo>
                  <a:cubicBezTo>
                    <a:pt x="132" y="211"/>
                    <a:pt x="132" y="211"/>
                    <a:pt x="132" y="211"/>
                  </a:cubicBezTo>
                  <a:cubicBezTo>
                    <a:pt x="49" y="211"/>
                    <a:pt x="49" y="211"/>
                    <a:pt x="49" y="211"/>
                  </a:cubicBezTo>
                  <a:cubicBezTo>
                    <a:pt x="41" y="211"/>
                    <a:pt x="34" y="209"/>
                    <a:pt x="29" y="203"/>
                  </a:cubicBezTo>
                  <a:cubicBezTo>
                    <a:pt x="23" y="197"/>
                    <a:pt x="20" y="190"/>
                    <a:pt x="20" y="182"/>
                  </a:cubicBezTo>
                  <a:cubicBezTo>
                    <a:pt x="20" y="0"/>
                    <a:pt x="20" y="0"/>
                    <a:pt x="20" y="0"/>
                  </a:cubicBezTo>
                  <a:cubicBezTo>
                    <a:pt x="33" y="0"/>
                    <a:pt x="33" y="0"/>
                    <a:pt x="33" y="0"/>
                  </a:cubicBezTo>
                  <a:cubicBezTo>
                    <a:pt x="33" y="182"/>
                    <a:pt x="33" y="182"/>
                    <a:pt x="33" y="182"/>
                  </a:cubicBezTo>
                  <a:cubicBezTo>
                    <a:pt x="33" y="187"/>
                    <a:pt x="34" y="191"/>
                    <a:pt x="38" y="194"/>
                  </a:cubicBezTo>
                  <a:cubicBezTo>
                    <a:pt x="41" y="197"/>
                    <a:pt x="45" y="199"/>
                    <a:pt x="49" y="199"/>
                  </a:cubicBezTo>
                  <a:lnTo>
                    <a:pt x="132" y="199"/>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5" name="Freeform 16">
              <a:extLst>
                <a:ext uri="{FF2B5EF4-FFF2-40B4-BE49-F238E27FC236}">
                  <a16:creationId xmlns:a16="http://schemas.microsoft.com/office/drawing/2014/main" id="{F0C94D2F-ECB4-5EC0-4B1E-F16AA0414C8B}"/>
                </a:ext>
              </a:extLst>
            </p:cNvPr>
            <p:cNvSpPr>
              <a:spLocks noEditPoints="1"/>
            </p:cNvSpPr>
            <p:nvPr userDrawn="1"/>
          </p:nvSpPr>
          <p:spPr bwMode="auto">
            <a:xfrm>
              <a:off x="6120" y="2552"/>
              <a:ext cx="331" cy="551"/>
            </a:xfrm>
            <a:custGeom>
              <a:avLst/>
              <a:gdLst>
                <a:gd name="T0" fmla="*/ 315628455 w 140"/>
                <a:gd name="T1" fmla="*/ 0 h 232"/>
                <a:gd name="T2" fmla="*/ 315628455 w 140"/>
                <a:gd name="T3" fmla="*/ 564828430 h 232"/>
                <a:gd name="T4" fmla="*/ 288722604 w 140"/>
                <a:gd name="T5" fmla="*/ 564828430 h 232"/>
                <a:gd name="T6" fmla="*/ 288722604 w 140"/>
                <a:gd name="T7" fmla="*/ 31976658 h 232"/>
                <a:gd name="T8" fmla="*/ 110489077 w 140"/>
                <a:gd name="T9" fmla="*/ 31976658 h 232"/>
                <a:gd name="T10" fmla="*/ 51651254 w 140"/>
                <a:gd name="T11" fmla="*/ 58299493 h 232"/>
                <a:gd name="T12" fmla="*/ 26606139 w 140"/>
                <a:gd name="T13" fmla="*/ 122107630 h 232"/>
                <a:gd name="T14" fmla="*/ 26606139 w 140"/>
                <a:gd name="T15" fmla="*/ 564828430 h 232"/>
                <a:gd name="T16" fmla="*/ 0 w 140"/>
                <a:gd name="T17" fmla="*/ 564828430 h 232"/>
                <a:gd name="T18" fmla="*/ 0 w 140"/>
                <a:gd name="T19" fmla="*/ 122107630 h 232"/>
                <a:gd name="T20" fmla="*/ 31354195 w 140"/>
                <a:gd name="T21" fmla="*/ 37103839 h 232"/>
                <a:gd name="T22" fmla="*/ 110489077 w 140"/>
                <a:gd name="T23" fmla="*/ 0 h 232"/>
                <a:gd name="T24" fmla="*/ 315628455 w 140"/>
                <a:gd name="T25" fmla="*/ 0 h 232"/>
                <a:gd name="T26" fmla="*/ 44631525 w 140"/>
                <a:gd name="T27" fmla="*/ 122107630 h 232"/>
                <a:gd name="T28" fmla="*/ 65649001 w 140"/>
                <a:gd name="T29" fmla="*/ 70832843 h 232"/>
                <a:gd name="T30" fmla="*/ 110489077 w 140"/>
                <a:gd name="T31" fmla="*/ 51413739 h 232"/>
                <a:gd name="T32" fmla="*/ 270477527 w 140"/>
                <a:gd name="T33" fmla="*/ 51413739 h 232"/>
                <a:gd name="T34" fmla="*/ 270477527 w 140"/>
                <a:gd name="T35" fmla="*/ 233836064 h 232"/>
                <a:gd name="T36" fmla="*/ 44631525 w 140"/>
                <a:gd name="T37" fmla="*/ 233836064 h 232"/>
                <a:gd name="T38" fmla="*/ 44631525 w 140"/>
                <a:gd name="T39" fmla="*/ 122107630 h 232"/>
                <a:gd name="T40" fmla="*/ 270477527 w 140"/>
                <a:gd name="T41" fmla="*/ 253283286 h 232"/>
                <a:gd name="T42" fmla="*/ 270477527 w 140"/>
                <a:gd name="T43" fmla="*/ 564828430 h 232"/>
                <a:gd name="T44" fmla="*/ 241121972 w 140"/>
                <a:gd name="T45" fmla="*/ 564828430 h 232"/>
                <a:gd name="T46" fmla="*/ 241121972 w 140"/>
                <a:gd name="T47" fmla="*/ 283050061 h 232"/>
                <a:gd name="T48" fmla="*/ 74130275 w 140"/>
                <a:gd name="T49" fmla="*/ 283050061 h 232"/>
                <a:gd name="T50" fmla="*/ 74130275 w 140"/>
                <a:gd name="T51" fmla="*/ 564828430 h 232"/>
                <a:gd name="T52" fmla="*/ 44631525 w 140"/>
                <a:gd name="T53" fmla="*/ 564828430 h 232"/>
                <a:gd name="T54" fmla="*/ 44631525 w 140"/>
                <a:gd name="T55" fmla="*/ 253283286 h 232"/>
                <a:gd name="T56" fmla="*/ 270477527 w 140"/>
                <a:gd name="T57" fmla="*/ 253283286 h 232"/>
                <a:gd name="T58" fmla="*/ 241121972 w 140"/>
                <a:gd name="T59" fmla="*/ 79781492 h 232"/>
                <a:gd name="T60" fmla="*/ 110489077 w 140"/>
                <a:gd name="T61" fmla="*/ 79781492 h 232"/>
                <a:gd name="T62" fmla="*/ 85974132 w 140"/>
                <a:gd name="T63" fmla="*/ 92335711 h 232"/>
                <a:gd name="T64" fmla="*/ 74130275 w 140"/>
                <a:gd name="T65" fmla="*/ 122107630 h 232"/>
                <a:gd name="T66" fmla="*/ 74130275 w 140"/>
                <a:gd name="T67" fmla="*/ 202009418 h 232"/>
                <a:gd name="T68" fmla="*/ 241121972 w 140"/>
                <a:gd name="T69" fmla="*/ 202009418 h 232"/>
                <a:gd name="T70" fmla="*/ 241121972 w 140"/>
                <a:gd name="T71" fmla="*/ 79781492 h 23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40" h="232">
                  <a:moveTo>
                    <a:pt x="140" y="0"/>
                  </a:moveTo>
                  <a:cubicBezTo>
                    <a:pt x="140" y="232"/>
                    <a:pt x="140" y="232"/>
                    <a:pt x="140" y="232"/>
                  </a:cubicBezTo>
                  <a:cubicBezTo>
                    <a:pt x="128" y="232"/>
                    <a:pt x="128" y="232"/>
                    <a:pt x="128" y="232"/>
                  </a:cubicBezTo>
                  <a:cubicBezTo>
                    <a:pt x="128" y="13"/>
                    <a:pt x="128" y="13"/>
                    <a:pt x="128" y="13"/>
                  </a:cubicBezTo>
                  <a:cubicBezTo>
                    <a:pt x="49" y="13"/>
                    <a:pt x="49" y="13"/>
                    <a:pt x="49" y="13"/>
                  </a:cubicBezTo>
                  <a:cubicBezTo>
                    <a:pt x="39" y="13"/>
                    <a:pt x="30" y="16"/>
                    <a:pt x="23" y="24"/>
                  </a:cubicBezTo>
                  <a:cubicBezTo>
                    <a:pt x="16" y="31"/>
                    <a:pt x="12" y="40"/>
                    <a:pt x="12" y="50"/>
                  </a:cubicBezTo>
                  <a:cubicBezTo>
                    <a:pt x="12" y="232"/>
                    <a:pt x="12" y="232"/>
                    <a:pt x="12" y="232"/>
                  </a:cubicBezTo>
                  <a:cubicBezTo>
                    <a:pt x="0" y="232"/>
                    <a:pt x="0" y="232"/>
                    <a:pt x="0" y="232"/>
                  </a:cubicBezTo>
                  <a:cubicBezTo>
                    <a:pt x="0" y="50"/>
                    <a:pt x="0" y="50"/>
                    <a:pt x="0" y="50"/>
                  </a:cubicBezTo>
                  <a:cubicBezTo>
                    <a:pt x="0" y="36"/>
                    <a:pt x="5" y="25"/>
                    <a:pt x="14" y="15"/>
                  </a:cubicBezTo>
                  <a:cubicBezTo>
                    <a:pt x="24" y="5"/>
                    <a:pt x="36" y="0"/>
                    <a:pt x="49" y="0"/>
                  </a:cubicBezTo>
                  <a:lnTo>
                    <a:pt x="140" y="0"/>
                  </a:lnTo>
                  <a:close/>
                  <a:moveTo>
                    <a:pt x="20" y="50"/>
                  </a:moveTo>
                  <a:cubicBezTo>
                    <a:pt x="20" y="42"/>
                    <a:pt x="23" y="35"/>
                    <a:pt x="29" y="29"/>
                  </a:cubicBezTo>
                  <a:cubicBezTo>
                    <a:pt x="35" y="24"/>
                    <a:pt x="41" y="21"/>
                    <a:pt x="49" y="21"/>
                  </a:cubicBezTo>
                  <a:cubicBezTo>
                    <a:pt x="120" y="21"/>
                    <a:pt x="120" y="21"/>
                    <a:pt x="120" y="21"/>
                  </a:cubicBezTo>
                  <a:cubicBezTo>
                    <a:pt x="120" y="96"/>
                    <a:pt x="120" y="96"/>
                    <a:pt x="120" y="96"/>
                  </a:cubicBezTo>
                  <a:cubicBezTo>
                    <a:pt x="20" y="96"/>
                    <a:pt x="20" y="96"/>
                    <a:pt x="20" y="96"/>
                  </a:cubicBezTo>
                  <a:lnTo>
                    <a:pt x="20" y="50"/>
                  </a:lnTo>
                  <a:close/>
                  <a:moveTo>
                    <a:pt x="120" y="104"/>
                  </a:moveTo>
                  <a:cubicBezTo>
                    <a:pt x="120" y="232"/>
                    <a:pt x="120" y="232"/>
                    <a:pt x="120" y="232"/>
                  </a:cubicBezTo>
                  <a:cubicBezTo>
                    <a:pt x="107" y="232"/>
                    <a:pt x="107" y="232"/>
                    <a:pt x="107" y="232"/>
                  </a:cubicBezTo>
                  <a:cubicBezTo>
                    <a:pt x="107" y="116"/>
                    <a:pt x="107" y="116"/>
                    <a:pt x="107" y="116"/>
                  </a:cubicBezTo>
                  <a:cubicBezTo>
                    <a:pt x="33" y="116"/>
                    <a:pt x="33" y="116"/>
                    <a:pt x="33" y="116"/>
                  </a:cubicBezTo>
                  <a:cubicBezTo>
                    <a:pt x="33" y="232"/>
                    <a:pt x="33" y="232"/>
                    <a:pt x="33" y="232"/>
                  </a:cubicBezTo>
                  <a:cubicBezTo>
                    <a:pt x="20" y="232"/>
                    <a:pt x="20" y="232"/>
                    <a:pt x="20" y="232"/>
                  </a:cubicBezTo>
                  <a:cubicBezTo>
                    <a:pt x="20" y="104"/>
                    <a:pt x="20" y="104"/>
                    <a:pt x="20" y="104"/>
                  </a:cubicBezTo>
                  <a:lnTo>
                    <a:pt x="120" y="104"/>
                  </a:lnTo>
                  <a:close/>
                  <a:moveTo>
                    <a:pt x="107" y="33"/>
                  </a:moveTo>
                  <a:cubicBezTo>
                    <a:pt x="49" y="33"/>
                    <a:pt x="49" y="33"/>
                    <a:pt x="49" y="33"/>
                  </a:cubicBezTo>
                  <a:cubicBezTo>
                    <a:pt x="45" y="33"/>
                    <a:pt x="41" y="35"/>
                    <a:pt x="38" y="38"/>
                  </a:cubicBezTo>
                  <a:cubicBezTo>
                    <a:pt x="34" y="42"/>
                    <a:pt x="33" y="45"/>
                    <a:pt x="33" y="50"/>
                  </a:cubicBezTo>
                  <a:cubicBezTo>
                    <a:pt x="33" y="83"/>
                    <a:pt x="33" y="83"/>
                    <a:pt x="33" y="83"/>
                  </a:cubicBezTo>
                  <a:cubicBezTo>
                    <a:pt x="107" y="83"/>
                    <a:pt x="107" y="83"/>
                    <a:pt x="107" y="83"/>
                  </a:cubicBezTo>
                  <a:lnTo>
                    <a:pt x="107" y="33"/>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6" name="Freeform 17">
              <a:extLst>
                <a:ext uri="{FF2B5EF4-FFF2-40B4-BE49-F238E27FC236}">
                  <a16:creationId xmlns:a16="http://schemas.microsoft.com/office/drawing/2014/main" id="{83B86E29-B8FB-3AF2-28FD-8A931F72CCD2}"/>
                </a:ext>
              </a:extLst>
            </p:cNvPr>
            <p:cNvSpPr>
              <a:spLocks noEditPoints="1"/>
            </p:cNvSpPr>
            <p:nvPr userDrawn="1"/>
          </p:nvSpPr>
          <p:spPr bwMode="auto">
            <a:xfrm>
              <a:off x="6517" y="2552"/>
              <a:ext cx="331" cy="551"/>
            </a:xfrm>
            <a:custGeom>
              <a:avLst/>
              <a:gdLst>
                <a:gd name="T0" fmla="*/ 0 w 331"/>
                <a:gd name="T1" fmla="*/ 0 h 551"/>
                <a:gd name="T2" fmla="*/ 331 w 331"/>
                <a:gd name="T3" fmla="*/ 0 h 551"/>
                <a:gd name="T4" fmla="*/ 331 w 331"/>
                <a:gd name="T5" fmla="*/ 31 h 551"/>
                <a:gd name="T6" fmla="*/ 0 w 331"/>
                <a:gd name="T7" fmla="*/ 31 h 551"/>
                <a:gd name="T8" fmla="*/ 0 w 331"/>
                <a:gd name="T9" fmla="*/ 0 h 551"/>
                <a:gd name="T10" fmla="*/ 156 w 331"/>
                <a:gd name="T11" fmla="*/ 50 h 551"/>
                <a:gd name="T12" fmla="*/ 156 w 331"/>
                <a:gd name="T13" fmla="*/ 551 h 551"/>
                <a:gd name="T14" fmla="*/ 128 w 331"/>
                <a:gd name="T15" fmla="*/ 551 h 551"/>
                <a:gd name="T16" fmla="*/ 128 w 331"/>
                <a:gd name="T17" fmla="*/ 79 h 551"/>
                <a:gd name="T18" fmla="*/ 0 w 331"/>
                <a:gd name="T19" fmla="*/ 79 h 551"/>
                <a:gd name="T20" fmla="*/ 0 w 331"/>
                <a:gd name="T21" fmla="*/ 50 h 551"/>
                <a:gd name="T22" fmla="*/ 156 w 331"/>
                <a:gd name="T23" fmla="*/ 50 h 551"/>
                <a:gd name="T24" fmla="*/ 331 w 331"/>
                <a:gd name="T25" fmla="*/ 50 h 551"/>
                <a:gd name="T26" fmla="*/ 331 w 331"/>
                <a:gd name="T27" fmla="*/ 79 h 551"/>
                <a:gd name="T28" fmla="*/ 206 w 331"/>
                <a:gd name="T29" fmla="*/ 79 h 551"/>
                <a:gd name="T30" fmla="*/ 206 w 331"/>
                <a:gd name="T31" fmla="*/ 551 h 551"/>
                <a:gd name="T32" fmla="*/ 175 w 331"/>
                <a:gd name="T33" fmla="*/ 551 h 551"/>
                <a:gd name="T34" fmla="*/ 175 w 331"/>
                <a:gd name="T35" fmla="*/ 50 h 551"/>
                <a:gd name="T36" fmla="*/ 331 w 331"/>
                <a:gd name="T37" fmla="*/ 50 h 5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31" h="551">
                  <a:moveTo>
                    <a:pt x="0" y="0"/>
                  </a:moveTo>
                  <a:lnTo>
                    <a:pt x="331" y="0"/>
                  </a:lnTo>
                  <a:lnTo>
                    <a:pt x="331" y="31"/>
                  </a:lnTo>
                  <a:lnTo>
                    <a:pt x="0" y="31"/>
                  </a:lnTo>
                  <a:lnTo>
                    <a:pt x="0" y="0"/>
                  </a:lnTo>
                  <a:close/>
                  <a:moveTo>
                    <a:pt x="156" y="50"/>
                  </a:moveTo>
                  <a:lnTo>
                    <a:pt x="156" y="551"/>
                  </a:lnTo>
                  <a:lnTo>
                    <a:pt x="128" y="551"/>
                  </a:lnTo>
                  <a:lnTo>
                    <a:pt x="128" y="79"/>
                  </a:lnTo>
                  <a:lnTo>
                    <a:pt x="0" y="79"/>
                  </a:lnTo>
                  <a:lnTo>
                    <a:pt x="0" y="50"/>
                  </a:lnTo>
                  <a:lnTo>
                    <a:pt x="156" y="50"/>
                  </a:lnTo>
                  <a:close/>
                  <a:moveTo>
                    <a:pt x="331" y="50"/>
                  </a:moveTo>
                  <a:lnTo>
                    <a:pt x="331" y="79"/>
                  </a:lnTo>
                  <a:lnTo>
                    <a:pt x="206" y="79"/>
                  </a:lnTo>
                  <a:lnTo>
                    <a:pt x="206" y="551"/>
                  </a:lnTo>
                  <a:lnTo>
                    <a:pt x="175" y="551"/>
                  </a:lnTo>
                  <a:lnTo>
                    <a:pt x="175" y="50"/>
                  </a:lnTo>
                  <a:lnTo>
                    <a:pt x="331" y="50"/>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 name="Freeform 18">
              <a:extLst>
                <a:ext uri="{FF2B5EF4-FFF2-40B4-BE49-F238E27FC236}">
                  <a16:creationId xmlns:a16="http://schemas.microsoft.com/office/drawing/2014/main" id="{BDC27087-9A0B-8F7D-38F7-B354A891BD14}"/>
                </a:ext>
              </a:extLst>
            </p:cNvPr>
            <p:cNvSpPr>
              <a:spLocks noEditPoints="1"/>
            </p:cNvSpPr>
            <p:nvPr userDrawn="1"/>
          </p:nvSpPr>
          <p:spPr bwMode="auto">
            <a:xfrm>
              <a:off x="6886" y="2552"/>
              <a:ext cx="312" cy="551"/>
            </a:xfrm>
            <a:custGeom>
              <a:avLst/>
              <a:gdLst>
                <a:gd name="T0" fmla="*/ 295891719 w 132"/>
                <a:gd name="T1" fmla="*/ 0 h 232"/>
                <a:gd name="T2" fmla="*/ 295891719 w 132"/>
                <a:gd name="T3" fmla="*/ 31976658 h 232"/>
                <a:gd name="T4" fmla="*/ 110103249 w 132"/>
                <a:gd name="T5" fmla="*/ 31976658 h 232"/>
                <a:gd name="T6" fmla="*/ 51443210 w 132"/>
                <a:gd name="T7" fmla="*/ 58299493 h 232"/>
                <a:gd name="T8" fmla="*/ 26510905 w 132"/>
                <a:gd name="T9" fmla="*/ 122107630 h 232"/>
                <a:gd name="T10" fmla="*/ 26510905 w 132"/>
                <a:gd name="T11" fmla="*/ 442759715 h 232"/>
                <a:gd name="T12" fmla="*/ 51443210 w 132"/>
                <a:gd name="T13" fmla="*/ 508305993 h 232"/>
                <a:gd name="T14" fmla="*/ 110103249 w 132"/>
                <a:gd name="T15" fmla="*/ 535913430 h 232"/>
                <a:gd name="T16" fmla="*/ 295891719 w 132"/>
                <a:gd name="T17" fmla="*/ 535913430 h 232"/>
                <a:gd name="T18" fmla="*/ 295891719 w 132"/>
                <a:gd name="T19" fmla="*/ 564828430 h 232"/>
                <a:gd name="T20" fmla="*/ 110103249 w 132"/>
                <a:gd name="T21" fmla="*/ 564828430 h 232"/>
                <a:gd name="T22" fmla="*/ 31262608 w 132"/>
                <a:gd name="T23" fmla="*/ 527724589 h 232"/>
                <a:gd name="T24" fmla="*/ 0 w 132"/>
                <a:gd name="T25" fmla="*/ 442759715 h 232"/>
                <a:gd name="T26" fmla="*/ 0 w 132"/>
                <a:gd name="T27" fmla="*/ 122107630 h 232"/>
                <a:gd name="T28" fmla="*/ 31262608 w 132"/>
                <a:gd name="T29" fmla="*/ 37103839 h 232"/>
                <a:gd name="T30" fmla="*/ 110103249 w 132"/>
                <a:gd name="T31" fmla="*/ 0 h 232"/>
                <a:gd name="T32" fmla="*/ 295891719 w 132"/>
                <a:gd name="T33" fmla="*/ 0 h 232"/>
                <a:gd name="T34" fmla="*/ 44482705 w 132"/>
                <a:gd name="T35" fmla="*/ 122107630 h 232"/>
                <a:gd name="T36" fmla="*/ 65404189 w 132"/>
                <a:gd name="T37" fmla="*/ 70832843 h 232"/>
                <a:gd name="T38" fmla="*/ 111981461 w 132"/>
                <a:gd name="T39" fmla="*/ 51413739 h 232"/>
                <a:gd name="T40" fmla="*/ 295891719 w 132"/>
                <a:gd name="T41" fmla="*/ 51413739 h 232"/>
                <a:gd name="T42" fmla="*/ 295891719 w 132"/>
                <a:gd name="T43" fmla="*/ 79781492 h 232"/>
                <a:gd name="T44" fmla="*/ 111981461 w 132"/>
                <a:gd name="T45" fmla="*/ 79781492 h 232"/>
                <a:gd name="T46" fmla="*/ 85443339 w 132"/>
                <a:gd name="T47" fmla="*/ 92335711 h 232"/>
                <a:gd name="T48" fmla="*/ 73893437 w 132"/>
                <a:gd name="T49" fmla="*/ 122107630 h 232"/>
                <a:gd name="T50" fmla="*/ 73893437 w 132"/>
                <a:gd name="T51" fmla="*/ 202009418 h 232"/>
                <a:gd name="T52" fmla="*/ 295891719 w 132"/>
                <a:gd name="T53" fmla="*/ 202009418 h 232"/>
                <a:gd name="T54" fmla="*/ 295891719 w 132"/>
                <a:gd name="T55" fmla="*/ 233836064 h 232"/>
                <a:gd name="T56" fmla="*/ 44482705 w 132"/>
                <a:gd name="T57" fmla="*/ 233836064 h 232"/>
                <a:gd name="T58" fmla="*/ 44482705 w 132"/>
                <a:gd name="T59" fmla="*/ 122107630 h 232"/>
                <a:gd name="T60" fmla="*/ 44482705 w 132"/>
                <a:gd name="T61" fmla="*/ 253283286 h 232"/>
                <a:gd name="T62" fmla="*/ 295891719 w 132"/>
                <a:gd name="T63" fmla="*/ 253283286 h 232"/>
                <a:gd name="T64" fmla="*/ 295891719 w 132"/>
                <a:gd name="T65" fmla="*/ 283050061 h 232"/>
                <a:gd name="T66" fmla="*/ 73893437 w 132"/>
                <a:gd name="T67" fmla="*/ 283050061 h 232"/>
                <a:gd name="T68" fmla="*/ 73893437 w 132"/>
                <a:gd name="T69" fmla="*/ 442759715 h 232"/>
                <a:gd name="T70" fmla="*/ 85443339 w 132"/>
                <a:gd name="T71" fmla="*/ 472485538 h 232"/>
                <a:gd name="T72" fmla="*/ 111981461 w 132"/>
                <a:gd name="T73" fmla="*/ 484506888 h 232"/>
                <a:gd name="T74" fmla="*/ 295891719 w 132"/>
                <a:gd name="T75" fmla="*/ 484506888 h 232"/>
                <a:gd name="T76" fmla="*/ 295891719 w 132"/>
                <a:gd name="T77" fmla="*/ 513431020 h 232"/>
                <a:gd name="T78" fmla="*/ 111981461 w 132"/>
                <a:gd name="T79" fmla="*/ 513431020 h 232"/>
                <a:gd name="T80" fmla="*/ 65404189 w 132"/>
                <a:gd name="T81" fmla="*/ 494012295 h 232"/>
                <a:gd name="T82" fmla="*/ 44482705 w 132"/>
                <a:gd name="T83" fmla="*/ 442759715 h 232"/>
                <a:gd name="T84" fmla="*/ 44482705 w 132"/>
                <a:gd name="T85" fmla="*/ 253283286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132" y="0"/>
                  </a:moveTo>
                  <a:cubicBezTo>
                    <a:pt x="132" y="13"/>
                    <a:pt x="132" y="13"/>
                    <a:pt x="132" y="13"/>
                  </a:cubicBezTo>
                  <a:cubicBezTo>
                    <a:pt x="49" y="13"/>
                    <a:pt x="49" y="13"/>
                    <a:pt x="49" y="13"/>
                  </a:cubicBezTo>
                  <a:cubicBezTo>
                    <a:pt x="39" y="13"/>
                    <a:pt x="30" y="16"/>
                    <a:pt x="23" y="24"/>
                  </a:cubicBezTo>
                  <a:cubicBezTo>
                    <a:pt x="16" y="31"/>
                    <a:pt x="12" y="40"/>
                    <a:pt x="12" y="50"/>
                  </a:cubicBezTo>
                  <a:cubicBezTo>
                    <a:pt x="12" y="182"/>
                    <a:pt x="12" y="182"/>
                    <a:pt x="12" y="182"/>
                  </a:cubicBezTo>
                  <a:cubicBezTo>
                    <a:pt x="12" y="193"/>
                    <a:pt x="16" y="201"/>
                    <a:pt x="23" y="209"/>
                  </a:cubicBezTo>
                  <a:cubicBezTo>
                    <a:pt x="30" y="216"/>
                    <a:pt x="39" y="220"/>
                    <a:pt x="49" y="220"/>
                  </a:cubicBezTo>
                  <a:cubicBezTo>
                    <a:pt x="132" y="220"/>
                    <a:pt x="132" y="220"/>
                    <a:pt x="132" y="220"/>
                  </a:cubicBezTo>
                  <a:cubicBezTo>
                    <a:pt x="132" y="232"/>
                    <a:pt x="132" y="232"/>
                    <a:pt x="132" y="232"/>
                  </a:cubicBezTo>
                  <a:cubicBezTo>
                    <a:pt x="49" y="232"/>
                    <a:pt x="49" y="232"/>
                    <a:pt x="49" y="232"/>
                  </a:cubicBezTo>
                  <a:cubicBezTo>
                    <a:pt x="36" y="232"/>
                    <a:pt x="24" y="227"/>
                    <a:pt x="14" y="217"/>
                  </a:cubicBezTo>
                  <a:cubicBezTo>
                    <a:pt x="5" y="208"/>
                    <a:pt x="0" y="196"/>
                    <a:pt x="0" y="182"/>
                  </a:cubicBezTo>
                  <a:cubicBezTo>
                    <a:pt x="0" y="50"/>
                    <a:pt x="0" y="50"/>
                    <a:pt x="0" y="50"/>
                  </a:cubicBezTo>
                  <a:cubicBezTo>
                    <a:pt x="0" y="36"/>
                    <a:pt x="5" y="25"/>
                    <a:pt x="14" y="15"/>
                  </a:cubicBezTo>
                  <a:cubicBezTo>
                    <a:pt x="24" y="5"/>
                    <a:pt x="36" y="0"/>
                    <a:pt x="49" y="0"/>
                  </a:cubicBezTo>
                  <a:lnTo>
                    <a:pt x="132" y="0"/>
                  </a:lnTo>
                  <a:close/>
                  <a:moveTo>
                    <a:pt x="20" y="50"/>
                  </a:moveTo>
                  <a:cubicBezTo>
                    <a:pt x="20" y="42"/>
                    <a:pt x="23" y="35"/>
                    <a:pt x="29" y="29"/>
                  </a:cubicBezTo>
                  <a:cubicBezTo>
                    <a:pt x="35" y="24"/>
                    <a:pt x="42" y="21"/>
                    <a:pt x="50" y="21"/>
                  </a:cubicBezTo>
                  <a:cubicBezTo>
                    <a:pt x="132" y="21"/>
                    <a:pt x="132" y="21"/>
                    <a:pt x="132" y="21"/>
                  </a:cubicBezTo>
                  <a:cubicBezTo>
                    <a:pt x="132" y="33"/>
                    <a:pt x="132" y="33"/>
                    <a:pt x="132" y="33"/>
                  </a:cubicBezTo>
                  <a:cubicBezTo>
                    <a:pt x="50" y="33"/>
                    <a:pt x="50" y="33"/>
                    <a:pt x="50" y="33"/>
                  </a:cubicBezTo>
                  <a:cubicBezTo>
                    <a:pt x="45" y="33"/>
                    <a:pt x="41" y="35"/>
                    <a:pt x="38" y="38"/>
                  </a:cubicBezTo>
                  <a:cubicBezTo>
                    <a:pt x="35" y="42"/>
                    <a:pt x="33" y="45"/>
                    <a:pt x="33" y="50"/>
                  </a:cubicBezTo>
                  <a:cubicBezTo>
                    <a:pt x="33" y="83"/>
                    <a:pt x="33" y="83"/>
                    <a:pt x="33" y="83"/>
                  </a:cubicBezTo>
                  <a:cubicBezTo>
                    <a:pt x="132" y="83"/>
                    <a:pt x="132" y="83"/>
                    <a:pt x="132" y="83"/>
                  </a:cubicBezTo>
                  <a:cubicBezTo>
                    <a:pt x="132" y="96"/>
                    <a:pt x="132" y="96"/>
                    <a:pt x="132" y="96"/>
                  </a:cubicBezTo>
                  <a:cubicBezTo>
                    <a:pt x="20" y="96"/>
                    <a:pt x="20" y="96"/>
                    <a:pt x="20" y="96"/>
                  </a:cubicBezTo>
                  <a:lnTo>
                    <a:pt x="20" y="50"/>
                  </a:lnTo>
                  <a:close/>
                  <a:moveTo>
                    <a:pt x="20" y="104"/>
                  </a:moveTo>
                  <a:cubicBezTo>
                    <a:pt x="132" y="104"/>
                    <a:pt x="132" y="104"/>
                    <a:pt x="132" y="104"/>
                  </a:cubicBezTo>
                  <a:cubicBezTo>
                    <a:pt x="132" y="116"/>
                    <a:pt x="132" y="116"/>
                    <a:pt x="132" y="116"/>
                  </a:cubicBezTo>
                  <a:cubicBezTo>
                    <a:pt x="33" y="116"/>
                    <a:pt x="33" y="116"/>
                    <a:pt x="33" y="116"/>
                  </a:cubicBezTo>
                  <a:cubicBezTo>
                    <a:pt x="33" y="182"/>
                    <a:pt x="33" y="182"/>
                    <a:pt x="33" y="182"/>
                  </a:cubicBezTo>
                  <a:cubicBezTo>
                    <a:pt x="33" y="187"/>
                    <a:pt x="35" y="191"/>
                    <a:pt x="38" y="194"/>
                  </a:cubicBezTo>
                  <a:cubicBezTo>
                    <a:pt x="41" y="197"/>
                    <a:pt x="45" y="199"/>
                    <a:pt x="50" y="199"/>
                  </a:cubicBezTo>
                  <a:cubicBezTo>
                    <a:pt x="132" y="199"/>
                    <a:pt x="132" y="199"/>
                    <a:pt x="132" y="199"/>
                  </a:cubicBezTo>
                  <a:cubicBezTo>
                    <a:pt x="132" y="211"/>
                    <a:pt x="132" y="211"/>
                    <a:pt x="132" y="211"/>
                  </a:cubicBezTo>
                  <a:cubicBezTo>
                    <a:pt x="50" y="211"/>
                    <a:pt x="50" y="211"/>
                    <a:pt x="50" y="211"/>
                  </a:cubicBezTo>
                  <a:cubicBezTo>
                    <a:pt x="42" y="211"/>
                    <a:pt x="35" y="209"/>
                    <a:pt x="29" y="203"/>
                  </a:cubicBezTo>
                  <a:cubicBezTo>
                    <a:pt x="23" y="197"/>
                    <a:pt x="20" y="190"/>
                    <a:pt x="20" y="182"/>
                  </a:cubicBezTo>
                  <a:lnTo>
                    <a:pt x="20" y="104"/>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8" name="TextBox 21">
            <a:extLst>
              <a:ext uri="{FF2B5EF4-FFF2-40B4-BE49-F238E27FC236}">
                <a16:creationId xmlns:a16="http://schemas.microsoft.com/office/drawing/2014/main" id="{E80573CB-47C8-7E6B-6718-69835A29F011}"/>
              </a:ext>
            </a:extLst>
          </p:cNvPr>
          <p:cNvSpPr txBox="1">
            <a:spLocks noChangeArrowheads="1"/>
          </p:cNvSpPr>
          <p:nvPr/>
        </p:nvSpPr>
        <p:spPr bwMode="auto">
          <a:xfrm>
            <a:off x="11345863" y="6402388"/>
            <a:ext cx="354012" cy="261937"/>
          </a:xfrm>
          <a:prstGeom prst="rect">
            <a:avLst/>
          </a:prstGeom>
          <a:noFill/>
          <a:ln>
            <a:noFill/>
          </a:ln>
        </p:spPr>
        <p:txBody>
          <a:bodyPr wrap="none">
            <a:spAutoFit/>
          </a:bodyPr>
          <a:lstStyle>
            <a:lvl1pPr>
              <a:defRPr>
                <a:solidFill>
                  <a:schemeClr val="tx1"/>
                </a:solidFill>
                <a:latin typeface="Lato Light" panose="020F0502020204030203" pitchFamily="34" charset="0"/>
              </a:defRPr>
            </a:lvl1pPr>
            <a:lvl2pPr marL="742950" indent="-285750">
              <a:defRPr>
                <a:solidFill>
                  <a:schemeClr val="tx1"/>
                </a:solidFill>
                <a:latin typeface="Lato Light" panose="020F0502020204030203" pitchFamily="34" charset="0"/>
              </a:defRPr>
            </a:lvl2pPr>
            <a:lvl3pPr marL="1143000" indent="-228600">
              <a:defRPr>
                <a:solidFill>
                  <a:schemeClr val="tx1"/>
                </a:solidFill>
                <a:latin typeface="Lato Light" panose="020F0502020204030203" pitchFamily="34" charset="0"/>
              </a:defRPr>
            </a:lvl3pPr>
            <a:lvl4pPr marL="1600200" indent="-228600">
              <a:defRPr>
                <a:solidFill>
                  <a:schemeClr val="tx1"/>
                </a:solidFill>
                <a:latin typeface="Lato Light" panose="020F0502020204030203" pitchFamily="34" charset="0"/>
              </a:defRPr>
            </a:lvl4pPr>
            <a:lvl5pPr marL="2057400" indent="-228600">
              <a:defRPr>
                <a:solidFill>
                  <a:schemeClr val="tx1"/>
                </a:solidFill>
                <a:latin typeface="Lato Light" panose="020F0502020204030203" pitchFamily="34" charset="0"/>
              </a:defRPr>
            </a:lvl5pPr>
            <a:lvl6pPr marL="2514600" indent="-228600" eaLnBrk="0" fontAlgn="base" hangingPunct="0">
              <a:spcBef>
                <a:spcPct val="0"/>
              </a:spcBef>
              <a:spcAft>
                <a:spcPct val="0"/>
              </a:spcAft>
              <a:defRPr>
                <a:solidFill>
                  <a:schemeClr val="tx1"/>
                </a:solidFill>
                <a:latin typeface="Lato Light" panose="020F0502020204030203" pitchFamily="34" charset="0"/>
              </a:defRPr>
            </a:lvl6pPr>
            <a:lvl7pPr marL="2971800" indent="-228600" eaLnBrk="0" fontAlgn="base" hangingPunct="0">
              <a:spcBef>
                <a:spcPct val="0"/>
              </a:spcBef>
              <a:spcAft>
                <a:spcPct val="0"/>
              </a:spcAft>
              <a:defRPr>
                <a:solidFill>
                  <a:schemeClr val="tx1"/>
                </a:solidFill>
                <a:latin typeface="Lato Light" panose="020F0502020204030203" pitchFamily="34" charset="0"/>
              </a:defRPr>
            </a:lvl7pPr>
            <a:lvl8pPr marL="3429000" indent="-228600" eaLnBrk="0" fontAlgn="base" hangingPunct="0">
              <a:spcBef>
                <a:spcPct val="0"/>
              </a:spcBef>
              <a:spcAft>
                <a:spcPct val="0"/>
              </a:spcAft>
              <a:defRPr>
                <a:solidFill>
                  <a:schemeClr val="tx1"/>
                </a:solidFill>
                <a:latin typeface="Lato Light" panose="020F0502020204030203" pitchFamily="34" charset="0"/>
              </a:defRPr>
            </a:lvl8pPr>
            <a:lvl9pPr marL="3886200" indent="-228600" eaLnBrk="0" fontAlgn="base" hangingPunct="0">
              <a:spcBef>
                <a:spcPct val="0"/>
              </a:spcBef>
              <a:spcAft>
                <a:spcPct val="0"/>
              </a:spcAft>
              <a:defRPr>
                <a:solidFill>
                  <a:schemeClr val="tx1"/>
                </a:solidFill>
                <a:latin typeface="Lato Light" panose="020F0502020204030203" pitchFamily="34" charset="0"/>
              </a:defRPr>
            </a:lvl9pPr>
          </a:lstStyle>
          <a:p>
            <a:pPr algn="ctr" eaLnBrk="1" hangingPunct="1">
              <a:defRPr/>
            </a:pPr>
            <a:fld id="{A03A1A34-7735-4E0F-86E2-F8ABE358F349}" type="slidenum">
              <a:rPr lang="en-US" altLang="tr-TR" sz="1100" smtClean="0">
                <a:solidFill>
                  <a:schemeClr val="tx2"/>
                </a:solidFill>
              </a:rPr>
              <a:pPr algn="ctr" eaLnBrk="1" hangingPunct="1">
                <a:defRPr/>
              </a:pPr>
              <a:t>‹#›</a:t>
            </a:fld>
            <a:endParaRPr lang="en-US" altLang="tr-TR" sz="1100">
              <a:solidFill>
                <a:schemeClr val="tx2"/>
              </a:solidFill>
            </a:endParaRPr>
          </a:p>
        </p:txBody>
      </p:sp>
      <p:sp>
        <p:nvSpPr>
          <p:cNvPr id="24" name="Picture Placeholder 3"/>
          <p:cNvSpPr>
            <a:spLocks noGrp="1"/>
          </p:cNvSpPr>
          <p:nvPr>
            <p:ph type="pic" sz="quarter" idx="18"/>
          </p:nvPr>
        </p:nvSpPr>
        <p:spPr>
          <a:xfrm>
            <a:off x="1186927" y="1680881"/>
            <a:ext cx="5257031" cy="4452010"/>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Tree>
    <p:extLst>
      <p:ext uri="{BB962C8B-B14F-4D97-AF65-F5344CB8AC3E}">
        <p14:creationId xmlns:p14="http://schemas.microsoft.com/office/powerpoint/2010/main" val="9075537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Özel Düzen">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0D29863E-0D6C-DA92-8B7B-CBABA420FFF0}"/>
              </a:ext>
            </a:extLst>
          </p:cNvPr>
          <p:cNvSpPr/>
          <p:nvPr/>
        </p:nvSpPr>
        <p:spPr>
          <a:xfrm>
            <a:off x="11350625" y="6361113"/>
            <a:ext cx="344488" cy="344487"/>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2"/>
              </a:solidFill>
            </a:endParaRPr>
          </a:p>
        </p:txBody>
      </p:sp>
      <p:grpSp>
        <p:nvGrpSpPr>
          <p:cNvPr id="3" name="Group 4">
            <a:extLst>
              <a:ext uri="{FF2B5EF4-FFF2-40B4-BE49-F238E27FC236}">
                <a16:creationId xmlns:a16="http://schemas.microsoft.com/office/drawing/2014/main" id="{4E77F61B-2C70-2563-3E41-171697C64800}"/>
              </a:ext>
            </a:extLst>
          </p:cNvPr>
          <p:cNvGrpSpPr>
            <a:grpSpLocks noChangeAspect="1"/>
          </p:cNvGrpSpPr>
          <p:nvPr/>
        </p:nvGrpSpPr>
        <p:grpSpPr bwMode="auto">
          <a:xfrm>
            <a:off x="527050" y="6389688"/>
            <a:ext cx="1039813" cy="284162"/>
            <a:chOff x="297" y="1187"/>
            <a:chExt cx="7085" cy="1944"/>
          </a:xfrm>
        </p:grpSpPr>
        <p:sp>
          <p:nvSpPr>
            <p:cNvPr id="4" name="Freeform 38">
              <a:extLst>
                <a:ext uri="{FF2B5EF4-FFF2-40B4-BE49-F238E27FC236}">
                  <a16:creationId xmlns:a16="http://schemas.microsoft.com/office/drawing/2014/main" id="{60524C83-A5D2-95F2-3F4C-686EF179D1E8}"/>
                </a:ext>
              </a:extLst>
            </p:cNvPr>
            <p:cNvSpPr>
              <a:spLocks noEditPoints="1"/>
            </p:cNvSpPr>
            <p:nvPr userDrawn="1"/>
          </p:nvSpPr>
          <p:spPr bwMode="auto">
            <a:xfrm>
              <a:off x="297" y="1189"/>
              <a:ext cx="1266" cy="1105"/>
            </a:xfrm>
            <a:custGeom>
              <a:avLst/>
              <a:gdLst>
                <a:gd name="T0" fmla="*/ 592814223 w 535"/>
                <a:gd name="T1" fmla="*/ 490470457 h 466"/>
                <a:gd name="T2" fmla="*/ 475447313 w 535"/>
                <a:gd name="T3" fmla="*/ 198813566 h 466"/>
                <a:gd name="T4" fmla="*/ 254086917 w 535"/>
                <a:gd name="T5" fmla="*/ 767261907 h 466"/>
                <a:gd name="T6" fmla="*/ 205935911 w 535"/>
                <a:gd name="T7" fmla="*/ 898255873 h 466"/>
                <a:gd name="T8" fmla="*/ 135177273 w 535"/>
                <a:gd name="T9" fmla="*/ 1082812292 h 466"/>
                <a:gd name="T10" fmla="*/ 135177273 w 535"/>
                <a:gd name="T11" fmla="*/ 1079972834 h 466"/>
                <a:gd name="T12" fmla="*/ 102568007 w 535"/>
                <a:gd name="T13" fmla="*/ 1104057219 h 466"/>
                <a:gd name="T14" fmla="*/ 25381052 w 535"/>
                <a:gd name="T15" fmla="*/ 1104057219 h 466"/>
                <a:gd name="T16" fmla="*/ 0 w 535"/>
                <a:gd name="T17" fmla="*/ 1087116478 h 466"/>
                <a:gd name="T18" fmla="*/ 2031267 w 535"/>
                <a:gd name="T19" fmla="*/ 1078264271 h 466"/>
                <a:gd name="T20" fmla="*/ 4806699 w 535"/>
                <a:gd name="T21" fmla="*/ 1068152912 h 466"/>
                <a:gd name="T22" fmla="*/ 423281075 w 535"/>
                <a:gd name="T23" fmla="*/ 19018883 h 466"/>
                <a:gd name="T24" fmla="*/ 425157884 w 535"/>
                <a:gd name="T25" fmla="*/ 16871626 h 466"/>
                <a:gd name="T26" fmla="*/ 423281075 w 535"/>
                <a:gd name="T27" fmla="*/ 19018883 h 466"/>
                <a:gd name="T28" fmla="*/ 430186005 w 535"/>
                <a:gd name="T29" fmla="*/ 7115093 h 466"/>
                <a:gd name="T30" fmla="*/ 453467932 w 535"/>
                <a:gd name="T31" fmla="*/ 0 h 466"/>
                <a:gd name="T32" fmla="*/ 500809590 w 535"/>
                <a:gd name="T33" fmla="*/ 0 h 466"/>
                <a:gd name="T34" fmla="*/ 522062318 w 535"/>
                <a:gd name="T35" fmla="*/ 7115093 h 466"/>
                <a:gd name="T36" fmla="*/ 528624526 w 535"/>
                <a:gd name="T37" fmla="*/ 19018883 h 466"/>
                <a:gd name="T38" fmla="*/ 530657417 w 535"/>
                <a:gd name="T39" fmla="*/ 19018883 h 466"/>
                <a:gd name="T40" fmla="*/ 532753721 w 535"/>
                <a:gd name="T41" fmla="*/ 23986629 h 466"/>
                <a:gd name="T42" fmla="*/ 530657417 w 535"/>
                <a:gd name="T43" fmla="*/ 21137875 h 466"/>
                <a:gd name="T44" fmla="*/ 656507488 w 535"/>
                <a:gd name="T45" fmla="*/ 336755356 h 466"/>
                <a:gd name="T46" fmla="*/ 592814223 w 535"/>
                <a:gd name="T47" fmla="*/ 490470457 h 466"/>
                <a:gd name="T48" fmla="*/ 1063415281 w 535"/>
                <a:gd name="T49" fmla="*/ 1007003229 h 466"/>
                <a:gd name="T50" fmla="*/ 1020096784 w 535"/>
                <a:gd name="T51" fmla="*/ 898255873 h 466"/>
                <a:gd name="T52" fmla="*/ 862287051 w 535"/>
                <a:gd name="T53" fmla="*/ 490470457 h 466"/>
                <a:gd name="T54" fmla="*/ 745075518 w 535"/>
                <a:gd name="T55" fmla="*/ 198813566 h 466"/>
                <a:gd name="T56" fmla="*/ 524093625 w 535"/>
                <a:gd name="T57" fmla="*/ 767261907 h 466"/>
                <a:gd name="T58" fmla="*/ 473909525 w 535"/>
                <a:gd name="T59" fmla="*/ 898255873 h 466"/>
                <a:gd name="T60" fmla="*/ 405184384 w 535"/>
                <a:gd name="T61" fmla="*/ 1082812292 h 466"/>
                <a:gd name="T62" fmla="*/ 405184384 w 535"/>
                <a:gd name="T63" fmla="*/ 1079972834 h 466"/>
                <a:gd name="T64" fmla="*/ 372851835 w 535"/>
                <a:gd name="T65" fmla="*/ 1104057219 h 466"/>
                <a:gd name="T66" fmla="*/ 295029932 w 535"/>
                <a:gd name="T67" fmla="*/ 1104057219 h 466"/>
                <a:gd name="T68" fmla="*/ 269628205 w 535"/>
                <a:gd name="T69" fmla="*/ 1087116478 h 466"/>
                <a:gd name="T70" fmla="*/ 272403609 w 535"/>
                <a:gd name="T71" fmla="*/ 1078264271 h 466"/>
                <a:gd name="T72" fmla="*/ 274527635 w 535"/>
                <a:gd name="T73" fmla="*/ 1068152912 h 466"/>
                <a:gd name="T74" fmla="*/ 693246507 w 535"/>
                <a:gd name="T75" fmla="*/ 19018883 h 466"/>
                <a:gd name="T76" fmla="*/ 694891188 w 535"/>
                <a:gd name="T77" fmla="*/ 16871626 h 466"/>
                <a:gd name="T78" fmla="*/ 693246507 w 535"/>
                <a:gd name="T79" fmla="*/ 19018883 h 466"/>
                <a:gd name="T80" fmla="*/ 699814170 w 535"/>
                <a:gd name="T81" fmla="*/ 7115093 h 466"/>
                <a:gd name="T82" fmla="*/ 722963600 w 535"/>
                <a:gd name="T83" fmla="*/ 0 h 466"/>
                <a:gd name="T84" fmla="*/ 770453496 w 535"/>
                <a:gd name="T85" fmla="*/ 0 h 466"/>
                <a:gd name="T86" fmla="*/ 791690909 w 535"/>
                <a:gd name="T87" fmla="*/ 7115093 h 466"/>
                <a:gd name="T88" fmla="*/ 798593889 w 535"/>
                <a:gd name="T89" fmla="*/ 19018883 h 466"/>
                <a:gd name="T90" fmla="*/ 800282813 w 535"/>
                <a:gd name="T91" fmla="*/ 19018883 h 466"/>
                <a:gd name="T92" fmla="*/ 800282813 w 535"/>
                <a:gd name="T93" fmla="*/ 23986629 h 466"/>
                <a:gd name="T94" fmla="*/ 800282813 w 535"/>
                <a:gd name="T95" fmla="*/ 21137875 h 466"/>
                <a:gd name="T96" fmla="*/ 1221874959 w 535"/>
                <a:gd name="T97" fmla="*/ 1068152912 h 466"/>
                <a:gd name="T98" fmla="*/ 1223907795 w 535"/>
                <a:gd name="T99" fmla="*/ 1073239556 h 466"/>
                <a:gd name="T100" fmla="*/ 1223907795 w 535"/>
                <a:gd name="T101" fmla="*/ 1087116478 h 466"/>
                <a:gd name="T102" fmla="*/ 1198604492 w 535"/>
                <a:gd name="T103" fmla="*/ 1104057219 h 466"/>
                <a:gd name="T104" fmla="*/ 1123315401 w 535"/>
                <a:gd name="T105" fmla="*/ 1104057219 h 466"/>
                <a:gd name="T106" fmla="*/ 1091504023 w 535"/>
                <a:gd name="T107" fmla="*/ 1082812292 h 466"/>
                <a:gd name="T108" fmla="*/ 1063415281 w 535"/>
                <a:gd name="T109" fmla="*/ 1007003229 h 4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35" h="466">
                  <a:moveTo>
                    <a:pt x="259" y="207"/>
                  </a:moveTo>
                  <a:cubicBezTo>
                    <a:pt x="208" y="84"/>
                    <a:pt x="208" y="84"/>
                    <a:pt x="208" y="84"/>
                  </a:cubicBezTo>
                  <a:cubicBezTo>
                    <a:pt x="111" y="324"/>
                    <a:pt x="111" y="324"/>
                    <a:pt x="111" y="324"/>
                  </a:cubicBezTo>
                  <a:cubicBezTo>
                    <a:pt x="90" y="379"/>
                    <a:pt x="90" y="379"/>
                    <a:pt x="90" y="379"/>
                  </a:cubicBezTo>
                  <a:cubicBezTo>
                    <a:pt x="59" y="457"/>
                    <a:pt x="59" y="457"/>
                    <a:pt x="59" y="457"/>
                  </a:cubicBezTo>
                  <a:cubicBezTo>
                    <a:pt x="59" y="456"/>
                    <a:pt x="59" y="456"/>
                    <a:pt x="59" y="456"/>
                  </a:cubicBezTo>
                  <a:cubicBezTo>
                    <a:pt x="56" y="462"/>
                    <a:pt x="51" y="466"/>
                    <a:pt x="45" y="466"/>
                  </a:cubicBezTo>
                  <a:cubicBezTo>
                    <a:pt x="11" y="466"/>
                    <a:pt x="11" y="466"/>
                    <a:pt x="11" y="466"/>
                  </a:cubicBezTo>
                  <a:cubicBezTo>
                    <a:pt x="4" y="466"/>
                    <a:pt x="0" y="464"/>
                    <a:pt x="0" y="459"/>
                  </a:cubicBezTo>
                  <a:cubicBezTo>
                    <a:pt x="0" y="458"/>
                    <a:pt x="0" y="457"/>
                    <a:pt x="1" y="455"/>
                  </a:cubicBezTo>
                  <a:cubicBezTo>
                    <a:pt x="2" y="451"/>
                    <a:pt x="2" y="451"/>
                    <a:pt x="2" y="451"/>
                  </a:cubicBezTo>
                  <a:cubicBezTo>
                    <a:pt x="185" y="8"/>
                    <a:pt x="185" y="8"/>
                    <a:pt x="185" y="8"/>
                  </a:cubicBezTo>
                  <a:cubicBezTo>
                    <a:pt x="185" y="8"/>
                    <a:pt x="185" y="7"/>
                    <a:pt x="186" y="7"/>
                  </a:cubicBezTo>
                  <a:cubicBezTo>
                    <a:pt x="185" y="8"/>
                    <a:pt x="185" y="8"/>
                    <a:pt x="185" y="8"/>
                  </a:cubicBezTo>
                  <a:cubicBezTo>
                    <a:pt x="188" y="3"/>
                    <a:pt x="188" y="3"/>
                    <a:pt x="188" y="3"/>
                  </a:cubicBezTo>
                  <a:cubicBezTo>
                    <a:pt x="190" y="1"/>
                    <a:pt x="193" y="0"/>
                    <a:pt x="198" y="0"/>
                  </a:cubicBezTo>
                  <a:cubicBezTo>
                    <a:pt x="219" y="0"/>
                    <a:pt x="219" y="0"/>
                    <a:pt x="219" y="0"/>
                  </a:cubicBezTo>
                  <a:cubicBezTo>
                    <a:pt x="224" y="0"/>
                    <a:pt x="227" y="1"/>
                    <a:pt x="228" y="3"/>
                  </a:cubicBezTo>
                  <a:cubicBezTo>
                    <a:pt x="231" y="8"/>
                    <a:pt x="231" y="8"/>
                    <a:pt x="231" y="8"/>
                  </a:cubicBezTo>
                  <a:cubicBezTo>
                    <a:pt x="231" y="8"/>
                    <a:pt x="231" y="8"/>
                    <a:pt x="232" y="8"/>
                  </a:cubicBezTo>
                  <a:cubicBezTo>
                    <a:pt x="233" y="10"/>
                    <a:pt x="233" y="10"/>
                    <a:pt x="233" y="10"/>
                  </a:cubicBezTo>
                  <a:cubicBezTo>
                    <a:pt x="232" y="9"/>
                    <a:pt x="232" y="9"/>
                    <a:pt x="232" y="9"/>
                  </a:cubicBezTo>
                  <a:cubicBezTo>
                    <a:pt x="287" y="142"/>
                    <a:pt x="287" y="142"/>
                    <a:pt x="287" y="142"/>
                  </a:cubicBezTo>
                  <a:lnTo>
                    <a:pt x="259" y="207"/>
                  </a:lnTo>
                  <a:close/>
                  <a:moveTo>
                    <a:pt x="465" y="425"/>
                  </a:moveTo>
                  <a:cubicBezTo>
                    <a:pt x="446" y="379"/>
                    <a:pt x="446" y="379"/>
                    <a:pt x="446" y="379"/>
                  </a:cubicBezTo>
                  <a:cubicBezTo>
                    <a:pt x="377" y="207"/>
                    <a:pt x="377" y="207"/>
                    <a:pt x="377" y="207"/>
                  </a:cubicBezTo>
                  <a:cubicBezTo>
                    <a:pt x="326" y="84"/>
                    <a:pt x="326" y="84"/>
                    <a:pt x="326" y="84"/>
                  </a:cubicBezTo>
                  <a:cubicBezTo>
                    <a:pt x="229" y="324"/>
                    <a:pt x="229" y="324"/>
                    <a:pt x="229" y="324"/>
                  </a:cubicBezTo>
                  <a:cubicBezTo>
                    <a:pt x="207" y="379"/>
                    <a:pt x="207" y="379"/>
                    <a:pt x="207" y="379"/>
                  </a:cubicBezTo>
                  <a:cubicBezTo>
                    <a:pt x="177" y="457"/>
                    <a:pt x="177" y="457"/>
                    <a:pt x="177" y="457"/>
                  </a:cubicBezTo>
                  <a:cubicBezTo>
                    <a:pt x="177" y="456"/>
                    <a:pt x="177" y="456"/>
                    <a:pt x="177" y="456"/>
                  </a:cubicBezTo>
                  <a:cubicBezTo>
                    <a:pt x="174" y="462"/>
                    <a:pt x="169" y="466"/>
                    <a:pt x="163" y="466"/>
                  </a:cubicBezTo>
                  <a:cubicBezTo>
                    <a:pt x="129" y="466"/>
                    <a:pt x="129" y="466"/>
                    <a:pt x="129" y="466"/>
                  </a:cubicBezTo>
                  <a:cubicBezTo>
                    <a:pt x="122" y="466"/>
                    <a:pt x="118" y="464"/>
                    <a:pt x="118" y="459"/>
                  </a:cubicBezTo>
                  <a:cubicBezTo>
                    <a:pt x="118" y="458"/>
                    <a:pt x="118" y="457"/>
                    <a:pt x="119" y="455"/>
                  </a:cubicBezTo>
                  <a:cubicBezTo>
                    <a:pt x="120" y="451"/>
                    <a:pt x="120" y="451"/>
                    <a:pt x="120" y="451"/>
                  </a:cubicBezTo>
                  <a:cubicBezTo>
                    <a:pt x="303" y="8"/>
                    <a:pt x="303" y="8"/>
                    <a:pt x="303" y="8"/>
                  </a:cubicBezTo>
                  <a:cubicBezTo>
                    <a:pt x="303" y="8"/>
                    <a:pt x="303" y="7"/>
                    <a:pt x="304" y="7"/>
                  </a:cubicBezTo>
                  <a:cubicBezTo>
                    <a:pt x="303" y="8"/>
                    <a:pt x="303" y="8"/>
                    <a:pt x="303" y="8"/>
                  </a:cubicBezTo>
                  <a:cubicBezTo>
                    <a:pt x="306" y="3"/>
                    <a:pt x="306" y="3"/>
                    <a:pt x="306" y="3"/>
                  </a:cubicBezTo>
                  <a:cubicBezTo>
                    <a:pt x="308" y="1"/>
                    <a:pt x="311" y="0"/>
                    <a:pt x="316" y="0"/>
                  </a:cubicBezTo>
                  <a:cubicBezTo>
                    <a:pt x="337" y="0"/>
                    <a:pt x="337" y="0"/>
                    <a:pt x="337" y="0"/>
                  </a:cubicBezTo>
                  <a:cubicBezTo>
                    <a:pt x="342" y="0"/>
                    <a:pt x="344" y="1"/>
                    <a:pt x="346" y="3"/>
                  </a:cubicBezTo>
                  <a:cubicBezTo>
                    <a:pt x="349" y="8"/>
                    <a:pt x="349" y="8"/>
                    <a:pt x="349" y="8"/>
                  </a:cubicBezTo>
                  <a:cubicBezTo>
                    <a:pt x="349" y="8"/>
                    <a:pt x="349" y="8"/>
                    <a:pt x="350" y="8"/>
                  </a:cubicBezTo>
                  <a:cubicBezTo>
                    <a:pt x="350" y="10"/>
                    <a:pt x="350" y="10"/>
                    <a:pt x="350" y="10"/>
                  </a:cubicBezTo>
                  <a:cubicBezTo>
                    <a:pt x="350" y="9"/>
                    <a:pt x="350" y="9"/>
                    <a:pt x="350" y="9"/>
                  </a:cubicBezTo>
                  <a:cubicBezTo>
                    <a:pt x="534" y="451"/>
                    <a:pt x="534" y="451"/>
                    <a:pt x="534" y="451"/>
                  </a:cubicBezTo>
                  <a:cubicBezTo>
                    <a:pt x="535" y="453"/>
                    <a:pt x="535" y="453"/>
                    <a:pt x="535" y="453"/>
                  </a:cubicBezTo>
                  <a:cubicBezTo>
                    <a:pt x="535" y="455"/>
                    <a:pt x="535" y="457"/>
                    <a:pt x="535" y="459"/>
                  </a:cubicBezTo>
                  <a:cubicBezTo>
                    <a:pt x="535" y="464"/>
                    <a:pt x="532" y="466"/>
                    <a:pt x="524" y="466"/>
                  </a:cubicBezTo>
                  <a:cubicBezTo>
                    <a:pt x="491" y="466"/>
                    <a:pt x="491" y="466"/>
                    <a:pt x="491" y="466"/>
                  </a:cubicBezTo>
                  <a:cubicBezTo>
                    <a:pt x="479" y="466"/>
                    <a:pt x="477" y="456"/>
                    <a:pt x="477" y="457"/>
                  </a:cubicBezTo>
                  <a:lnTo>
                    <a:pt x="465" y="425"/>
                  </a:lnTo>
                  <a:close/>
                </a:path>
              </a:pathLst>
            </a:custGeom>
            <a:solidFill>
              <a:srgbClr val="2580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 name="Freeform 6">
              <a:extLst>
                <a:ext uri="{FF2B5EF4-FFF2-40B4-BE49-F238E27FC236}">
                  <a16:creationId xmlns:a16="http://schemas.microsoft.com/office/drawing/2014/main" id="{7EB84D9E-8D25-8504-2704-F83F1F2784BB}"/>
                </a:ext>
              </a:extLst>
            </p:cNvPr>
            <p:cNvSpPr>
              <a:spLocks noEditPoints="1"/>
            </p:cNvSpPr>
            <p:nvPr userDrawn="1"/>
          </p:nvSpPr>
          <p:spPr bwMode="auto">
            <a:xfrm>
              <a:off x="1456" y="1189"/>
              <a:ext cx="986" cy="1105"/>
            </a:xfrm>
            <a:custGeom>
              <a:avLst/>
              <a:gdLst>
                <a:gd name="T0" fmla="*/ 26658435 w 417"/>
                <a:gd name="T1" fmla="*/ 1104057219 h 466"/>
                <a:gd name="T2" fmla="*/ 0 w 417"/>
                <a:gd name="T3" fmla="*/ 1084997487 h 466"/>
                <a:gd name="T4" fmla="*/ 0 w 417"/>
                <a:gd name="T5" fmla="*/ 1071148297 h 466"/>
                <a:gd name="T6" fmla="*/ 2016564 w 417"/>
                <a:gd name="T7" fmla="*/ 1065967725 h 466"/>
                <a:gd name="T8" fmla="*/ 440005146 w 417"/>
                <a:gd name="T9" fmla="*/ 19018883 h 466"/>
                <a:gd name="T10" fmla="*/ 469546985 w 417"/>
                <a:gd name="T11" fmla="*/ 0 h 466"/>
                <a:gd name="T12" fmla="*/ 474377529 w 417"/>
                <a:gd name="T13" fmla="*/ 0 h 466"/>
                <a:gd name="T14" fmla="*/ 505945896 w 417"/>
                <a:gd name="T15" fmla="*/ 21137875 h 466"/>
                <a:gd name="T16" fmla="*/ 612172944 w 417"/>
                <a:gd name="T17" fmla="*/ 284828039 h 466"/>
                <a:gd name="T18" fmla="*/ 830540312 w 417"/>
                <a:gd name="T19" fmla="*/ 805128453 h 466"/>
                <a:gd name="T20" fmla="*/ 936767478 w 417"/>
                <a:gd name="T21" fmla="*/ 1065967725 h 466"/>
                <a:gd name="T22" fmla="*/ 936767478 w 417"/>
                <a:gd name="T23" fmla="*/ 1065967725 h 466"/>
                <a:gd name="T24" fmla="*/ 941198430 w 417"/>
                <a:gd name="T25" fmla="*/ 1084997487 h 466"/>
                <a:gd name="T26" fmla="*/ 914535082 w 417"/>
                <a:gd name="T27" fmla="*/ 1104057219 h 466"/>
                <a:gd name="T28" fmla="*/ 26658435 w 417"/>
                <a:gd name="T29" fmla="*/ 1104057219 h 466"/>
                <a:gd name="T30" fmla="*/ 173692259 w 417"/>
                <a:gd name="T31" fmla="*/ 974102843 h 466"/>
                <a:gd name="T32" fmla="*/ 332252753 w 417"/>
                <a:gd name="T33" fmla="*/ 974102843 h 466"/>
                <a:gd name="T34" fmla="*/ 767506131 w 417"/>
                <a:gd name="T35" fmla="*/ 974102843 h 466"/>
                <a:gd name="T36" fmla="*/ 471651445 w 417"/>
                <a:gd name="T37" fmla="*/ 238808028 h 466"/>
                <a:gd name="T38" fmla="*/ 173692259 w 417"/>
                <a:gd name="T39" fmla="*/ 974102843 h 4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17" h="466">
                  <a:moveTo>
                    <a:pt x="12" y="466"/>
                  </a:moveTo>
                  <a:cubicBezTo>
                    <a:pt x="4" y="466"/>
                    <a:pt x="0" y="463"/>
                    <a:pt x="0" y="458"/>
                  </a:cubicBezTo>
                  <a:cubicBezTo>
                    <a:pt x="0" y="455"/>
                    <a:pt x="0" y="453"/>
                    <a:pt x="0" y="452"/>
                  </a:cubicBezTo>
                  <a:cubicBezTo>
                    <a:pt x="1" y="450"/>
                    <a:pt x="1" y="450"/>
                    <a:pt x="1" y="450"/>
                  </a:cubicBezTo>
                  <a:cubicBezTo>
                    <a:pt x="195" y="8"/>
                    <a:pt x="195" y="8"/>
                    <a:pt x="195" y="8"/>
                  </a:cubicBezTo>
                  <a:cubicBezTo>
                    <a:pt x="196" y="5"/>
                    <a:pt x="197" y="0"/>
                    <a:pt x="208" y="0"/>
                  </a:cubicBezTo>
                  <a:cubicBezTo>
                    <a:pt x="210" y="0"/>
                    <a:pt x="210" y="0"/>
                    <a:pt x="210" y="0"/>
                  </a:cubicBezTo>
                  <a:cubicBezTo>
                    <a:pt x="222" y="0"/>
                    <a:pt x="222" y="7"/>
                    <a:pt x="224" y="9"/>
                  </a:cubicBezTo>
                  <a:cubicBezTo>
                    <a:pt x="239" y="46"/>
                    <a:pt x="255" y="83"/>
                    <a:pt x="271" y="120"/>
                  </a:cubicBezTo>
                  <a:cubicBezTo>
                    <a:pt x="368" y="340"/>
                    <a:pt x="368" y="340"/>
                    <a:pt x="368" y="340"/>
                  </a:cubicBezTo>
                  <a:cubicBezTo>
                    <a:pt x="384" y="377"/>
                    <a:pt x="400" y="414"/>
                    <a:pt x="415" y="450"/>
                  </a:cubicBezTo>
                  <a:cubicBezTo>
                    <a:pt x="415" y="450"/>
                    <a:pt x="415" y="450"/>
                    <a:pt x="415" y="450"/>
                  </a:cubicBezTo>
                  <a:cubicBezTo>
                    <a:pt x="417" y="458"/>
                    <a:pt x="417" y="458"/>
                    <a:pt x="417" y="458"/>
                  </a:cubicBezTo>
                  <a:cubicBezTo>
                    <a:pt x="417" y="463"/>
                    <a:pt x="413" y="466"/>
                    <a:pt x="405" y="466"/>
                  </a:cubicBezTo>
                  <a:lnTo>
                    <a:pt x="12" y="466"/>
                  </a:lnTo>
                  <a:close/>
                  <a:moveTo>
                    <a:pt x="77" y="411"/>
                  </a:moveTo>
                  <a:cubicBezTo>
                    <a:pt x="147" y="411"/>
                    <a:pt x="147" y="411"/>
                    <a:pt x="147" y="411"/>
                  </a:cubicBezTo>
                  <a:cubicBezTo>
                    <a:pt x="340" y="411"/>
                    <a:pt x="340" y="411"/>
                    <a:pt x="340" y="411"/>
                  </a:cubicBezTo>
                  <a:cubicBezTo>
                    <a:pt x="209" y="101"/>
                    <a:pt x="209" y="101"/>
                    <a:pt x="209" y="101"/>
                  </a:cubicBezTo>
                  <a:lnTo>
                    <a:pt x="77" y="411"/>
                  </a:lnTo>
                  <a:close/>
                </a:path>
              </a:pathLst>
            </a:custGeom>
            <a:solidFill>
              <a:srgbClr val="1993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 name="Freeform 7">
              <a:extLst>
                <a:ext uri="{FF2B5EF4-FFF2-40B4-BE49-F238E27FC236}">
                  <a16:creationId xmlns:a16="http://schemas.microsoft.com/office/drawing/2014/main" id="{E2B57C5A-F95D-F37B-75B5-97EA95E18884}"/>
                </a:ext>
              </a:extLst>
            </p:cNvPr>
            <p:cNvSpPr>
              <a:spLocks noEditPoints="1"/>
            </p:cNvSpPr>
            <p:nvPr userDrawn="1"/>
          </p:nvSpPr>
          <p:spPr bwMode="auto">
            <a:xfrm>
              <a:off x="2501" y="1189"/>
              <a:ext cx="1594" cy="1942"/>
            </a:xfrm>
            <a:custGeom>
              <a:avLst/>
              <a:gdLst>
                <a:gd name="T0" fmla="*/ 1483443497 w 674"/>
                <a:gd name="T1" fmla="*/ 1714655374 h 819"/>
                <a:gd name="T2" fmla="*/ 1526729097 w 674"/>
                <a:gd name="T3" fmla="*/ 1761916426 h 819"/>
                <a:gd name="T4" fmla="*/ 1526729097 w 674"/>
                <a:gd name="T5" fmla="*/ 1892482889 h 819"/>
                <a:gd name="T6" fmla="*/ 1483443497 w 674"/>
                <a:gd name="T7" fmla="*/ 1939529634 h 819"/>
                <a:gd name="T8" fmla="*/ 45037621 w 674"/>
                <a:gd name="T9" fmla="*/ 1939529634 h 819"/>
                <a:gd name="T10" fmla="*/ 2021131 w 674"/>
                <a:gd name="T11" fmla="*/ 1892482889 h 819"/>
                <a:gd name="T12" fmla="*/ 2021131 w 674"/>
                <a:gd name="T13" fmla="*/ 1747816468 h 819"/>
                <a:gd name="T14" fmla="*/ 4779945 w 674"/>
                <a:gd name="T15" fmla="*/ 1718918526 h 819"/>
                <a:gd name="T16" fmla="*/ 1173181872 w 674"/>
                <a:gd name="T17" fmla="*/ 224874255 h 819"/>
                <a:gd name="T18" fmla="*/ 67999529 w 674"/>
                <a:gd name="T19" fmla="*/ 224874255 h 819"/>
                <a:gd name="T20" fmla="*/ 23082570 w 674"/>
                <a:gd name="T21" fmla="*/ 177827380 h 819"/>
                <a:gd name="T22" fmla="*/ 23082570 w 674"/>
                <a:gd name="T23" fmla="*/ 39995312 h 819"/>
                <a:gd name="T24" fmla="*/ 67999529 w 674"/>
                <a:gd name="T25" fmla="*/ 0 h 819"/>
                <a:gd name="T26" fmla="*/ 1415437178 w 674"/>
                <a:gd name="T27" fmla="*/ 0 h 819"/>
                <a:gd name="T28" fmla="*/ 1460854109 w 674"/>
                <a:gd name="T29" fmla="*/ 45085377 h 819"/>
                <a:gd name="T30" fmla="*/ 1460854109 w 674"/>
                <a:gd name="T31" fmla="*/ 191701471 h 819"/>
                <a:gd name="T32" fmla="*/ 1458729657 w 674"/>
                <a:gd name="T33" fmla="*/ 205471911 h 819"/>
                <a:gd name="T34" fmla="*/ 1451728403 w 674"/>
                <a:gd name="T35" fmla="*/ 224874255 h 819"/>
                <a:gd name="T36" fmla="*/ 1453837196 w 674"/>
                <a:gd name="T37" fmla="*/ 220773085 h 819"/>
                <a:gd name="T38" fmla="*/ 298805398 w 674"/>
                <a:gd name="T39" fmla="*/ 1714655374 h 819"/>
                <a:gd name="T40" fmla="*/ 892477599 w 674"/>
                <a:gd name="T41" fmla="*/ 1714655374 h 819"/>
                <a:gd name="T42" fmla="*/ 1483443497 w 674"/>
                <a:gd name="T43" fmla="*/ 1714655374 h 819"/>
                <a:gd name="T44" fmla="*/ 901071203 w 674"/>
                <a:gd name="T45" fmla="*/ 1338067130 h 819"/>
                <a:gd name="T46" fmla="*/ 1485464242 w 674"/>
                <a:gd name="T47" fmla="*/ 1338067130 h 819"/>
                <a:gd name="T48" fmla="*/ 1526729097 w 674"/>
                <a:gd name="T49" fmla="*/ 1380181100 h 819"/>
                <a:gd name="T50" fmla="*/ 1526729097 w 674"/>
                <a:gd name="T51" fmla="*/ 1518014804 h 819"/>
                <a:gd name="T52" fmla="*/ 1485464242 w 674"/>
                <a:gd name="T53" fmla="*/ 1565124966 h 819"/>
                <a:gd name="T54" fmla="*/ 899479284 w 674"/>
                <a:gd name="T55" fmla="*/ 1565124966 h 819"/>
                <a:gd name="T56" fmla="*/ 858051680 w 674"/>
                <a:gd name="T57" fmla="*/ 1525126678 h 819"/>
                <a:gd name="T58" fmla="*/ 858051680 w 674"/>
                <a:gd name="T59" fmla="*/ 1385323779 h 819"/>
                <a:gd name="T60" fmla="*/ 872788267 w 674"/>
                <a:gd name="T61" fmla="*/ 1354121744 h 819"/>
                <a:gd name="T62" fmla="*/ 901071203 w 674"/>
                <a:gd name="T63" fmla="*/ 1338067130 h 81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74" h="819">
                  <a:moveTo>
                    <a:pt x="655" y="724"/>
                  </a:moveTo>
                  <a:cubicBezTo>
                    <a:pt x="654" y="724"/>
                    <a:pt x="674" y="721"/>
                    <a:pt x="674" y="744"/>
                  </a:cubicBezTo>
                  <a:cubicBezTo>
                    <a:pt x="674" y="799"/>
                    <a:pt x="674" y="799"/>
                    <a:pt x="674" y="799"/>
                  </a:cubicBezTo>
                  <a:cubicBezTo>
                    <a:pt x="674" y="809"/>
                    <a:pt x="666" y="819"/>
                    <a:pt x="655" y="819"/>
                  </a:cubicBezTo>
                  <a:cubicBezTo>
                    <a:pt x="20" y="819"/>
                    <a:pt x="20" y="819"/>
                    <a:pt x="20" y="819"/>
                  </a:cubicBezTo>
                  <a:cubicBezTo>
                    <a:pt x="10" y="819"/>
                    <a:pt x="0" y="811"/>
                    <a:pt x="1" y="799"/>
                  </a:cubicBezTo>
                  <a:cubicBezTo>
                    <a:pt x="1" y="738"/>
                    <a:pt x="1" y="738"/>
                    <a:pt x="1" y="738"/>
                  </a:cubicBezTo>
                  <a:cubicBezTo>
                    <a:pt x="0" y="735"/>
                    <a:pt x="2" y="730"/>
                    <a:pt x="2" y="726"/>
                  </a:cubicBezTo>
                  <a:cubicBezTo>
                    <a:pt x="518" y="95"/>
                    <a:pt x="518" y="95"/>
                    <a:pt x="518" y="95"/>
                  </a:cubicBezTo>
                  <a:cubicBezTo>
                    <a:pt x="30" y="95"/>
                    <a:pt x="30" y="95"/>
                    <a:pt x="30" y="95"/>
                  </a:cubicBezTo>
                  <a:cubicBezTo>
                    <a:pt x="15" y="95"/>
                    <a:pt x="10" y="88"/>
                    <a:pt x="10" y="75"/>
                  </a:cubicBezTo>
                  <a:cubicBezTo>
                    <a:pt x="10" y="17"/>
                    <a:pt x="10" y="17"/>
                    <a:pt x="10" y="17"/>
                  </a:cubicBezTo>
                  <a:cubicBezTo>
                    <a:pt x="10" y="5"/>
                    <a:pt x="15" y="0"/>
                    <a:pt x="30" y="0"/>
                  </a:cubicBezTo>
                  <a:cubicBezTo>
                    <a:pt x="625" y="0"/>
                    <a:pt x="625" y="0"/>
                    <a:pt x="625" y="0"/>
                  </a:cubicBezTo>
                  <a:cubicBezTo>
                    <a:pt x="637" y="0"/>
                    <a:pt x="645" y="6"/>
                    <a:pt x="645" y="19"/>
                  </a:cubicBezTo>
                  <a:cubicBezTo>
                    <a:pt x="645" y="81"/>
                    <a:pt x="645" y="81"/>
                    <a:pt x="645" y="81"/>
                  </a:cubicBezTo>
                  <a:cubicBezTo>
                    <a:pt x="645" y="82"/>
                    <a:pt x="645" y="85"/>
                    <a:pt x="644" y="87"/>
                  </a:cubicBezTo>
                  <a:cubicBezTo>
                    <a:pt x="641" y="95"/>
                    <a:pt x="641" y="95"/>
                    <a:pt x="641" y="95"/>
                  </a:cubicBezTo>
                  <a:cubicBezTo>
                    <a:pt x="642" y="93"/>
                    <a:pt x="642" y="93"/>
                    <a:pt x="642" y="93"/>
                  </a:cubicBezTo>
                  <a:cubicBezTo>
                    <a:pt x="132" y="724"/>
                    <a:pt x="132" y="724"/>
                    <a:pt x="132" y="724"/>
                  </a:cubicBezTo>
                  <a:cubicBezTo>
                    <a:pt x="394" y="724"/>
                    <a:pt x="394" y="724"/>
                    <a:pt x="394" y="724"/>
                  </a:cubicBezTo>
                  <a:lnTo>
                    <a:pt x="655" y="724"/>
                  </a:lnTo>
                  <a:close/>
                  <a:moveTo>
                    <a:pt x="398" y="565"/>
                  </a:moveTo>
                  <a:cubicBezTo>
                    <a:pt x="656" y="565"/>
                    <a:pt x="656" y="565"/>
                    <a:pt x="656" y="565"/>
                  </a:cubicBezTo>
                  <a:cubicBezTo>
                    <a:pt x="666" y="565"/>
                    <a:pt x="674" y="573"/>
                    <a:pt x="674" y="583"/>
                  </a:cubicBezTo>
                  <a:cubicBezTo>
                    <a:pt x="674" y="641"/>
                    <a:pt x="674" y="641"/>
                    <a:pt x="674" y="641"/>
                  </a:cubicBezTo>
                  <a:cubicBezTo>
                    <a:pt x="674" y="652"/>
                    <a:pt x="666" y="661"/>
                    <a:pt x="656" y="661"/>
                  </a:cubicBezTo>
                  <a:cubicBezTo>
                    <a:pt x="397" y="661"/>
                    <a:pt x="397" y="661"/>
                    <a:pt x="397" y="661"/>
                  </a:cubicBezTo>
                  <a:cubicBezTo>
                    <a:pt x="386" y="661"/>
                    <a:pt x="379" y="654"/>
                    <a:pt x="379" y="644"/>
                  </a:cubicBezTo>
                  <a:cubicBezTo>
                    <a:pt x="379" y="585"/>
                    <a:pt x="379" y="585"/>
                    <a:pt x="379" y="585"/>
                  </a:cubicBezTo>
                  <a:cubicBezTo>
                    <a:pt x="380" y="580"/>
                    <a:pt x="382" y="576"/>
                    <a:pt x="385" y="572"/>
                  </a:cubicBezTo>
                  <a:cubicBezTo>
                    <a:pt x="385" y="572"/>
                    <a:pt x="386" y="565"/>
                    <a:pt x="398" y="565"/>
                  </a:cubicBezTo>
                  <a:close/>
                </a:path>
              </a:pathLst>
            </a:custGeom>
            <a:solidFill>
              <a:srgbClr val="9EBE5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 name="Freeform 8">
              <a:extLst>
                <a:ext uri="{FF2B5EF4-FFF2-40B4-BE49-F238E27FC236}">
                  <a16:creationId xmlns:a16="http://schemas.microsoft.com/office/drawing/2014/main" id="{5B5A846F-D3C0-77BC-7F5B-807736F02A16}"/>
                </a:ext>
              </a:extLst>
            </p:cNvPr>
            <p:cNvSpPr>
              <a:spLocks noEditPoints="1"/>
            </p:cNvSpPr>
            <p:nvPr userDrawn="1"/>
          </p:nvSpPr>
          <p:spPr bwMode="auto">
            <a:xfrm>
              <a:off x="4133" y="1189"/>
              <a:ext cx="986" cy="1105"/>
            </a:xfrm>
            <a:custGeom>
              <a:avLst/>
              <a:gdLst>
                <a:gd name="T0" fmla="*/ 26658435 w 417"/>
                <a:gd name="T1" fmla="*/ 1104057219 h 466"/>
                <a:gd name="T2" fmla="*/ 2016564 w 417"/>
                <a:gd name="T3" fmla="*/ 1084997487 h 466"/>
                <a:gd name="T4" fmla="*/ 2016564 w 417"/>
                <a:gd name="T5" fmla="*/ 1071148297 h 466"/>
                <a:gd name="T6" fmla="*/ 4768183 w 417"/>
                <a:gd name="T7" fmla="*/ 1065967725 h 466"/>
                <a:gd name="T8" fmla="*/ 440005146 w 417"/>
                <a:gd name="T9" fmla="*/ 19018883 h 466"/>
                <a:gd name="T10" fmla="*/ 471651445 w 417"/>
                <a:gd name="T11" fmla="*/ 0 h 466"/>
                <a:gd name="T12" fmla="*/ 476419656 w 417"/>
                <a:gd name="T13" fmla="*/ 0 h 466"/>
                <a:gd name="T14" fmla="*/ 505945896 w 417"/>
                <a:gd name="T15" fmla="*/ 21137875 h 466"/>
                <a:gd name="T16" fmla="*/ 612172944 w 417"/>
                <a:gd name="T17" fmla="*/ 284828039 h 466"/>
                <a:gd name="T18" fmla="*/ 833293680 w 417"/>
                <a:gd name="T19" fmla="*/ 805128453 h 466"/>
                <a:gd name="T20" fmla="*/ 939517011 w 417"/>
                <a:gd name="T21" fmla="*/ 1065967725 h 466"/>
                <a:gd name="T22" fmla="*/ 936767478 w 417"/>
                <a:gd name="T23" fmla="*/ 1065967725 h 466"/>
                <a:gd name="T24" fmla="*/ 941198430 w 417"/>
                <a:gd name="T25" fmla="*/ 1084997487 h 466"/>
                <a:gd name="T26" fmla="*/ 916425650 w 417"/>
                <a:gd name="T27" fmla="*/ 1104057219 h 466"/>
                <a:gd name="T28" fmla="*/ 26658435 w 417"/>
                <a:gd name="T29" fmla="*/ 1104057219 h 466"/>
                <a:gd name="T30" fmla="*/ 173692259 w 417"/>
                <a:gd name="T31" fmla="*/ 974102843 h 466"/>
                <a:gd name="T32" fmla="*/ 332252753 w 417"/>
                <a:gd name="T33" fmla="*/ 974102843 h 466"/>
                <a:gd name="T34" fmla="*/ 767506131 w 417"/>
                <a:gd name="T35" fmla="*/ 974102843 h 466"/>
                <a:gd name="T36" fmla="*/ 471651445 w 417"/>
                <a:gd name="T37" fmla="*/ 238808028 h 466"/>
                <a:gd name="T38" fmla="*/ 173692259 w 417"/>
                <a:gd name="T39" fmla="*/ 974102843 h 4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17" h="466">
                  <a:moveTo>
                    <a:pt x="12" y="466"/>
                  </a:moveTo>
                  <a:cubicBezTo>
                    <a:pt x="4" y="466"/>
                    <a:pt x="0" y="463"/>
                    <a:pt x="1" y="458"/>
                  </a:cubicBezTo>
                  <a:cubicBezTo>
                    <a:pt x="0" y="455"/>
                    <a:pt x="0" y="453"/>
                    <a:pt x="1" y="452"/>
                  </a:cubicBezTo>
                  <a:cubicBezTo>
                    <a:pt x="2" y="450"/>
                    <a:pt x="2" y="450"/>
                    <a:pt x="2" y="450"/>
                  </a:cubicBezTo>
                  <a:cubicBezTo>
                    <a:pt x="195" y="8"/>
                    <a:pt x="195" y="8"/>
                    <a:pt x="195" y="8"/>
                  </a:cubicBezTo>
                  <a:cubicBezTo>
                    <a:pt x="197" y="5"/>
                    <a:pt x="198" y="0"/>
                    <a:pt x="209" y="0"/>
                  </a:cubicBezTo>
                  <a:cubicBezTo>
                    <a:pt x="211" y="0"/>
                    <a:pt x="211" y="0"/>
                    <a:pt x="211" y="0"/>
                  </a:cubicBezTo>
                  <a:cubicBezTo>
                    <a:pt x="222" y="0"/>
                    <a:pt x="223" y="7"/>
                    <a:pt x="224" y="9"/>
                  </a:cubicBezTo>
                  <a:cubicBezTo>
                    <a:pt x="239" y="46"/>
                    <a:pt x="255" y="83"/>
                    <a:pt x="271" y="120"/>
                  </a:cubicBezTo>
                  <a:cubicBezTo>
                    <a:pt x="369" y="340"/>
                    <a:pt x="369" y="340"/>
                    <a:pt x="369" y="340"/>
                  </a:cubicBezTo>
                  <a:cubicBezTo>
                    <a:pt x="385" y="377"/>
                    <a:pt x="401" y="414"/>
                    <a:pt x="416" y="450"/>
                  </a:cubicBezTo>
                  <a:cubicBezTo>
                    <a:pt x="415" y="450"/>
                    <a:pt x="415" y="450"/>
                    <a:pt x="415" y="450"/>
                  </a:cubicBezTo>
                  <a:cubicBezTo>
                    <a:pt x="417" y="458"/>
                    <a:pt x="417" y="458"/>
                    <a:pt x="417" y="458"/>
                  </a:cubicBezTo>
                  <a:cubicBezTo>
                    <a:pt x="417" y="463"/>
                    <a:pt x="414" y="466"/>
                    <a:pt x="406" y="466"/>
                  </a:cubicBezTo>
                  <a:lnTo>
                    <a:pt x="12" y="466"/>
                  </a:lnTo>
                  <a:close/>
                  <a:moveTo>
                    <a:pt x="77" y="411"/>
                  </a:moveTo>
                  <a:cubicBezTo>
                    <a:pt x="147" y="411"/>
                    <a:pt x="147" y="411"/>
                    <a:pt x="147" y="411"/>
                  </a:cubicBezTo>
                  <a:cubicBezTo>
                    <a:pt x="340" y="411"/>
                    <a:pt x="340" y="411"/>
                    <a:pt x="340" y="411"/>
                  </a:cubicBezTo>
                  <a:cubicBezTo>
                    <a:pt x="209" y="101"/>
                    <a:pt x="209" y="101"/>
                    <a:pt x="209" y="101"/>
                  </a:cubicBezTo>
                  <a:lnTo>
                    <a:pt x="77" y="411"/>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 name="Freeform 9">
              <a:extLst>
                <a:ext uri="{FF2B5EF4-FFF2-40B4-BE49-F238E27FC236}">
                  <a16:creationId xmlns:a16="http://schemas.microsoft.com/office/drawing/2014/main" id="{37A88905-1EE0-DF35-3006-1A90BB4F12B5}"/>
                </a:ext>
              </a:extLst>
            </p:cNvPr>
            <p:cNvSpPr>
              <a:spLocks noEditPoints="1"/>
            </p:cNvSpPr>
            <p:nvPr userDrawn="1"/>
          </p:nvSpPr>
          <p:spPr bwMode="auto">
            <a:xfrm>
              <a:off x="5259" y="1187"/>
              <a:ext cx="941" cy="1107"/>
            </a:xfrm>
            <a:custGeom>
              <a:avLst/>
              <a:gdLst>
                <a:gd name="T0" fmla="*/ 897379222 w 398"/>
                <a:gd name="T1" fmla="*/ 30594420 h 467"/>
                <a:gd name="T2" fmla="*/ 890358234 w 398"/>
                <a:gd name="T3" fmla="*/ 1076168270 h 467"/>
                <a:gd name="T4" fmla="*/ 863748004 w 398"/>
                <a:gd name="T5" fmla="*/ 1100058818 h 467"/>
                <a:gd name="T6" fmla="*/ 771485685 w 398"/>
                <a:gd name="T7" fmla="*/ 1100058818 h 467"/>
                <a:gd name="T8" fmla="*/ 125893508 w 398"/>
                <a:gd name="T9" fmla="*/ 184128005 h 467"/>
                <a:gd name="T10" fmla="*/ 122136901 w 398"/>
                <a:gd name="T11" fmla="*/ 754173992 h 467"/>
                <a:gd name="T12" fmla="*/ 376580847 w 398"/>
                <a:gd name="T13" fmla="*/ 754173992 h 467"/>
                <a:gd name="T14" fmla="*/ 398430025 w 398"/>
                <a:gd name="T15" fmla="*/ 777275989 h 467"/>
                <a:gd name="T16" fmla="*/ 398430025 w 398"/>
                <a:gd name="T17" fmla="*/ 854743724 h 467"/>
                <a:gd name="T18" fmla="*/ 376580847 w 398"/>
                <a:gd name="T19" fmla="*/ 883384289 h 467"/>
                <a:gd name="T20" fmla="*/ 24536535 w 398"/>
                <a:gd name="T21" fmla="*/ 878310296 h 467"/>
                <a:gd name="T22" fmla="*/ 23013058 w 398"/>
                <a:gd name="T23" fmla="*/ 878310296 h 467"/>
                <a:gd name="T24" fmla="*/ 0 w 398"/>
                <a:gd name="T25" fmla="*/ 859366371 h 467"/>
                <a:gd name="T26" fmla="*/ 6865536 w 398"/>
                <a:gd name="T27" fmla="*/ 25974653 h 467"/>
                <a:gd name="T28" fmla="*/ 31374522 w 398"/>
                <a:gd name="T29" fmla="*/ 2072546 h 467"/>
                <a:gd name="T30" fmla="*/ 125893508 w 398"/>
                <a:gd name="T31" fmla="*/ 2072546 h 467"/>
                <a:gd name="T32" fmla="*/ 148746381 w 398"/>
                <a:gd name="T33" fmla="*/ 13823806 h 467"/>
                <a:gd name="T34" fmla="*/ 768580627 w 398"/>
                <a:gd name="T35" fmla="*/ 885333514 h 467"/>
                <a:gd name="T36" fmla="*/ 775022528 w 398"/>
                <a:gd name="T37" fmla="*/ 23886284 h 467"/>
                <a:gd name="T38" fmla="*/ 798083455 w 398"/>
                <a:gd name="T39" fmla="*/ 7074865 h 467"/>
                <a:gd name="T40" fmla="*/ 870741434 w 398"/>
                <a:gd name="T41" fmla="*/ 7074865 h 467"/>
                <a:gd name="T42" fmla="*/ 888769892 w 398"/>
                <a:gd name="T43" fmla="*/ 13823806 h 467"/>
                <a:gd name="T44" fmla="*/ 897379222 w 398"/>
                <a:gd name="T45" fmla="*/ 30594420 h 467"/>
                <a:gd name="T46" fmla="*/ 502483131 w 398"/>
                <a:gd name="T47" fmla="*/ 967923553 h 467"/>
                <a:gd name="T48" fmla="*/ 525479561 w 398"/>
                <a:gd name="T49" fmla="*/ 991784983 h 467"/>
                <a:gd name="T50" fmla="*/ 525479561 w 398"/>
                <a:gd name="T51" fmla="*/ 1069462303 h 467"/>
                <a:gd name="T52" fmla="*/ 502483131 w 398"/>
                <a:gd name="T53" fmla="*/ 1097986322 h 467"/>
                <a:gd name="T54" fmla="*/ 23013058 w 398"/>
                <a:gd name="T55" fmla="*/ 1097986322 h 467"/>
                <a:gd name="T56" fmla="*/ 0 w 398"/>
                <a:gd name="T57" fmla="*/ 1074095937 h 467"/>
                <a:gd name="T58" fmla="*/ 0 w 398"/>
                <a:gd name="T59" fmla="*/ 993579494 h 467"/>
                <a:gd name="T60" fmla="*/ 24536535 w 398"/>
                <a:gd name="T61" fmla="*/ 967923553 h 467"/>
                <a:gd name="T62" fmla="*/ 264174943 w 398"/>
                <a:gd name="T63" fmla="*/ 967923553 h 467"/>
                <a:gd name="T64" fmla="*/ 502483131 w 398"/>
                <a:gd name="T65" fmla="*/ 967923553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98" h="467">
                  <a:moveTo>
                    <a:pt x="398" y="13"/>
                  </a:moveTo>
                  <a:cubicBezTo>
                    <a:pt x="395" y="457"/>
                    <a:pt x="395" y="457"/>
                    <a:pt x="395" y="457"/>
                  </a:cubicBezTo>
                  <a:cubicBezTo>
                    <a:pt x="395" y="464"/>
                    <a:pt x="390" y="467"/>
                    <a:pt x="383" y="467"/>
                  </a:cubicBezTo>
                  <a:cubicBezTo>
                    <a:pt x="342" y="467"/>
                    <a:pt x="342" y="467"/>
                    <a:pt x="342" y="467"/>
                  </a:cubicBezTo>
                  <a:cubicBezTo>
                    <a:pt x="56" y="78"/>
                    <a:pt x="56" y="78"/>
                    <a:pt x="56" y="78"/>
                  </a:cubicBezTo>
                  <a:cubicBezTo>
                    <a:pt x="54" y="320"/>
                    <a:pt x="54" y="320"/>
                    <a:pt x="54" y="320"/>
                  </a:cubicBezTo>
                  <a:cubicBezTo>
                    <a:pt x="167" y="320"/>
                    <a:pt x="167" y="320"/>
                    <a:pt x="167" y="320"/>
                  </a:cubicBezTo>
                  <a:cubicBezTo>
                    <a:pt x="173" y="320"/>
                    <a:pt x="177" y="324"/>
                    <a:pt x="177" y="330"/>
                  </a:cubicBezTo>
                  <a:cubicBezTo>
                    <a:pt x="177" y="363"/>
                    <a:pt x="177" y="363"/>
                    <a:pt x="177" y="363"/>
                  </a:cubicBezTo>
                  <a:cubicBezTo>
                    <a:pt x="177" y="369"/>
                    <a:pt x="173" y="375"/>
                    <a:pt x="167" y="375"/>
                  </a:cubicBezTo>
                  <a:cubicBezTo>
                    <a:pt x="11" y="373"/>
                    <a:pt x="11" y="373"/>
                    <a:pt x="11" y="373"/>
                  </a:cubicBezTo>
                  <a:cubicBezTo>
                    <a:pt x="10" y="373"/>
                    <a:pt x="10" y="373"/>
                    <a:pt x="10" y="373"/>
                  </a:cubicBezTo>
                  <a:cubicBezTo>
                    <a:pt x="4" y="373"/>
                    <a:pt x="1" y="370"/>
                    <a:pt x="0" y="365"/>
                  </a:cubicBezTo>
                  <a:cubicBezTo>
                    <a:pt x="3" y="11"/>
                    <a:pt x="3" y="11"/>
                    <a:pt x="3" y="11"/>
                  </a:cubicBezTo>
                  <a:cubicBezTo>
                    <a:pt x="3" y="5"/>
                    <a:pt x="7" y="0"/>
                    <a:pt x="14" y="1"/>
                  </a:cubicBezTo>
                  <a:cubicBezTo>
                    <a:pt x="56" y="1"/>
                    <a:pt x="56" y="1"/>
                    <a:pt x="56" y="1"/>
                  </a:cubicBezTo>
                  <a:cubicBezTo>
                    <a:pt x="60" y="1"/>
                    <a:pt x="64" y="3"/>
                    <a:pt x="66" y="6"/>
                  </a:cubicBezTo>
                  <a:cubicBezTo>
                    <a:pt x="341" y="376"/>
                    <a:pt x="341" y="376"/>
                    <a:pt x="341" y="376"/>
                  </a:cubicBezTo>
                  <a:cubicBezTo>
                    <a:pt x="344" y="10"/>
                    <a:pt x="344" y="10"/>
                    <a:pt x="344" y="10"/>
                  </a:cubicBezTo>
                  <a:cubicBezTo>
                    <a:pt x="345" y="5"/>
                    <a:pt x="349" y="3"/>
                    <a:pt x="354" y="3"/>
                  </a:cubicBezTo>
                  <a:cubicBezTo>
                    <a:pt x="386" y="3"/>
                    <a:pt x="386" y="3"/>
                    <a:pt x="386" y="3"/>
                  </a:cubicBezTo>
                  <a:cubicBezTo>
                    <a:pt x="389" y="3"/>
                    <a:pt x="391" y="4"/>
                    <a:pt x="394" y="6"/>
                  </a:cubicBezTo>
                  <a:cubicBezTo>
                    <a:pt x="396" y="7"/>
                    <a:pt x="398" y="10"/>
                    <a:pt x="398" y="13"/>
                  </a:cubicBezTo>
                  <a:close/>
                  <a:moveTo>
                    <a:pt x="223" y="411"/>
                  </a:moveTo>
                  <a:cubicBezTo>
                    <a:pt x="229" y="411"/>
                    <a:pt x="233" y="415"/>
                    <a:pt x="233" y="421"/>
                  </a:cubicBezTo>
                  <a:cubicBezTo>
                    <a:pt x="233" y="454"/>
                    <a:pt x="233" y="454"/>
                    <a:pt x="233" y="454"/>
                  </a:cubicBezTo>
                  <a:cubicBezTo>
                    <a:pt x="233" y="460"/>
                    <a:pt x="230" y="466"/>
                    <a:pt x="223" y="466"/>
                  </a:cubicBezTo>
                  <a:cubicBezTo>
                    <a:pt x="10" y="466"/>
                    <a:pt x="10" y="466"/>
                    <a:pt x="10" y="466"/>
                  </a:cubicBezTo>
                  <a:cubicBezTo>
                    <a:pt x="4" y="466"/>
                    <a:pt x="0" y="462"/>
                    <a:pt x="0" y="456"/>
                  </a:cubicBezTo>
                  <a:cubicBezTo>
                    <a:pt x="0" y="422"/>
                    <a:pt x="0" y="422"/>
                    <a:pt x="0" y="422"/>
                  </a:cubicBezTo>
                  <a:cubicBezTo>
                    <a:pt x="0" y="416"/>
                    <a:pt x="4" y="411"/>
                    <a:pt x="11" y="411"/>
                  </a:cubicBezTo>
                  <a:cubicBezTo>
                    <a:pt x="117" y="411"/>
                    <a:pt x="117" y="411"/>
                    <a:pt x="117" y="411"/>
                  </a:cubicBezTo>
                  <a:lnTo>
                    <a:pt x="223" y="411"/>
                  </a:lnTo>
                  <a:close/>
                </a:path>
              </a:pathLst>
            </a:custGeom>
            <a:solidFill>
              <a:srgbClr val="C03B2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9" name="Freeform 10">
              <a:extLst>
                <a:ext uri="{FF2B5EF4-FFF2-40B4-BE49-F238E27FC236}">
                  <a16:creationId xmlns:a16="http://schemas.microsoft.com/office/drawing/2014/main" id="{2A1E6F7B-9FE5-D5DB-58A4-0324778B062E}"/>
                </a:ext>
              </a:extLst>
            </p:cNvPr>
            <p:cNvSpPr>
              <a:spLocks noEditPoints="1"/>
            </p:cNvSpPr>
            <p:nvPr userDrawn="1"/>
          </p:nvSpPr>
          <p:spPr bwMode="auto">
            <a:xfrm>
              <a:off x="6280" y="1189"/>
              <a:ext cx="1102" cy="1105"/>
            </a:xfrm>
            <a:custGeom>
              <a:avLst/>
              <a:gdLst>
                <a:gd name="T0" fmla="*/ 154128366 w 466"/>
                <a:gd name="T1" fmla="*/ 943010351 h 466"/>
                <a:gd name="T2" fmla="*/ 0 w 466"/>
                <a:gd name="T3" fmla="*/ 552442640 h 466"/>
                <a:gd name="T4" fmla="*/ 154128366 w 466"/>
                <a:gd name="T5" fmla="*/ 163833771 h 466"/>
                <a:gd name="T6" fmla="*/ 527029454 w 466"/>
                <a:gd name="T7" fmla="*/ 0 h 466"/>
                <a:gd name="T8" fmla="*/ 900145882 w 466"/>
                <a:gd name="T9" fmla="*/ 163833771 h 466"/>
                <a:gd name="T10" fmla="*/ 1054209675 w 466"/>
                <a:gd name="T11" fmla="*/ 552442640 h 466"/>
                <a:gd name="T12" fmla="*/ 900145882 w 466"/>
                <a:gd name="T13" fmla="*/ 943010351 h 466"/>
                <a:gd name="T14" fmla="*/ 527029454 w 466"/>
                <a:gd name="T15" fmla="*/ 1104057219 h 466"/>
                <a:gd name="T16" fmla="*/ 154128366 w 466"/>
                <a:gd name="T17" fmla="*/ 943010351 h 466"/>
                <a:gd name="T18" fmla="*/ 237118879 w 466"/>
                <a:gd name="T19" fmla="*/ 248554821 h 466"/>
                <a:gd name="T20" fmla="*/ 117706387 w 466"/>
                <a:gd name="T21" fmla="*/ 552442640 h 466"/>
                <a:gd name="T22" fmla="*/ 237118879 w 466"/>
                <a:gd name="T23" fmla="*/ 855407497 h 466"/>
                <a:gd name="T24" fmla="*/ 527029454 w 466"/>
                <a:gd name="T25" fmla="*/ 983016883 h 466"/>
                <a:gd name="T26" fmla="*/ 817155276 w 466"/>
                <a:gd name="T27" fmla="*/ 855407497 h 466"/>
                <a:gd name="T28" fmla="*/ 938406617 w 466"/>
                <a:gd name="T29" fmla="*/ 552442640 h 466"/>
                <a:gd name="T30" fmla="*/ 817155276 w 466"/>
                <a:gd name="T31" fmla="*/ 248554821 h 466"/>
                <a:gd name="T32" fmla="*/ 527029454 w 466"/>
                <a:gd name="T33" fmla="*/ 121039414 h 466"/>
                <a:gd name="T34" fmla="*/ 237118879 w 466"/>
                <a:gd name="T35" fmla="*/ 248554821 h 4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6" h="466">
                  <a:moveTo>
                    <a:pt x="68" y="398"/>
                  </a:moveTo>
                  <a:cubicBezTo>
                    <a:pt x="24" y="354"/>
                    <a:pt x="2" y="299"/>
                    <a:pt x="0" y="233"/>
                  </a:cubicBezTo>
                  <a:cubicBezTo>
                    <a:pt x="2" y="167"/>
                    <a:pt x="24" y="112"/>
                    <a:pt x="68" y="69"/>
                  </a:cubicBezTo>
                  <a:cubicBezTo>
                    <a:pt x="112" y="24"/>
                    <a:pt x="167" y="2"/>
                    <a:pt x="233" y="0"/>
                  </a:cubicBezTo>
                  <a:cubicBezTo>
                    <a:pt x="299" y="2"/>
                    <a:pt x="354" y="24"/>
                    <a:pt x="398" y="69"/>
                  </a:cubicBezTo>
                  <a:cubicBezTo>
                    <a:pt x="442" y="112"/>
                    <a:pt x="465" y="167"/>
                    <a:pt x="466" y="233"/>
                  </a:cubicBezTo>
                  <a:cubicBezTo>
                    <a:pt x="465" y="299"/>
                    <a:pt x="442" y="354"/>
                    <a:pt x="398" y="398"/>
                  </a:cubicBezTo>
                  <a:cubicBezTo>
                    <a:pt x="354" y="441"/>
                    <a:pt x="299" y="464"/>
                    <a:pt x="233" y="466"/>
                  </a:cubicBezTo>
                  <a:cubicBezTo>
                    <a:pt x="167" y="464"/>
                    <a:pt x="112" y="441"/>
                    <a:pt x="68" y="398"/>
                  </a:cubicBezTo>
                  <a:close/>
                  <a:moveTo>
                    <a:pt x="105" y="105"/>
                  </a:moveTo>
                  <a:cubicBezTo>
                    <a:pt x="70" y="139"/>
                    <a:pt x="53" y="181"/>
                    <a:pt x="52" y="233"/>
                  </a:cubicBezTo>
                  <a:cubicBezTo>
                    <a:pt x="53" y="284"/>
                    <a:pt x="70" y="327"/>
                    <a:pt x="105" y="361"/>
                  </a:cubicBezTo>
                  <a:cubicBezTo>
                    <a:pt x="139" y="395"/>
                    <a:pt x="181" y="413"/>
                    <a:pt x="233" y="415"/>
                  </a:cubicBezTo>
                  <a:cubicBezTo>
                    <a:pt x="284" y="413"/>
                    <a:pt x="327" y="395"/>
                    <a:pt x="361" y="361"/>
                  </a:cubicBezTo>
                  <a:cubicBezTo>
                    <a:pt x="395" y="327"/>
                    <a:pt x="413" y="284"/>
                    <a:pt x="415" y="233"/>
                  </a:cubicBezTo>
                  <a:cubicBezTo>
                    <a:pt x="413" y="181"/>
                    <a:pt x="395" y="139"/>
                    <a:pt x="361" y="105"/>
                  </a:cubicBezTo>
                  <a:cubicBezTo>
                    <a:pt x="327" y="71"/>
                    <a:pt x="284" y="53"/>
                    <a:pt x="233" y="51"/>
                  </a:cubicBezTo>
                  <a:cubicBezTo>
                    <a:pt x="181" y="53"/>
                    <a:pt x="139" y="71"/>
                    <a:pt x="105" y="105"/>
                  </a:cubicBezTo>
                  <a:close/>
                </a:path>
              </a:pathLst>
            </a:custGeom>
            <a:solidFill>
              <a:srgbClr val="64324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0" name="Freeform 11">
              <a:extLst>
                <a:ext uri="{FF2B5EF4-FFF2-40B4-BE49-F238E27FC236}">
                  <a16:creationId xmlns:a16="http://schemas.microsoft.com/office/drawing/2014/main" id="{ADBA6CB5-3E57-B017-DC02-98D3AE9EC5AE}"/>
                </a:ext>
              </a:extLst>
            </p:cNvPr>
            <p:cNvSpPr>
              <a:spLocks noEditPoints="1"/>
            </p:cNvSpPr>
            <p:nvPr userDrawn="1"/>
          </p:nvSpPr>
          <p:spPr bwMode="auto">
            <a:xfrm>
              <a:off x="4230" y="2552"/>
              <a:ext cx="334" cy="551"/>
            </a:xfrm>
            <a:custGeom>
              <a:avLst/>
              <a:gdLst>
                <a:gd name="T0" fmla="*/ 0 w 334"/>
                <a:gd name="T1" fmla="*/ 0 h 551"/>
                <a:gd name="T2" fmla="*/ 334 w 334"/>
                <a:gd name="T3" fmla="*/ 0 h 551"/>
                <a:gd name="T4" fmla="*/ 334 w 334"/>
                <a:gd name="T5" fmla="*/ 31 h 551"/>
                <a:gd name="T6" fmla="*/ 0 w 334"/>
                <a:gd name="T7" fmla="*/ 31 h 551"/>
                <a:gd name="T8" fmla="*/ 0 w 334"/>
                <a:gd name="T9" fmla="*/ 0 h 551"/>
                <a:gd name="T10" fmla="*/ 156 w 334"/>
                <a:gd name="T11" fmla="*/ 50 h 551"/>
                <a:gd name="T12" fmla="*/ 156 w 334"/>
                <a:gd name="T13" fmla="*/ 551 h 551"/>
                <a:gd name="T14" fmla="*/ 128 w 334"/>
                <a:gd name="T15" fmla="*/ 551 h 551"/>
                <a:gd name="T16" fmla="*/ 128 w 334"/>
                <a:gd name="T17" fmla="*/ 79 h 551"/>
                <a:gd name="T18" fmla="*/ 0 w 334"/>
                <a:gd name="T19" fmla="*/ 79 h 551"/>
                <a:gd name="T20" fmla="*/ 0 w 334"/>
                <a:gd name="T21" fmla="*/ 50 h 551"/>
                <a:gd name="T22" fmla="*/ 156 w 334"/>
                <a:gd name="T23" fmla="*/ 50 h 551"/>
                <a:gd name="T24" fmla="*/ 334 w 334"/>
                <a:gd name="T25" fmla="*/ 50 h 551"/>
                <a:gd name="T26" fmla="*/ 334 w 334"/>
                <a:gd name="T27" fmla="*/ 79 h 551"/>
                <a:gd name="T28" fmla="*/ 206 w 334"/>
                <a:gd name="T29" fmla="*/ 79 h 551"/>
                <a:gd name="T30" fmla="*/ 206 w 334"/>
                <a:gd name="T31" fmla="*/ 551 h 551"/>
                <a:gd name="T32" fmla="*/ 175 w 334"/>
                <a:gd name="T33" fmla="*/ 551 h 551"/>
                <a:gd name="T34" fmla="*/ 175 w 334"/>
                <a:gd name="T35" fmla="*/ 50 h 551"/>
                <a:gd name="T36" fmla="*/ 334 w 334"/>
                <a:gd name="T37" fmla="*/ 50 h 5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34" h="551">
                  <a:moveTo>
                    <a:pt x="0" y="0"/>
                  </a:moveTo>
                  <a:lnTo>
                    <a:pt x="334" y="0"/>
                  </a:lnTo>
                  <a:lnTo>
                    <a:pt x="334" y="31"/>
                  </a:lnTo>
                  <a:lnTo>
                    <a:pt x="0" y="31"/>
                  </a:lnTo>
                  <a:lnTo>
                    <a:pt x="0" y="0"/>
                  </a:lnTo>
                  <a:close/>
                  <a:moveTo>
                    <a:pt x="156" y="50"/>
                  </a:moveTo>
                  <a:lnTo>
                    <a:pt x="156" y="551"/>
                  </a:lnTo>
                  <a:lnTo>
                    <a:pt x="128" y="551"/>
                  </a:lnTo>
                  <a:lnTo>
                    <a:pt x="128" y="79"/>
                  </a:lnTo>
                  <a:lnTo>
                    <a:pt x="0" y="79"/>
                  </a:lnTo>
                  <a:lnTo>
                    <a:pt x="0" y="50"/>
                  </a:lnTo>
                  <a:lnTo>
                    <a:pt x="156" y="50"/>
                  </a:lnTo>
                  <a:close/>
                  <a:moveTo>
                    <a:pt x="334" y="50"/>
                  </a:moveTo>
                  <a:lnTo>
                    <a:pt x="334" y="79"/>
                  </a:lnTo>
                  <a:lnTo>
                    <a:pt x="206" y="79"/>
                  </a:lnTo>
                  <a:lnTo>
                    <a:pt x="206" y="551"/>
                  </a:lnTo>
                  <a:lnTo>
                    <a:pt x="175" y="551"/>
                  </a:lnTo>
                  <a:lnTo>
                    <a:pt x="175" y="50"/>
                  </a:lnTo>
                  <a:lnTo>
                    <a:pt x="334" y="50"/>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1" name="Freeform 12">
              <a:extLst>
                <a:ext uri="{FF2B5EF4-FFF2-40B4-BE49-F238E27FC236}">
                  <a16:creationId xmlns:a16="http://schemas.microsoft.com/office/drawing/2014/main" id="{DFA15B11-04A2-74A8-CC10-0BEFE5FE5F92}"/>
                </a:ext>
              </a:extLst>
            </p:cNvPr>
            <p:cNvSpPr>
              <a:spLocks noEditPoints="1"/>
            </p:cNvSpPr>
            <p:nvPr userDrawn="1"/>
          </p:nvSpPr>
          <p:spPr bwMode="auto">
            <a:xfrm>
              <a:off x="4599" y="2552"/>
              <a:ext cx="312" cy="551"/>
            </a:xfrm>
            <a:custGeom>
              <a:avLst/>
              <a:gdLst>
                <a:gd name="T0" fmla="*/ 295891719 w 132"/>
                <a:gd name="T1" fmla="*/ 0 h 232"/>
                <a:gd name="T2" fmla="*/ 295891719 w 132"/>
                <a:gd name="T3" fmla="*/ 31976658 h 232"/>
                <a:gd name="T4" fmla="*/ 111981461 w 132"/>
                <a:gd name="T5" fmla="*/ 31976658 h 232"/>
                <a:gd name="T6" fmla="*/ 51443210 w 132"/>
                <a:gd name="T7" fmla="*/ 58299493 h 232"/>
                <a:gd name="T8" fmla="*/ 26510905 w 132"/>
                <a:gd name="T9" fmla="*/ 122107630 h 232"/>
                <a:gd name="T10" fmla="*/ 26510905 w 132"/>
                <a:gd name="T11" fmla="*/ 442759715 h 232"/>
                <a:gd name="T12" fmla="*/ 51443210 w 132"/>
                <a:gd name="T13" fmla="*/ 508305993 h 232"/>
                <a:gd name="T14" fmla="*/ 111981461 w 132"/>
                <a:gd name="T15" fmla="*/ 535913430 h 232"/>
                <a:gd name="T16" fmla="*/ 295891719 w 132"/>
                <a:gd name="T17" fmla="*/ 535913430 h 232"/>
                <a:gd name="T18" fmla="*/ 295891719 w 132"/>
                <a:gd name="T19" fmla="*/ 564828430 h 232"/>
                <a:gd name="T20" fmla="*/ 111981461 w 132"/>
                <a:gd name="T21" fmla="*/ 564828430 h 232"/>
                <a:gd name="T22" fmla="*/ 33265636 w 132"/>
                <a:gd name="T23" fmla="*/ 527724589 h 232"/>
                <a:gd name="T24" fmla="*/ 0 w 132"/>
                <a:gd name="T25" fmla="*/ 442759715 h 232"/>
                <a:gd name="T26" fmla="*/ 0 w 132"/>
                <a:gd name="T27" fmla="*/ 122107630 h 232"/>
                <a:gd name="T28" fmla="*/ 33265636 w 132"/>
                <a:gd name="T29" fmla="*/ 37103839 h 232"/>
                <a:gd name="T30" fmla="*/ 111981461 w 132"/>
                <a:gd name="T31" fmla="*/ 0 h 232"/>
                <a:gd name="T32" fmla="*/ 295891719 w 132"/>
                <a:gd name="T33" fmla="*/ 0 h 232"/>
                <a:gd name="T34" fmla="*/ 47376772 w 132"/>
                <a:gd name="T35" fmla="*/ 122107630 h 232"/>
                <a:gd name="T36" fmla="*/ 65404189 w 132"/>
                <a:gd name="T37" fmla="*/ 70832843 h 232"/>
                <a:gd name="T38" fmla="*/ 111981461 w 132"/>
                <a:gd name="T39" fmla="*/ 51413739 h 232"/>
                <a:gd name="T40" fmla="*/ 295891719 w 132"/>
                <a:gd name="T41" fmla="*/ 51413739 h 232"/>
                <a:gd name="T42" fmla="*/ 295891719 w 132"/>
                <a:gd name="T43" fmla="*/ 79781492 h 232"/>
                <a:gd name="T44" fmla="*/ 111981461 w 132"/>
                <a:gd name="T45" fmla="*/ 79781492 h 232"/>
                <a:gd name="T46" fmla="*/ 85443339 w 132"/>
                <a:gd name="T47" fmla="*/ 92335711 h 232"/>
                <a:gd name="T48" fmla="*/ 73893437 w 132"/>
                <a:gd name="T49" fmla="*/ 122107630 h 232"/>
                <a:gd name="T50" fmla="*/ 73893437 w 132"/>
                <a:gd name="T51" fmla="*/ 202009418 h 232"/>
                <a:gd name="T52" fmla="*/ 295891719 w 132"/>
                <a:gd name="T53" fmla="*/ 202009418 h 232"/>
                <a:gd name="T54" fmla="*/ 295891719 w 132"/>
                <a:gd name="T55" fmla="*/ 233836064 h 232"/>
                <a:gd name="T56" fmla="*/ 47376772 w 132"/>
                <a:gd name="T57" fmla="*/ 233836064 h 232"/>
                <a:gd name="T58" fmla="*/ 47376772 w 132"/>
                <a:gd name="T59" fmla="*/ 122107630 h 232"/>
                <a:gd name="T60" fmla="*/ 47376772 w 132"/>
                <a:gd name="T61" fmla="*/ 253283286 h 232"/>
                <a:gd name="T62" fmla="*/ 295891719 w 132"/>
                <a:gd name="T63" fmla="*/ 253283286 h 232"/>
                <a:gd name="T64" fmla="*/ 295891719 w 132"/>
                <a:gd name="T65" fmla="*/ 283050061 h 232"/>
                <a:gd name="T66" fmla="*/ 73893437 w 132"/>
                <a:gd name="T67" fmla="*/ 283050061 h 232"/>
                <a:gd name="T68" fmla="*/ 73893437 w 132"/>
                <a:gd name="T69" fmla="*/ 442759715 h 232"/>
                <a:gd name="T70" fmla="*/ 85443339 w 132"/>
                <a:gd name="T71" fmla="*/ 472485538 h 232"/>
                <a:gd name="T72" fmla="*/ 111981461 w 132"/>
                <a:gd name="T73" fmla="*/ 484506888 h 232"/>
                <a:gd name="T74" fmla="*/ 295891719 w 132"/>
                <a:gd name="T75" fmla="*/ 484506888 h 232"/>
                <a:gd name="T76" fmla="*/ 295891719 w 132"/>
                <a:gd name="T77" fmla="*/ 513431020 h 232"/>
                <a:gd name="T78" fmla="*/ 111981461 w 132"/>
                <a:gd name="T79" fmla="*/ 513431020 h 232"/>
                <a:gd name="T80" fmla="*/ 65404189 w 132"/>
                <a:gd name="T81" fmla="*/ 494012295 h 232"/>
                <a:gd name="T82" fmla="*/ 47376772 w 132"/>
                <a:gd name="T83" fmla="*/ 442759715 h 232"/>
                <a:gd name="T84" fmla="*/ 47376772 w 132"/>
                <a:gd name="T85" fmla="*/ 253283286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132" y="0"/>
                  </a:moveTo>
                  <a:cubicBezTo>
                    <a:pt x="132" y="13"/>
                    <a:pt x="132" y="13"/>
                    <a:pt x="132" y="13"/>
                  </a:cubicBezTo>
                  <a:cubicBezTo>
                    <a:pt x="50" y="13"/>
                    <a:pt x="50" y="13"/>
                    <a:pt x="50" y="13"/>
                  </a:cubicBezTo>
                  <a:cubicBezTo>
                    <a:pt x="39" y="13"/>
                    <a:pt x="31" y="16"/>
                    <a:pt x="23" y="24"/>
                  </a:cubicBezTo>
                  <a:cubicBezTo>
                    <a:pt x="16" y="31"/>
                    <a:pt x="12" y="40"/>
                    <a:pt x="12" y="50"/>
                  </a:cubicBezTo>
                  <a:cubicBezTo>
                    <a:pt x="12" y="182"/>
                    <a:pt x="12" y="182"/>
                    <a:pt x="12" y="182"/>
                  </a:cubicBezTo>
                  <a:cubicBezTo>
                    <a:pt x="12" y="193"/>
                    <a:pt x="16" y="201"/>
                    <a:pt x="23" y="209"/>
                  </a:cubicBezTo>
                  <a:cubicBezTo>
                    <a:pt x="31" y="216"/>
                    <a:pt x="39" y="220"/>
                    <a:pt x="50" y="220"/>
                  </a:cubicBezTo>
                  <a:cubicBezTo>
                    <a:pt x="132" y="220"/>
                    <a:pt x="132" y="220"/>
                    <a:pt x="132" y="220"/>
                  </a:cubicBezTo>
                  <a:cubicBezTo>
                    <a:pt x="132" y="232"/>
                    <a:pt x="132" y="232"/>
                    <a:pt x="132" y="232"/>
                  </a:cubicBezTo>
                  <a:cubicBezTo>
                    <a:pt x="50" y="232"/>
                    <a:pt x="50" y="232"/>
                    <a:pt x="50" y="232"/>
                  </a:cubicBezTo>
                  <a:cubicBezTo>
                    <a:pt x="36" y="232"/>
                    <a:pt x="24" y="227"/>
                    <a:pt x="15" y="217"/>
                  </a:cubicBezTo>
                  <a:cubicBezTo>
                    <a:pt x="5" y="208"/>
                    <a:pt x="0" y="196"/>
                    <a:pt x="0" y="182"/>
                  </a:cubicBezTo>
                  <a:cubicBezTo>
                    <a:pt x="0" y="50"/>
                    <a:pt x="0" y="50"/>
                    <a:pt x="0" y="50"/>
                  </a:cubicBezTo>
                  <a:cubicBezTo>
                    <a:pt x="0" y="36"/>
                    <a:pt x="5" y="25"/>
                    <a:pt x="15" y="15"/>
                  </a:cubicBezTo>
                  <a:cubicBezTo>
                    <a:pt x="24" y="5"/>
                    <a:pt x="36" y="0"/>
                    <a:pt x="50" y="0"/>
                  </a:cubicBezTo>
                  <a:lnTo>
                    <a:pt x="132" y="0"/>
                  </a:lnTo>
                  <a:close/>
                  <a:moveTo>
                    <a:pt x="21" y="50"/>
                  </a:moveTo>
                  <a:cubicBezTo>
                    <a:pt x="21" y="42"/>
                    <a:pt x="24" y="35"/>
                    <a:pt x="29" y="29"/>
                  </a:cubicBezTo>
                  <a:cubicBezTo>
                    <a:pt x="35" y="24"/>
                    <a:pt x="42" y="21"/>
                    <a:pt x="50" y="21"/>
                  </a:cubicBezTo>
                  <a:cubicBezTo>
                    <a:pt x="132" y="21"/>
                    <a:pt x="132" y="21"/>
                    <a:pt x="132" y="21"/>
                  </a:cubicBezTo>
                  <a:cubicBezTo>
                    <a:pt x="132" y="33"/>
                    <a:pt x="132" y="33"/>
                    <a:pt x="132" y="33"/>
                  </a:cubicBezTo>
                  <a:cubicBezTo>
                    <a:pt x="50" y="33"/>
                    <a:pt x="50" y="33"/>
                    <a:pt x="50" y="33"/>
                  </a:cubicBezTo>
                  <a:cubicBezTo>
                    <a:pt x="45" y="33"/>
                    <a:pt x="41" y="35"/>
                    <a:pt x="38" y="38"/>
                  </a:cubicBezTo>
                  <a:cubicBezTo>
                    <a:pt x="35" y="42"/>
                    <a:pt x="33" y="45"/>
                    <a:pt x="33" y="50"/>
                  </a:cubicBezTo>
                  <a:cubicBezTo>
                    <a:pt x="33" y="83"/>
                    <a:pt x="33" y="83"/>
                    <a:pt x="33" y="83"/>
                  </a:cubicBezTo>
                  <a:cubicBezTo>
                    <a:pt x="132" y="83"/>
                    <a:pt x="132" y="83"/>
                    <a:pt x="132" y="83"/>
                  </a:cubicBezTo>
                  <a:cubicBezTo>
                    <a:pt x="132" y="96"/>
                    <a:pt x="132" y="96"/>
                    <a:pt x="132" y="96"/>
                  </a:cubicBezTo>
                  <a:cubicBezTo>
                    <a:pt x="21" y="96"/>
                    <a:pt x="21" y="96"/>
                    <a:pt x="21" y="96"/>
                  </a:cubicBezTo>
                  <a:lnTo>
                    <a:pt x="21" y="50"/>
                  </a:lnTo>
                  <a:close/>
                  <a:moveTo>
                    <a:pt x="21" y="104"/>
                  </a:moveTo>
                  <a:cubicBezTo>
                    <a:pt x="132" y="104"/>
                    <a:pt x="132" y="104"/>
                    <a:pt x="132" y="104"/>
                  </a:cubicBezTo>
                  <a:cubicBezTo>
                    <a:pt x="132" y="116"/>
                    <a:pt x="132" y="116"/>
                    <a:pt x="132" y="116"/>
                  </a:cubicBezTo>
                  <a:cubicBezTo>
                    <a:pt x="33" y="116"/>
                    <a:pt x="33" y="116"/>
                    <a:pt x="33" y="116"/>
                  </a:cubicBezTo>
                  <a:cubicBezTo>
                    <a:pt x="33" y="182"/>
                    <a:pt x="33" y="182"/>
                    <a:pt x="33" y="182"/>
                  </a:cubicBezTo>
                  <a:cubicBezTo>
                    <a:pt x="33" y="187"/>
                    <a:pt x="35" y="191"/>
                    <a:pt x="38" y="194"/>
                  </a:cubicBezTo>
                  <a:cubicBezTo>
                    <a:pt x="41" y="197"/>
                    <a:pt x="45" y="199"/>
                    <a:pt x="50" y="199"/>
                  </a:cubicBezTo>
                  <a:cubicBezTo>
                    <a:pt x="132" y="199"/>
                    <a:pt x="132" y="199"/>
                    <a:pt x="132" y="199"/>
                  </a:cubicBezTo>
                  <a:cubicBezTo>
                    <a:pt x="132" y="211"/>
                    <a:pt x="132" y="211"/>
                    <a:pt x="132" y="211"/>
                  </a:cubicBezTo>
                  <a:cubicBezTo>
                    <a:pt x="50" y="211"/>
                    <a:pt x="50" y="211"/>
                    <a:pt x="50" y="211"/>
                  </a:cubicBezTo>
                  <a:cubicBezTo>
                    <a:pt x="42" y="211"/>
                    <a:pt x="35" y="209"/>
                    <a:pt x="29" y="203"/>
                  </a:cubicBezTo>
                  <a:cubicBezTo>
                    <a:pt x="24" y="197"/>
                    <a:pt x="21" y="190"/>
                    <a:pt x="21" y="182"/>
                  </a:cubicBezTo>
                  <a:lnTo>
                    <a:pt x="21" y="104"/>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13">
              <a:extLst>
                <a:ext uri="{FF2B5EF4-FFF2-40B4-BE49-F238E27FC236}">
                  <a16:creationId xmlns:a16="http://schemas.microsoft.com/office/drawing/2014/main" id="{84DB2B2C-166A-8866-0FBE-C9A3371783D4}"/>
                </a:ext>
              </a:extLst>
            </p:cNvPr>
            <p:cNvSpPr>
              <a:spLocks noEditPoints="1"/>
            </p:cNvSpPr>
            <p:nvPr userDrawn="1"/>
          </p:nvSpPr>
          <p:spPr bwMode="auto">
            <a:xfrm>
              <a:off x="4958" y="2552"/>
              <a:ext cx="391" cy="551"/>
            </a:xfrm>
            <a:custGeom>
              <a:avLst/>
              <a:gdLst>
                <a:gd name="T0" fmla="*/ 309548631 w 165"/>
                <a:gd name="T1" fmla="*/ 0 h 232"/>
                <a:gd name="T2" fmla="*/ 363029971 w 165"/>
                <a:gd name="T3" fmla="*/ 24547155 h 232"/>
                <a:gd name="T4" fmla="*/ 386832786 w 165"/>
                <a:gd name="T5" fmla="*/ 79781492 h 232"/>
                <a:gd name="T6" fmla="*/ 386832786 w 165"/>
                <a:gd name="T7" fmla="*/ 564828430 h 232"/>
                <a:gd name="T8" fmla="*/ 358797870 w 165"/>
                <a:gd name="T9" fmla="*/ 564828430 h 232"/>
                <a:gd name="T10" fmla="*/ 358797870 w 165"/>
                <a:gd name="T11" fmla="*/ 79781492 h 232"/>
                <a:gd name="T12" fmla="*/ 344252405 w 165"/>
                <a:gd name="T13" fmla="*/ 46120372 h 232"/>
                <a:gd name="T14" fmla="*/ 309548631 w 165"/>
                <a:gd name="T15" fmla="*/ 31976658 h 232"/>
                <a:gd name="T16" fmla="*/ 77129169 w 165"/>
                <a:gd name="T17" fmla="*/ 31976658 h 232"/>
                <a:gd name="T18" fmla="*/ 42581549 w 165"/>
                <a:gd name="T19" fmla="*/ 46120372 h 232"/>
                <a:gd name="T20" fmla="*/ 27493911 w 165"/>
                <a:gd name="T21" fmla="*/ 79781492 h 232"/>
                <a:gd name="T22" fmla="*/ 27493911 w 165"/>
                <a:gd name="T23" fmla="*/ 564828430 h 232"/>
                <a:gd name="T24" fmla="*/ 0 w 165"/>
                <a:gd name="T25" fmla="*/ 564828430 h 232"/>
                <a:gd name="T26" fmla="*/ 0 w 165"/>
                <a:gd name="T27" fmla="*/ 79781492 h 232"/>
                <a:gd name="T28" fmla="*/ 20815816 w 165"/>
                <a:gd name="T29" fmla="*/ 24547155 h 232"/>
                <a:gd name="T30" fmla="*/ 77129169 w 165"/>
                <a:gd name="T31" fmla="*/ 0 h 232"/>
                <a:gd name="T32" fmla="*/ 309548631 w 165"/>
                <a:gd name="T33" fmla="*/ 0 h 232"/>
                <a:gd name="T34" fmla="*/ 182772758 w 165"/>
                <a:gd name="T35" fmla="*/ 51413739 h 232"/>
                <a:gd name="T36" fmla="*/ 182772758 w 165"/>
                <a:gd name="T37" fmla="*/ 263208180 h 232"/>
                <a:gd name="T38" fmla="*/ 154391061 w 165"/>
                <a:gd name="T39" fmla="*/ 263208180 h 232"/>
                <a:gd name="T40" fmla="*/ 154391061 w 165"/>
                <a:gd name="T41" fmla="*/ 79781492 h 232"/>
                <a:gd name="T42" fmla="*/ 77129169 w 165"/>
                <a:gd name="T43" fmla="*/ 79781492 h 232"/>
                <a:gd name="T44" fmla="*/ 77129169 w 165"/>
                <a:gd name="T45" fmla="*/ 564828430 h 232"/>
                <a:gd name="T46" fmla="*/ 46283478 w 165"/>
                <a:gd name="T47" fmla="*/ 564828430 h 232"/>
                <a:gd name="T48" fmla="*/ 46283478 w 165"/>
                <a:gd name="T49" fmla="*/ 79781492 h 232"/>
                <a:gd name="T50" fmla="*/ 56311393 w 165"/>
                <a:gd name="T51" fmla="*/ 60526659 h 232"/>
                <a:gd name="T52" fmla="*/ 77129169 w 165"/>
                <a:gd name="T53" fmla="*/ 51413739 h 232"/>
                <a:gd name="T54" fmla="*/ 182772758 w 165"/>
                <a:gd name="T55" fmla="*/ 51413739 h 232"/>
                <a:gd name="T56" fmla="*/ 309548631 w 165"/>
                <a:gd name="T57" fmla="*/ 51413739 h 232"/>
                <a:gd name="T58" fmla="*/ 329989272 w 165"/>
                <a:gd name="T59" fmla="*/ 60526659 h 232"/>
                <a:gd name="T60" fmla="*/ 337199511 w 165"/>
                <a:gd name="T61" fmla="*/ 79781492 h 232"/>
                <a:gd name="T62" fmla="*/ 337199511 w 165"/>
                <a:gd name="T63" fmla="*/ 564828430 h 232"/>
                <a:gd name="T64" fmla="*/ 309548631 w 165"/>
                <a:gd name="T65" fmla="*/ 564828430 h 232"/>
                <a:gd name="T66" fmla="*/ 309548631 w 165"/>
                <a:gd name="T67" fmla="*/ 79781492 h 232"/>
                <a:gd name="T68" fmla="*/ 232402284 w 165"/>
                <a:gd name="T69" fmla="*/ 79781492 h 232"/>
                <a:gd name="T70" fmla="*/ 232402284 w 165"/>
                <a:gd name="T71" fmla="*/ 263208180 h 232"/>
                <a:gd name="T72" fmla="*/ 203534936 w 165"/>
                <a:gd name="T73" fmla="*/ 263208180 h 232"/>
                <a:gd name="T74" fmla="*/ 203534936 w 165"/>
                <a:gd name="T75" fmla="*/ 51413739 h 232"/>
                <a:gd name="T76" fmla="*/ 309548631 w 165"/>
                <a:gd name="T77" fmla="*/ 51413739 h 23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65" h="232">
                  <a:moveTo>
                    <a:pt x="132" y="0"/>
                  </a:moveTo>
                  <a:cubicBezTo>
                    <a:pt x="141" y="0"/>
                    <a:pt x="149" y="4"/>
                    <a:pt x="155" y="10"/>
                  </a:cubicBezTo>
                  <a:cubicBezTo>
                    <a:pt x="162" y="16"/>
                    <a:pt x="165" y="24"/>
                    <a:pt x="165" y="33"/>
                  </a:cubicBezTo>
                  <a:cubicBezTo>
                    <a:pt x="165" y="232"/>
                    <a:pt x="165" y="232"/>
                    <a:pt x="165" y="232"/>
                  </a:cubicBezTo>
                  <a:cubicBezTo>
                    <a:pt x="153" y="232"/>
                    <a:pt x="153" y="232"/>
                    <a:pt x="153" y="232"/>
                  </a:cubicBezTo>
                  <a:cubicBezTo>
                    <a:pt x="153" y="33"/>
                    <a:pt x="153" y="33"/>
                    <a:pt x="153" y="33"/>
                  </a:cubicBezTo>
                  <a:cubicBezTo>
                    <a:pt x="153" y="28"/>
                    <a:pt x="151" y="23"/>
                    <a:pt x="147" y="19"/>
                  </a:cubicBezTo>
                  <a:cubicBezTo>
                    <a:pt x="143" y="15"/>
                    <a:pt x="138" y="13"/>
                    <a:pt x="132" y="13"/>
                  </a:cubicBezTo>
                  <a:cubicBezTo>
                    <a:pt x="33" y="13"/>
                    <a:pt x="33" y="13"/>
                    <a:pt x="33" y="13"/>
                  </a:cubicBezTo>
                  <a:cubicBezTo>
                    <a:pt x="27" y="13"/>
                    <a:pt x="22" y="15"/>
                    <a:pt x="18" y="19"/>
                  </a:cubicBezTo>
                  <a:cubicBezTo>
                    <a:pt x="14" y="23"/>
                    <a:pt x="12" y="28"/>
                    <a:pt x="12" y="33"/>
                  </a:cubicBezTo>
                  <a:cubicBezTo>
                    <a:pt x="12" y="232"/>
                    <a:pt x="12" y="232"/>
                    <a:pt x="12" y="232"/>
                  </a:cubicBezTo>
                  <a:cubicBezTo>
                    <a:pt x="0" y="232"/>
                    <a:pt x="0" y="232"/>
                    <a:pt x="0" y="232"/>
                  </a:cubicBezTo>
                  <a:cubicBezTo>
                    <a:pt x="0" y="33"/>
                    <a:pt x="0" y="33"/>
                    <a:pt x="0" y="33"/>
                  </a:cubicBezTo>
                  <a:cubicBezTo>
                    <a:pt x="0" y="24"/>
                    <a:pt x="3" y="16"/>
                    <a:pt x="9" y="10"/>
                  </a:cubicBezTo>
                  <a:cubicBezTo>
                    <a:pt x="16" y="4"/>
                    <a:pt x="24" y="0"/>
                    <a:pt x="33" y="0"/>
                  </a:cubicBezTo>
                  <a:lnTo>
                    <a:pt x="132" y="0"/>
                  </a:lnTo>
                  <a:close/>
                  <a:moveTo>
                    <a:pt x="78" y="21"/>
                  </a:moveTo>
                  <a:cubicBezTo>
                    <a:pt x="78" y="108"/>
                    <a:pt x="78" y="108"/>
                    <a:pt x="78" y="108"/>
                  </a:cubicBezTo>
                  <a:cubicBezTo>
                    <a:pt x="66" y="108"/>
                    <a:pt x="66" y="108"/>
                    <a:pt x="66" y="108"/>
                  </a:cubicBezTo>
                  <a:cubicBezTo>
                    <a:pt x="66" y="33"/>
                    <a:pt x="66" y="33"/>
                    <a:pt x="66" y="33"/>
                  </a:cubicBezTo>
                  <a:cubicBezTo>
                    <a:pt x="33" y="33"/>
                    <a:pt x="33" y="33"/>
                    <a:pt x="33" y="33"/>
                  </a:cubicBezTo>
                  <a:cubicBezTo>
                    <a:pt x="33" y="232"/>
                    <a:pt x="33" y="232"/>
                    <a:pt x="33" y="232"/>
                  </a:cubicBezTo>
                  <a:cubicBezTo>
                    <a:pt x="20" y="232"/>
                    <a:pt x="20" y="232"/>
                    <a:pt x="20" y="232"/>
                  </a:cubicBezTo>
                  <a:cubicBezTo>
                    <a:pt x="20" y="33"/>
                    <a:pt x="20" y="33"/>
                    <a:pt x="20" y="33"/>
                  </a:cubicBezTo>
                  <a:cubicBezTo>
                    <a:pt x="20" y="30"/>
                    <a:pt x="21" y="27"/>
                    <a:pt x="24" y="25"/>
                  </a:cubicBezTo>
                  <a:cubicBezTo>
                    <a:pt x="26" y="22"/>
                    <a:pt x="29" y="21"/>
                    <a:pt x="33" y="21"/>
                  </a:cubicBezTo>
                  <a:lnTo>
                    <a:pt x="78" y="21"/>
                  </a:lnTo>
                  <a:close/>
                  <a:moveTo>
                    <a:pt x="132" y="21"/>
                  </a:moveTo>
                  <a:cubicBezTo>
                    <a:pt x="135" y="21"/>
                    <a:pt x="138" y="22"/>
                    <a:pt x="141" y="25"/>
                  </a:cubicBezTo>
                  <a:cubicBezTo>
                    <a:pt x="143" y="27"/>
                    <a:pt x="144" y="30"/>
                    <a:pt x="144" y="33"/>
                  </a:cubicBezTo>
                  <a:cubicBezTo>
                    <a:pt x="144" y="232"/>
                    <a:pt x="144" y="232"/>
                    <a:pt x="144" y="232"/>
                  </a:cubicBezTo>
                  <a:cubicBezTo>
                    <a:pt x="132" y="232"/>
                    <a:pt x="132" y="232"/>
                    <a:pt x="132" y="232"/>
                  </a:cubicBezTo>
                  <a:cubicBezTo>
                    <a:pt x="132" y="33"/>
                    <a:pt x="132" y="33"/>
                    <a:pt x="132" y="33"/>
                  </a:cubicBezTo>
                  <a:cubicBezTo>
                    <a:pt x="99" y="33"/>
                    <a:pt x="99" y="33"/>
                    <a:pt x="99" y="33"/>
                  </a:cubicBezTo>
                  <a:cubicBezTo>
                    <a:pt x="99" y="108"/>
                    <a:pt x="99" y="108"/>
                    <a:pt x="99" y="108"/>
                  </a:cubicBezTo>
                  <a:cubicBezTo>
                    <a:pt x="87" y="108"/>
                    <a:pt x="87" y="108"/>
                    <a:pt x="87" y="108"/>
                  </a:cubicBezTo>
                  <a:cubicBezTo>
                    <a:pt x="87" y="21"/>
                    <a:pt x="87" y="21"/>
                    <a:pt x="87" y="21"/>
                  </a:cubicBezTo>
                  <a:lnTo>
                    <a:pt x="132" y="21"/>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3" name="Freeform 14">
              <a:extLst>
                <a:ext uri="{FF2B5EF4-FFF2-40B4-BE49-F238E27FC236}">
                  <a16:creationId xmlns:a16="http://schemas.microsoft.com/office/drawing/2014/main" id="{6CECC562-71E1-31CE-2938-B42218A1DDBE}"/>
                </a:ext>
              </a:extLst>
            </p:cNvPr>
            <p:cNvSpPr>
              <a:spLocks noEditPoints="1"/>
            </p:cNvSpPr>
            <p:nvPr userDrawn="1"/>
          </p:nvSpPr>
          <p:spPr bwMode="auto">
            <a:xfrm>
              <a:off x="5412" y="2552"/>
              <a:ext cx="313" cy="551"/>
            </a:xfrm>
            <a:custGeom>
              <a:avLst/>
              <a:gdLst>
                <a:gd name="T0" fmla="*/ 234667157 w 132"/>
                <a:gd name="T1" fmla="*/ 0 h 232"/>
                <a:gd name="T2" fmla="*/ 291517195 w 132"/>
                <a:gd name="T3" fmla="*/ 24547155 h 232"/>
                <a:gd name="T4" fmla="*/ 312488786 w 132"/>
                <a:gd name="T5" fmla="*/ 79781492 h 232"/>
                <a:gd name="T6" fmla="*/ 312488786 w 132"/>
                <a:gd name="T7" fmla="*/ 202009418 h 232"/>
                <a:gd name="T8" fmla="*/ 291517195 w 132"/>
                <a:gd name="T9" fmla="*/ 258572736 h 232"/>
                <a:gd name="T10" fmla="*/ 234667157 w 132"/>
                <a:gd name="T11" fmla="*/ 283050061 h 232"/>
                <a:gd name="T12" fmla="*/ 77977488 w 132"/>
                <a:gd name="T13" fmla="*/ 283050061 h 232"/>
                <a:gd name="T14" fmla="*/ 77977488 w 132"/>
                <a:gd name="T15" fmla="*/ 564828430 h 232"/>
                <a:gd name="T16" fmla="*/ 46760663 w 132"/>
                <a:gd name="T17" fmla="*/ 564828430 h 232"/>
                <a:gd name="T18" fmla="*/ 46760663 w 132"/>
                <a:gd name="T19" fmla="*/ 253283286 h 232"/>
                <a:gd name="T20" fmla="*/ 234667157 w 132"/>
                <a:gd name="T21" fmla="*/ 253283286 h 232"/>
                <a:gd name="T22" fmla="*/ 269717845 w 132"/>
                <a:gd name="T23" fmla="*/ 238499835 h 232"/>
                <a:gd name="T24" fmla="*/ 284788810 w 132"/>
                <a:gd name="T25" fmla="*/ 202009418 h 232"/>
                <a:gd name="T26" fmla="*/ 284788810 w 132"/>
                <a:gd name="T27" fmla="*/ 79781492 h 232"/>
                <a:gd name="T28" fmla="*/ 269717845 w 132"/>
                <a:gd name="T29" fmla="*/ 46120372 h 232"/>
                <a:gd name="T30" fmla="*/ 234667157 w 132"/>
                <a:gd name="T31" fmla="*/ 31976658 h 232"/>
                <a:gd name="T32" fmla="*/ 115836743 w 132"/>
                <a:gd name="T33" fmla="*/ 31976658 h 232"/>
                <a:gd name="T34" fmla="*/ 54699961 w 132"/>
                <a:gd name="T35" fmla="*/ 58299493 h 232"/>
                <a:gd name="T36" fmla="*/ 27860863 w 132"/>
                <a:gd name="T37" fmla="*/ 122107630 h 232"/>
                <a:gd name="T38" fmla="*/ 27860863 w 132"/>
                <a:gd name="T39" fmla="*/ 564828430 h 232"/>
                <a:gd name="T40" fmla="*/ 0 w 132"/>
                <a:gd name="T41" fmla="*/ 564828430 h 232"/>
                <a:gd name="T42" fmla="*/ 0 w 132"/>
                <a:gd name="T43" fmla="*/ 122107630 h 232"/>
                <a:gd name="T44" fmla="*/ 32885075 w 132"/>
                <a:gd name="T45" fmla="*/ 37103839 h 232"/>
                <a:gd name="T46" fmla="*/ 115836743 w 132"/>
                <a:gd name="T47" fmla="*/ 0 h 232"/>
                <a:gd name="T48" fmla="*/ 234667157 w 132"/>
                <a:gd name="T49" fmla="*/ 0 h 232"/>
                <a:gd name="T50" fmla="*/ 262918698 w 132"/>
                <a:gd name="T51" fmla="*/ 202009418 h 232"/>
                <a:gd name="T52" fmla="*/ 255645496 w 132"/>
                <a:gd name="T53" fmla="*/ 224358826 h 232"/>
                <a:gd name="T54" fmla="*/ 234667157 w 132"/>
                <a:gd name="T55" fmla="*/ 233836064 h 232"/>
                <a:gd name="T56" fmla="*/ 46760663 w 132"/>
                <a:gd name="T57" fmla="*/ 233836064 h 232"/>
                <a:gd name="T58" fmla="*/ 46760663 w 132"/>
                <a:gd name="T59" fmla="*/ 122107630 h 232"/>
                <a:gd name="T60" fmla="*/ 69064519 w 132"/>
                <a:gd name="T61" fmla="*/ 70832843 h 232"/>
                <a:gd name="T62" fmla="*/ 115836743 w 132"/>
                <a:gd name="T63" fmla="*/ 51413739 h 232"/>
                <a:gd name="T64" fmla="*/ 234667157 w 132"/>
                <a:gd name="T65" fmla="*/ 51413739 h 232"/>
                <a:gd name="T66" fmla="*/ 255645496 w 132"/>
                <a:gd name="T67" fmla="*/ 60526659 h 232"/>
                <a:gd name="T68" fmla="*/ 262918698 w 132"/>
                <a:gd name="T69" fmla="*/ 79781492 h 232"/>
                <a:gd name="T70" fmla="*/ 262918698 w 132"/>
                <a:gd name="T71" fmla="*/ 202009418 h 232"/>
                <a:gd name="T72" fmla="*/ 77977488 w 132"/>
                <a:gd name="T73" fmla="*/ 202009418 h 232"/>
                <a:gd name="T74" fmla="*/ 234667157 w 132"/>
                <a:gd name="T75" fmla="*/ 202009418 h 232"/>
                <a:gd name="T76" fmla="*/ 234667157 w 132"/>
                <a:gd name="T77" fmla="*/ 79781492 h 232"/>
                <a:gd name="T78" fmla="*/ 115836743 w 132"/>
                <a:gd name="T79" fmla="*/ 79781492 h 232"/>
                <a:gd name="T80" fmla="*/ 89678239 w 132"/>
                <a:gd name="T81" fmla="*/ 92335711 h 232"/>
                <a:gd name="T82" fmla="*/ 77977488 w 132"/>
                <a:gd name="T83" fmla="*/ 122107630 h 232"/>
                <a:gd name="T84" fmla="*/ 77977488 w 132"/>
                <a:gd name="T85" fmla="*/ 202009418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99" y="0"/>
                  </a:moveTo>
                  <a:cubicBezTo>
                    <a:pt x="108" y="0"/>
                    <a:pt x="116" y="4"/>
                    <a:pt x="123" y="10"/>
                  </a:cubicBezTo>
                  <a:cubicBezTo>
                    <a:pt x="129" y="16"/>
                    <a:pt x="132" y="24"/>
                    <a:pt x="132" y="33"/>
                  </a:cubicBezTo>
                  <a:cubicBezTo>
                    <a:pt x="132" y="83"/>
                    <a:pt x="132" y="83"/>
                    <a:pt x="132" y="83"/>
                  </a:cubicBezTo>
                  <a:cubicBezTo>
                    <a:pt x="132" y="92"/>
                    <a:pt x="129" y="100"/>
                    <a:pt x="123" y="106"/>
                  </a:cubicBezTo>
                  <a:cubicBezTo>
                    <a:pt x="116" y="113"/>
                    <a:pt x="108" y="116"/>
                    <a:pt x="99" y="116"/>
                  </a:cubicBezTo>
                  <a:cubicBezTo>
                    <a:pt x="33" y="116"/>
                    <a:pt x="33" y="116"/>
                    <a:pt x="33" y="116"/>
                  </a:cubicBezTo>
                  <a:cubicBezTo>
                    <a:pt x="33" y="232"/>
                    <a:pt x="33" y="232"/>
                    <a:pt x="33" y="232"/>
                  </a:cubicBezTo>
                  <a:cubicBezTo>
                    <a:pt x="20" y="232"/>
                    <a:pt x="20" y="232"/>
                    <a:pt x="20" y="232"/>
                  </a:cubicBezTo>
                  <a:cubicBezTo>
                    <a:pt x="20" y="104"/>
                    <a:pt x="20" y="104"/>
                    <a:pt x="20" y="104"/>
                  </a:cubicBezTo>
                  <a:cubicBezTo>
                    <a:pt x="99" y="104"/>
                    <a:pt x="99" y="104"/>
                    <a:pt x="99" y="104"/>
                  </a:cubicBezTo>
                  <a:cubicBezTo>
                    <a:pt x="105" y="104"/>
                    <a:pt x="110" y="102"/>
                    <a:pt x="114" y="98"/>
                  </a:cubicBezTo>
                  <a:cubicBezTo>
                    <a:pt x="118" y="94"/>
                    <a:pt x="120" y="89"/>
                    <a:pt x="120" y="83"/>
                  </a:cubicBezTo>
                  <a:cubicBezTo>
                    <a:pt x="120" y="33"/>
                    <a:pt x="120" y="33"/>
                    <a:pt x="120" y="33"/>
                  </a:cubicBezTo>
                  <a:cubicBezTo>
                    <a:pt x="120" y="28"/>
                    <a:pt x="118" y="23"/>
                    <a:pt x="114" y="19"/>
                  </a:cubicBezTo>
                  <a:cubicBezTo>
                    <a:pt x="110" y="15"/>
                    <a:pt x="105" y="13"/>
                    <a:pt x="99" y="13"/>
                  </a:cubicBezTo>
                  <a:cubicBezTo>
                    <a:pt x="49" y="13"/>
                    <a:pt x="49" y="13"/>
                    <a:pt x="49" y="13"/>
                  </a:cubicBezTo>
                  <a:cubicBezTo>
                    <a:pt x="39" y="13"/>
                    <a:pt x="30" y="16"/>
                    <a:pt x="23" y="24"/>
                  </a:cubicBezTo>
                  <a:cubicBezTo>
                    <a:pt x="16" y="31"/>
                    <a:pt x="12" y="40"/>
                    <a:pt x="12" y="50"/>
                  </a:cubicBezTo>
                  <a:cubicBezTo>
                    <a:pt x="12" y="232"/>
                    <a:pt x="12" y="232"/>
                    <a:pt x="12" y="232"/>
                  </a:cubicBezTo>
                  <a:cubicBezTo>
                    <a:pt x="0" y="232"/>
                    <a:pt x="0" y="232"/>
                    <a:pt x="0" y="232"/>
                  </a:cubicBezTo>
                  <a:cubicBezTo>
                    <a:pt x="0" y="50"/>
                    <a:pt x="0" y="50"/>
                    <a:pt x="0" y="50"/>
                  </a:cubicBezTo>
                  <a:cubicBezTo>
                    <a:pt x="0" y="36"/>
                    <a:pt x="5" y="25"/>
                    <a:pt x="14" y="15"/>
                  </a:cubicBezTo>
                  <a:cubicBezTo>
                    <a:pt x="24" y="5"/>
                    <a:pt x="36" y="0"/>
                    <a:pt x="49" y="0"/>
                  </a:cubicBezTo>
                  <a:lnTo>
                    <a:pt x="99" y="0"/>
                  </a:lnTo>
                  <a:close/>
                  <a:moveTo>
                    <a:pt x="111" y="83"/>
                  </a:moveTo>
                  <a:cubicBezTo>
                    <a:pt x="111" y="87"/>
                    <a:pt x="110" y="89"/>
                    <a:pt x="108" y="92"/>
                  </a:cubicBezTo>
                  <a:cubicBezTo>
                    <a:pt x="105" y="94"/>
                    <a:pt x="102" y="96"/>
                    <a:pt x="99" y="96"/>
                  </a:cubicBezTo>
                  <a:cubicBezTo>
                    <a:pt x="20" y="96"/>
                    <a:pt x="20" y="96"/>
                    <a:pt x="20" y="96"/>
                  </a:cubicBezTo>
                  <a:cubicBezTo>
                    <a:pt x="20" y="50"/>
                    <a:pt x="20" y="50"/>
                    <a:pt x="20" y="50"/>
                  </a:cubicBezTo>
                  <a:cubicBezTo>
                    <a:pt x="20" y="42"/>
                    <a:pt x="23" y="35"/>
                    <a:pt x="29" y="29"/>
                  </a:cubicBezTo>
                  <a:cubicBezTo>
                    <a:pt x="35" y="24"/>
                    <a:pt x="41" y="21"/>
                    <a:pt x="49" y="21"/>
                  </a:cubicBezTo>
                  <a:cubicBezTo>
                    <a:pt x="99" y="21"/>
                    <a:pt x="99" y="21"/>
                    <a:pt x="99" y="21"/>
                  </a:cubicBezTo>
                  <a:cubicBezTo>
                    <a:pt x="102" y="21"/>
                    <a:pt x="105" y="22"/>
                    <a:pt x="108" y="25"/>
                  </a:cubicBezTo>
                  <a:cubicBezTo>
                    <a:pt x="110" y="27"/>
                    <a:pt x="111" y="30"/>
                    <a:pt x="111" y="33"/>
                  </a:cubicBezTo>
                  <a:lnTo>
                    <a:pt x="111" y="83"/>
                  </a:lnTo>
                  <a:close/>
                  <a:moveTo>
                    <a:pt x="33" y="83"/>
                  </a:moveTo>
                  <a:cubicBezTo>
                    <a:pt x="99" y="83"/>
                    <a:pt x="99" y="83"/>
                    <a:pt x="99" y="83"/>
                  </a:cubicBezTo>
                  <a:cubicBezTo>
                    <a:pt x="99" y="33"/>
                    <a:pt x="99" y="33"/>
                    <a:pt x="99" y="33"/>
                  </a:cubicBezTo>
                  <a:cubicBezTo>
                    <a:pt x="49" y="33"/>
                    <a:pt x="49" y="33"/>
                    <a:pt x="49" y="33"/>
                  </a:cubicBezTo>
                  <a:cubicBezTo>
                    <a:pt x="45" y="33"/>
                    <a:pt x="41" y="35"/>
                    <a:pt x="38" y="38"/>
                  </a:cubicBezTo>
                  <a:cubicBezTo>
                    <a:pt x="34" y="42"/>
                    <a:pt x="33" y="45"/>
                    <a:pt x="33" y="50"/>
                  </a:cubicBezTo>
                  <a:lnTo>
                    <a:pt x="33" y="83"/>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5">
              <a:extLst>
                <a:ext uri="{FF2B5EF4-FFF2-40B4-BE49-F238E27FC236}">
                  <a16:creationId xmlns:a16="http://schemas.microsoft.com/office/drawing/2014/main" id="{E4634352-7BA2-7C46-3188-56F5C80AFA17}"/>
                </a:ext>
              </a:extLst>
            </p:cNvPr>
            <p:cNvSpPr>
              <a:spLocks noEditPoints="1"/>
            </p:cNvSpPr>
            <p:nvPr userDrawn="1"/>
          </p:nvSpPr>
          <p:spPr bwMode="auto">
            <a:xfrm>
              <a:off x="5774" y="2552"/>
              <a:ext cx="312" cy="551"/>
            </a:xfrm>
            <a:custGeom>
              <a:avLst/>
              <a:gdLst>
                <a:gd name="T0" fmla="*/ 26510905 w 132"/>
                <a:gd name="T1" fmla="*/ 442759715 h 232"/>
                <a:gd name="T2" fmla="*/ 51443210 w 132"/>
                <a:gd name="T3" fmla="*/ 508305993 h 232"/>
                <a:gd name="T4" fmla="*/ 110103249 w 132"/>
                <a:gd name="T5" fmla="*/ 535913430 h 232"/>
                <a:gd name="T6" fmla="*/ 295891719 w 132"/>
                <a:gd name="T7" fmla="*/ 535913430 h 232"/>
                <a:gd name="T8" fmla="*/ 295891719 w 132"/>
                <a:gd name="T9" fmla="*/ 564828430 h 232"/>
                <a:gd name="T10" fmla="*/ 110103249 w 132"/>
                <a:gd name="T11" fmla="*/ 564828430 h 232"/>
                <a:gd name="T12" fmla="*/ 31262608 w 132"/>
                <a:gd name="T13" fmla="*/ 527724589 h 232"/>
                <a:gd name="T14" fmla="*/ 0 w 132"/>
                <a:gd name="T15" fmla="*/ 442759715 h 232"/>
                <a:gd name="T16" fmla="*/ 0 w 132"/>
                <a:gd name="T17" fmla="*/ 0 h 232"/>
                <a:gd name="T18" fmla="*/ 26510905 w 132"/>
                <a:gd name="T19" fmla="*/ 0 h 232"/>
                <a:gd name="T20" fmla="*/ 26510905 w 132"/>
                <a:gd name="T21" fmla="*/ 442759715 h 232"/>
                <a:gd name="T22" fmla="*/ 295891719 w 132"/>
                <a:gd name="T23" fmla="*/ 484506888 h 232"/>
                <a:gd name="T24" fmla="*/ 295891719 w 132"/>
                <a:gd name="T25" fmla="*/ 513431020 h 232"/>
                <a:gd name="T26" fmla="*/ 110103249 w 132"/>
                <a:gd name="T27" fmla="*/ 513431020 h 232"/>
                <a:gd name="T28" fmla="*/ 65404189 w 132"/>
                <a:gd name="T29" fmla="*/ 494012295 h 232"/>
                <a:gd name="T30" fmla="*/ 44482705 w 132"/>
                <a:gd name="T31" fmla="*/ 442759715 h 232"/>
                <a:gd name="T32" fmla="*/ 44482705 w 132"/>
                <a:gd name="T33" fmla="*/ 0 h 232"/>
                <a:gd name="T34" fmla="*/ 73893437 w 132"/>
                <a:gd name="T35" fmla="*/ 0 h 232"/>
                <a:gd name="T36" fmla="*/ 73893437 w 132"/>
                <a:gd name="T37" fmla="*/ 442759715 h 232"/>
                <a:gd name="T38" fmla="*/ 85443339 w 132"/>
                <a:gd name="T39" fmla="*/ 472485538 h 232"/>
                <a:gd name="T40" fmla="*/ 110103249 w 132"/>
                <a:gd name="T41" fmla="*/ 484506888 h 232"/>
                <a:gd name="T42" fmla="*/ 295891719 w 132"/>
                <a:gd name="T43" fmla="*/ 484506888 h 2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2" h="232">
                  <a:moveTo>
                    <a:pt x="12" y="182"/>
                  </a:moveTo>
                  <a:cubicBezTo>
                    <a:pt x="12" y="193"/>
                    <a:pt x="16" y="201"/>
                    <a:pt x="23" y="209"/>
                  </a:cubicBezTo>
                  <a:cubicBezTo>
                    <a:pt x="30" y="216"/>
                    <a:pt x="39" y="220"/>
                    <a:pt x="49" y="220"/>
                  </a:cubicBezTo>
                  <a:cubicBezTo>
                    <a:pt x="132" y="220"/>
                    <a:pt x="132" y="220"/>
                    <a:pt x="132" y="220"/>
                  </a:cubicBezTo>
                  <a:cubicBezTo>
                    <a:pt x="132" y="232"/>
                    <a:pt x="132" y="232"/>
                    <a:pt x="132" y="232"/>
                  </a:cubicBezTo>
                  <a:cubicBezTo>
                    <a:pt x="49" y="232"/>
                    <a:pt x="49" y="232"/>
                    <a:pt x="49" y="232"/>
                  </a:cubicBezTo>
                  <a:cubicBezTo>
                    <a:pt x="36" y="232"/>
                    <a:pt x="24" y="227"/>
                    <a:pt x="14" y="217"/>
                  </a:cubicBezTo>
                  <a:cubicBezTo>
                    <a:pt x="4" y="208"/>
                    <a:pt x="0" y="196"/>
                    <a:pt x="0" y="182"/>
                  </a:cubicBezTo>
                  <a:cubicBezTo>
                    <a:pt x="0" y="0"/>
                    <a:pt x="0" y="0"/>
                    <a:pt x="0" y="0"/>
                  </a:cubicBezTo>
                  <a:cubicBezTo>
                    <a:pt x="12" y="0"/>
                    <a:pt x="12" y="0"/>
                    <a:pt x="12" y="0"/>
                  </a:cubicBezTo>
                  <a:lnTo>
                    <a:pt x="12" y="182"/>
                  </a:lnTo>
                  <a:close/>
                  <a:moveTo>
                    <a:pt x="132" y="199"/>
                  </a:moveTo>
                  <a:cubicBezTo>
                    <a:pt x="132" y="211"/>
                    <a:pt x="132" y="211"/>
                    <a:pt x="132" y="211"/>
                  </a:cubicBezTo>
                  <a:cubicBezTo>
                    <a:pt x="49" y="211"/>
                    <a:pt x="49" y="211"/>
                    <a:pt x="49" y="211"/>
                  </a:cubicBezTo>
                  <a:cubicBezTo>
                    <a:pt x="41" y="211"/>
                    <a:pt x="34" y="209"/>
                    <a:pt x="29" y="203"/>
                  </a:cubicBezTo>
                  <a:cubicBezTo>
                    <a:pt x="23" y="197"/>
                    <a:pt x="20" y="190"/>
                    <a:pt x="20" y="182"/>
                  </a:cubicBezTo>
                  <a:cubicBezTo>
                    <a:pt x="20" y="0"/>
                    <a:pt x="20" y="0"/>
                    <a:pt x="20" y="0"/>
                  </a:cubicBezTo>
                  <a:cubicBezTo>
                    <a:pt x="33" y="0"/>
                    <a:pt x="33" y="0"/>
                    <a:pt x="33" y="0"/>
                  </a:cubicBezTo>
                  <a:cubicBezTo>
                    <a:pt x="33" y="182"/>
                    <a:pt x="33" y="182"/>
                    <a:pt x="33" y="182"/>
                  </a:cubicBezTo>
                  <a:cubicBezTo>
                    <a:pt x="33" y="187"/>
                    <a:pt x="34" y="191"/>
                    <a:pt x="38" y="194"/>
                  </a:cubicBezTo>
                  <a:cubicBezTo>
                    <a:pt x="41" y="197"/>
                    <a:pt x="45" y="199"/>
                    <a:pt x="49" y="199"/>
                  </a:cubicBezTo>
                  <a:lnTo>
                    <a:pt x="132" y="199"/>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5" name="Freeform 16">
              <a:extLst>
                <a:ext uri="{FF2B5EF4-FFF2-40B4-BE49-F238E27FC236}">
                  <a16:creationId xmlns:a16="http://schemas.microsoft.com/office/drawing/2014/main" id="{CCBC9D46-69B6-E708-7B09-307FF77630D3}"/>
                </a:ext>
              </a:extLst>
            </p:cNvPr>
            <p:cNvSpPr>
              <a:spLocks noEditPoints="1"/>
            </p:cNvSpPr>
            <p:nvPr userDrawn="1"/>
          </p:nvSpPr>
          <p:spPr bwMode="auto">
            <a:xfrm>
              <a:off x="6120" y="2552"/>
              <a:ext cx="331" cy="551"/>
            </a:xfrm>
            <a:custGeom>
              <a:avLst/>
              <a:gdLst>
                <a:gd name="T0" fmla="*/ 315628455 w 140"/>
                <a:gd name="T1" fmla="*/ 0 h 232"/>
                <a:gd name="T2" fmla="*/ 315628455 w 140"/>
                <a:gd name="T3" fmla="*/ 564828430 h 232"/>
                <a:gd name="T4" fmla="*/ 288722604 w 140"/>
                <a:gd name="T5" fmla="*/ 564828430 h 232"/>
                <a:gd name="T6" fmla="*/ 288722604 w 140"/>
                <a:gd name="T7" fmla="*/ 31976658 h 232"/>
                <a:gd name="T8" fmla="*/ 110489077 w 140"/>
                <a:gd name="T9" fmla="*/ 31976658 h 232"/>
                <a:gd name="T10" fmla="*/ 51651254 w 140"/>
                <a:gd name="T11" fmla="*/ 58299493 h 232"/>
                <a:gd name="T12" fmla="*/ 26606139 w 140"/>
                <a:gd name="T13" fmla="*/ 122107630 h 232"/>
                <a:gd name="T14" fmla="*/ 26606139 w 140"/>
                <a:gd name="T15" fmla="*/ 564828430 h 232"/>
                <a:gd name="T16" fmla="*/ 0 w 140"/>
                <a:gd name="T17" fmla="*/ 564828430 h 232"/>
                <a:gd name="T18" fmla="*/ 0 w 140"/>
                <a:gd name="T19" fmla="*/ 122107630 h 232"/>
                <a:gd name="T20" fmla="*/ 31354195 w 140"/>
                <a:gd name="T21" fmla="*/ 37103839 h 232"/>
                <a:gd name="T22" fmla="*/ 110489077 w 140"/>
                <a:gd name="T23" fmla="*/ 0 h 232"/>
                <a:gd name="T24" fmla="*/ 315628455 w 140"/>
                <a:gd name="T25" fmla="*/ 0 h 232"/>
                <a:gd name="T26" fmla="*/ 44631525 w 140"/>
                <a:gd name="T27" fmla="*/ 122107630 h 232"/>
                <a:gd name="T28" fmla="*/ 65649001 w 140"/>
                <a:gd name="T29" fmla="*/ 70832843 h 232"/>
                <a:gd name="T30" fmla="*/ 110489077 w 140"/>
                <a:gd name="T31" fmla="*/ 51413739 h 232"/>
                <a:gd name="T32" fmla="*/ 270477527 w 140"/>
                <a:gd name="T33" fmla="*/ 51413739 h 232"/>
                <a:gd name="T34" fmla="*/ 270477527 w 140"/>
                <a:gd name="T35" fmla="*/ 233836064 h 232"/>
                <a:gd name="T36" fmla="*/ 44631525 w 140"/>
                <a:gd name="T37" fmla="*/ 233836064 h 232"/>
                <a:gd name="T38" fmla="*/ 44631525 w 140"/>
                <a:gd name="T39" fmla="*/ 122107630 h 232"/>
                <a:gd name="T40" fmla="*/ 270477527 w 140"/>
                <a:gd name="T41" fmla="*/ 253283286 h 232"/>
                <a:gd name="T42" fmla="*/ 270477527 w 140"/>
                <a:gd name="T43" fmla="*/ 564828430 h 232"/>
                <a:gd name="T44" fmla="*/ 241121972 w 140"/>
                <a:gd name="T45" fmla="*/ 564828430 h 232"/>
                <a:gd name="T46" fmla="*/ 241121972 w 140"/>
                <a:gd name="T47" fmla="*/ 283050061 h 232"/>
                <a:gd name="T48" fmla="*/ 74130275 w 140"/>
                <a:gd name="T49" fmla="*/ 283050061 h 232"/>
                <a:gd name="T50" fmla="*/ 74130275 w 140"/>
                <a:gd name="T51" fmla="*/ 564828430 h 232"/>
                <a:gd name="T52" fmla="*/ 44631525 w 140"/>
                <a:gd name="T53" fmla="*/ 564828430 h 232"/>
                <a:gd name="T54" fmla="*/ 44631525 w 140"/>
                <a:gd name="T55" fmla="*/ 253283286 h 232"/>
                <a:gd name="T56" fmla="*/ 270477527 w 140"/>
                <a:gd name="T57" fmla="*/ 253283286 h 232"/>
                <a:gd name="T58" fmla="*/ 241121972 w 140"/>
                <a:gd name="T59" fmla="*/ 79781492 h 232"/>
                <a:gd name="T60" fmla="*/ 110489077 w 140"/>
                <a:gd name="T61" fmla="*/ 79781492 h 232"/>
                <a:gd name="T62" fmla="*/ 85974132 w 140"/>
                <a:gd name="T63" fmla="*/ 92335711 h 232"/>
                <a:gd name="T64" fmla="*/ 74130275 w 140"/>
                <a:gd name="T65" fmla="*/ 122107630 h 232"/>
                <a:gd name="T66" fmla="*/ 74130275 w 140"/>
                <a:gd name="T67" fmla="*/ 202009418 h 232"/>
                <a:gd name="T68" fmla="*/ 241121972 w 140"/>
                <a:gd name="T69" fmla="*/ 202009418 h 232"/>
                <a:gd name="T70" fmla="*/ 241121972 w 140"/>
                <a:gd name="T71" fmla="*/ 79781492 h 23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40" h="232">
                  <a:moveTo>
                    <a:pt x="140" y="0"/>
                  </a:moveTo>
                  <a:cubicBezTo>
                    <a:pt x="140" y="232"/>
                    <a:pt x="140" y="232"/>
                    <a:pt x="140" y="232"/>
                  </a:cubicBezTo>
                  <a:cubicBezTo>
                    <a:pt x="128" y="232"/>
                    <a:pt x="128" y="232"/>
                    <a:pt x="128" y="232"/>
                  </a:cubicBezTo>
                  <a:cubicBezTo>
                    <a:pt x="128" y="13"/>
                    <a:pt x="128" y="13"/>
                    <a:pt x="128" y="13"/>
                  </a:cubicBezTo>
                  <a:cubicBezTo>
                    <a:pt x="49" y="13"/>
                    <a:pt x="49" y="13"/>
                    <a:pt x="49" y="13"/>
                  </a:cubicBezTo>
                  <a:cubicBezTo>
                    <a:pt x="39" y="13"/>
                    <a:pt x="30" y="16"/>
                    <a:pt x="23" y="24"/>
                  </a:cubicBezTo>
                  <a:cubicBezTo>
                    <a:pt x="16" y="31"/>
                    <a:pt x="12" y="40"/>
                    <a:pt x="12" y="50"/>
                  </a:cubicBezTo>
                  <a:cubicBezTo>
                    <a:pt x="12" y="232"/>
                    <a:pt x="12" y="232"/>
                    <a:pt x="12" y="232"/>
                  </a:cubicBezTo>
                  <a:cubicBezTo>
                    <a:pt x="0" y="232"/>
                    <a:pt x="0" y="232"/>
                    <a:pt x="0" y="232"/>
                  </a:cubicBezTo>
                  <a:cubicBezTo>
                    <a:pt x="0" y="50"/>
                    <a:pt x="0" y="50"/>
                    <a:pt x="0" y="50"/>
                  </a:cubicBezTo>
                  <a:cubicBezTo>
                    <a:pt x="0" y="36"/>
                    <a:pt x="5" y="25"/>
                    <a:pt x="14" y="15"/>
                  </a:cubicBezTo>
                  <a:cubicBezTo>
                    <a:pt x="24" y="5"/>
                    <a:pt x="36" y="0"/>
                    <a:pt x="49" y="0"/>
                  </a:cubicBezTo>
                  <a:lnTo>
                    <a:pt x="140" y="0"/>
                  </a:lnTo>
                  <a:close/>
                  <a:moveTo>
                    <a:pt x="20" y="50"/>
                  </a:moveTo>
                  <a:cubicBezTo>
                    <a:pt x="20" y="42"/>
                    <a:pt x="23" y="35"/>
                    <a:pt x="29" y="29"/>
                  </a:cubicBezTo>
                  <a:cubicBezTo>
                    <a:pt x="35" y="24"/>
                    <a:pt x="41" y="21"/>
                    <a:pt x="49" y="21"/>
                  </a:cubicBezTo>
                  <a:cubicBezTo>
                    <a:pt x="120" y="21"/>
                    <a:pt x="120" y="21"/>
                    <a:pt x="120" y="21"/>
                  </a:cubicBezTo>
                  <a:cubicBezTo>
                    <a:pt x="120" y="96"/>
                    <a:pt x="120" y="96"/>
                    <a:pt x="120" y="96"/>
                  </a:cubicBezTo>
                  <a:cubicBezTo>
                    <a:pt x="20" y="96"/>
                    <a:pt x="20" y="96"/>
                    <a:pt x="20" y="96"/>
                  </a:cubicBezTo>
                  <a:lnTo>
                    <a:pt x="20" y="50"/>
                  </a:lnTo>
                  <a:close/>
                  <a:moveTo>
                    <a:pt x="120" y="104"/>
                  </a:moveTo>
                  <a:cubicBezTo>
                    <a:pt x="120" y="232"/>
                    <a:pt x="120" y="232"/>
                    <a:pt x="120" y="232"/>
                  </a:cubicBezTo>
                  <a:cubicBezTo>
                    <a:pt x="107" y="232"/>
                    <a:pt x="107" y="232"/>
                    <a:pt x="107" y="232"/>
                  </a:cubicBezTo>
                  <a:cubicBezTo>
                    <a:pt x="107" y="116"/>
                    <a:pt x="107" y="116"/>
                    <a:pt x="107" y="116"/>
                  </a:cubicBezTo>
                  <a:cubicBezTo>
                    <a:pt x="33" y="116"/>
                    <a:pt x="33" y="116"/>
                    <a:pt x="33" y="116"/>
                  </a:cubicBezTo>
                  <a:cubicBezTo>
                    <a:pt x="33" y="232"/>
                    <a:pt x="33" y="232"/>
                    <a:pt x="33" y="232"/>
                  </a:cubicBezTo>
                  <a:cubicBezTo>
                    <a:pt x="20" y="232"/>
                    <a:pt x="20" y="232"/>
                    <a:pt x="20" y="232"/>
                  </a:cubicBezTo>
                  <a:cubicBezTo>
                    <a:pt x="20" y="104"/>
                    <a:pt x="20" y="104"/>
                    <a:pt x="20" y="104"/>
                  </a:cubicBezTo>
                  <a:lnTo>
                    <a:pt x="120" y="104"/>
                  </a:lnTo>
                  <a:close/>
                  <a:moveTo>
                    <a:pt x="107" y="33"/>
                  </a:moveTo>
                  <a:cubicBezTo>
                    <a:pt x="49" y="33"/>
                    <a:pt x="49" y="33"/>
                    <a:pt x="49" y="33"/>
                  </a:cubicBezTo>
                  <a:cubicBezTo>
                    <a:pt x="45" y="33"/>
                    <a:pt x="41" y="35"/>
                    <a:pt x="38" y="38"/>
                  </a:cubicBezTo>
                  <a:cubicBezTo>
                    <a:pt x="34" y="42"/>
                    <a:pt x="33" y="45"/>
                    <a:pt x="33" y="50"/>
                  </a:cubicBezTo>
                  <a:cubicBezTo>
                    <a:pt x="33" y="83"/>
                    <a:pt x="33" y="83"/>
                    <a:pt x="33" y="83"/>
                  </a:cubicBezTo>
                  <a:cubicBezTo>
                    <a:pt x="107" y="83"/>
                    <a:pt x="107" y="83"/>
                    <a:pt x="107" y="83"/>
                  </a:cubicBezTo>
                  <a:lnTo>
                    <a:pt x="107" y="33"/>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6" name="Freeform 17">
              <a:extLst>
                <a:ext uri="{FF2B5EF4-FFF2-40B4-BE49-F238E27FC236}">
                  <a16:creationId xmlns:a16="http://schemas.microsoft.com/office/drawing/2014/main" id="{36106978-5F8B-376A-D5A4-E44036F389EF}"/>
                </a:ext>
              </a:extLst>
            </p:cNvPr>
            <p:cNvSpPr>
              <a:spLocks noEditPoints="1"/>
            </p:cNvSpPr>
            <p:nvPr userDrawn="1"/>
          </p:nvSpPr>
          <p:spPr bwMode="auto">
            <a:xfrm>
              <a:off x="6517" y="2552"/>
              <a:ext cx="331" cy="551"/>
            </a:xfrm>
            <a:custGeom>
              <a:avLst/>
              <a:gdLst>
                <a:gd name="T0" fmla="*/ 0 w 331"/>
                <a:gd name="T1" fmla="*/ 0 h 551"/>
                <a:gd name="T2" fmla="*/ 331 w 331"/>
                <a:gd name="T3" fmla="*/ 0 h 551"/>
                <a:gd name="T4" fmla="*/ 331 w 331"/>
                <a:gd name="T5" fmla="*/ 31 h 551"/>
                <a:gd name="T6" fmla="*/ 0 w 331"/>
                <a:gd name="T7" fmla="*/ 31 h 551"/>
                <a:gd name="T8" fmla="*/ 0 w 331"/>
                <a:gd name="T9" fmla="*/ 0 h 551"/>
                <a:gd name="T10" fmla="*/ 156 w 331"/>
                <a:gd name="T11" fmla="*/ 50 h 551"/>
                <a:gd name="T12" fmla="*/ 156 w 331"/>
                <a:gd name="T13" fmla="*/ 551 h 551"/>
                <a:gd name="T14" fmla="*/ 128 w 331"/>
                <a:gd name="T15" fmla="*/ 551 h 551"/>
                <a:gd name="T16" fmla="*/ 128 w 331"/>
                <a:gd name="T17" fmla="*/ 79 h 551"/>
                <a:gd name="T18" fmla="*/ 0 w 331"/>
                <a:gd name="T19" fmla="*/ 79 h 551"/>
                <a:gd name="T20" fmla="*/ 0 w 331"/>
                <a:gd name="T21" fmla="*/ 50 h 551"/>
                <a:gd name="T22" fmla="*/ 156 w 331"/>
                <a:gd name="T23" fmla="*/ 50 h 551"/>
                <a:gd name="T24" fmla="*/ 331 w 331"/>
                <a:gd name="T25" fmla="*/ 50 h 551"/>
                <a:gd name="T26" fmla="*/ 331 w 331"/>
                <a:gd name="T27" fmla="*/ 79 h 551"/>
                <a:gd name="T28" fmla="*/ 206 w 331"/>
                <a:gd name="T29" fmla="*/ 79 h 551"/>
                <a:gd name="T30" fmla="*/ 206 w 331"/>
                <a:gd name="T31" fmla="*/ 551 h 551"/>
                <a:gd name="T32" fmla="*/ 175 w 331"/>
                <a:gd name="T33" fmla="*/ 551 h 551"/>
                <a:gd name="T34" fmla="*/ 175 w 331"/>
                <a:gd name="T35" fmla="*/ 50 h 551"/>
                <a:gd name="T36" fmla="*/ 331 w 331"/>
                <a:gd name="T37" fmla="*/ 50 h 5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31" h="551">
                  <a:moveTo>
                    <a:pt x="0" y="0"/>
                  </a:moveTo>
                  <a:lnTo>
                    <a:pt x="331" y="0"/>
                  </a:lnTo>
                  <a:lnTo>
                    <a:pt x="331" y="31"/>
                  </a:lnTo>
                  <a:lnTo>
                    <a:pt x="0" y="31"/>
                  </a:lnTo>
                  <a:lnTo>
                    <a:pt x="0" y="0"/>
                  </a:lnTo>
                  <a:close/>
                  <a:moveTo>
                    <a:pt x="156" y="50"/>
                  </a:moveTo>
                  <a:lnTo>
                    <a:pt x="156" y="551"/>
                  </a:lnTo>
                  <a:lnTo>
                    <a:pt x="128" y="551"/>
                  </a:lnTo>
                  <a:lnTo>
                    <a:pt x="128" y="79"/>
                  </a:lnTo>
                  <a:lnTo>
                    <a:pt x="0" y="79"/>
                  </a:lnTo>
                  <a:lnTo>
                    <a:pt x="0" y="50"/>
                  </a:lnTo>
                  <a:lnTo>
                    <a:pt x="156" y="50"/>
                  </a:lnTo>
                  <a:close/>
                  <a:moveTo>
                    <a:pt x="331" y="50"/>
                  </a:moveTo>
                  <a:lnTo>
                    <a:pt x="331" y="79"/>
                  </a:lnTo>
                  <a:lnTo>
                    <a:pt x="206" y="79"/>
                  </a:lnTo>
                  <a:lnTo>
                    <a:pt x="206" y="551"/>
                  </a:lnTo>
                  <a:lnTo>
                    <a:pt x="175" y="551"/>
                  </a:lnTo>
                  <a:lnTo>
                    <a:pt x="175" y="50"/>
                  </a:lnTo>
                  <a:lnTo>
                    <a:pt x="331" y="50"/>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 name="Freeform 18">
              <a:extLst>
                <a:ext uri="{FF2B5EF4-FFF2-40B4-BE49-F238E27FC236}">
                  <a16:creationId xmlns:a16="http://schemas.microsoft.com/office/drawing/2014/main" id="{72D6F21D-70B8-5DFD-64DB-B25972A59958}"/>
                </a:ext>
              </a:extLst>
            </p:cNvPr>
            <p:cNvSpPr>
              <a:spLocks noEditPoints="1"/>
            </p:cNvSpPr>
            <p:nvPr userDrawn="1"/>
          </p:nvSpPr>
          <p:spPr bwMode="auto">
            <a:xfrm>
              <a:off x="6886" y="2552"/>
              <a:ext cx="312" cy="551"/>
            </a:xfrm>
            <a:custGeom>
              <a:avLst/>
              <a:gdLst>
                <a:gd name="T0" fmla="*/ 295891719 w 132"/>
                <a:gd name="T1" fmla="*/ 0 h 232"/>
                <a:gd name="T2" fmla="*/ 295891719 w 132"/>
                <a:gd name="T3" fmla="*/ 31976658 h 232"/>
                <a:gd name="T4" fmla="*/ 110103249 w 132"/>
                <a:gd name="T5" fmla="*/ 31976658 h 232"/>
                <a:gd name="T6" fmla="*/ 51443210 w 132"/>
                <a:gd name="T7" fmla="*/ 58299493 h 232"/>
                <a:gd name="T8" fmla="*/ 26510905 w 132"/>
                <a:gd name="T9" fmla="*/ 122107630 h 232"/>
                <a:gd name="T10" fmla="*/ 26510905 w 132"/>
                <a:gd name="T11" fmla="*/ 442759715 h 232"/>
                <a:gd name="T12" fmla="*/ 51443210 w 132"/>
                <a:gd name="T13" fmla="*/ 508305993 h 232"/>
                <a:gd name="T14" fmla="*/ 110103249 w 132"/>
                <a:gd name="T15" fmla="*/ 535913430 h 232"/>
                <a:gd name="T16" fmla="*/ 295891719 w 132"/>
                <a:gd name="T17" fmla="*/ 535913430 h 232"/>
                <a:gd name="T18" fmla="*/ 295891719 w 132"/>
                <a:gd name="T19" fmla="*/ 564828430 h 232"/>
                <a:gd name="T20" fmla="*/ 110103249 w 132"/>
                <a:gd name="T21" fmla="*/ 564828430 h 232"/>
                <a:gd name="T22" fmla="*/ 31262608 w 132"/>
                <a:gd name="T23" fmla="*/ 527724589 h 232"/>
                <a:gd name="T24" fmla="*/ 0 w 132"/>
                <a:gd name="T25" fmla="*/ 442759715 h 232"/>
                <a:gd name="T26" fmla="*/ 0 w 132"/>
                <a:gd name="T27" fmla="*/ 122107630 h 232"/>
                <a:gd name="T28" fmla="*/ 31262608 w 132"/>
                <a:gd name="T29" fmla="*/ 37103839 h 232"/>
                <a:gd name="T30" fmla="*/ 110103249 w 132"/>
                <a:gd name="T31" fmla="*/ 0 h 232"/>
                <a:gd name="T32" fmla="*/ 295891719 w 132"/>
                <a:gd name="T33" fmla="*/ 0 h 232"/>
                <a:gd name="T34" fmla="*/ 44482705 w 132"/>
                <a:gd name="T35" fmla="*/ 122107630 h 232"/>
                <a:gd name="T36" fmla="*/ 65404189 w 132"/>
                <a:gd name="T37" fmla="*/ 70832843 h 232"/>
                <a:gd name="T38" fmla="*/ 111981461 w 132"/>
                <a:gd name="T39" fmla="*/ 51413739 h 232"/>
                <a:gd name="T40" fmla="*/ 295891719 w 132"/>
                <a:gd name="T41" fmla="*/ 51413739 h 232"/>
                <a:gd name="T42" fmla="*/ 295891719 w 132"/>
                <a:gd name="T43" fmla="*/ 79781492 h 232"/>
                <a:gd name="T44" fmla="*/ 111981461 w 132"/>
                <a:gd name="T45" fmla="*/ 79781492 h 232"/>
                <a:gd name="T46" fmla="*/ 85443339 w 132"/>
                <a:gd name="T47" fmla="*/ 92335711 h 232"/>
                <a:gd name="T48" fmla="*/ 73893437 w 132"/>
                <a:gd name="T49" fmla="*/ 122107630 h 232"/>
                <a:gd name="T50" fmla="*/ 73893437 w 132"/>
                <a:gd name="T51" fmla="*/ 202009418 h 232"/>
                <a:gd name="T52" fmla="*/ 295891719 w 132"/>
                <a:gd name="T53" fmla="*/ 202009418 h 232"/>
                <a:gd name="T54" fmla="*/ 295891719 w 132"/>
                <a:gd name="T55" fmla="*/ 233836064 h 232"/>
                <a:gd name="T56" fmla="*/ 44482705 w 132"/>
                <a:gd name="T57" fmla="*/ 233836064 h 232"/>
                <a:gd name="T58" fmla="*/ 44482705 w 132"/>
                <a:gd name="T59" fmla="*/ 122107630 h 232"/>
                <a:gd name="T60" fmla="*/ 44482705 w 132"/>
                <a:gd name="T61" fmla="*/ 253283286 h 232"/>
                <a:gd name="T62" fmla="*/ 295891719 w 132"/>
                <a:gd name="T63" fmla="*/ 253283286 h 232"/>
                <a:gd name="T64" fmla="*/ 295891719 w 132"/>
                <a:gd name="T65" fmla="*/ 283050061 h 232"/>
                <a:gd name="T66" fmla="*/ 73893437 w 132"/>
                <a:gd name="T67" fmla="*/ 283050061 h 232"/>
                <a:gd name="T68" fmla="*/ 73893437 w 132"/>
                <a:gd name="T69" fmla="*/ 442759715 h 232"/>
                <a:gd name="T70" fmla="*/ 85443339 w 132"/>
                <a:gd name="T71" fmla="*/ 472485538 h 232"/>
                <a:gd name="T72" fmla="*/ 111981461 w 132"/>
                <a:gd name="T73" fmla="*/ 484506888 h 232"/>
                <a:gd name="T74" fmla="*/ 295891719 w 132"/>
                <a:gd name="T75" fmla="*/ 484506888 h 232"/>
                <a:gd name="T76" fmla="*/ 295891719 w 132"/>
                <a:gd name="T77" fmla="*/ 513431020 h 232"/>
                <a:gd name="T78" fmla="*/ 111981461 w 132"/>
                <a:gd name="T79" fmla="*/ 513431020 h 232"/>
                <a:gd name="T80" fmla="*/ 65404189 w 132"/>
                <a:gd name="T81" fmla="*/ 494012295 h 232"/>
                <a:gd name="T82" fmla="*/ 44482705 w 132"/>
                <a:gd name="T83" fmla="*/ 442759715 h 232"/>
                <a:gd name="T84" fmla="*/ 44482705 w 132"/>
                <a:gd name="T85" fmla="*/ 253283286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132" y="0"/>
                  </a:moveTo>
                  <a:cubicBezTo>
                    <a:pt x="132" y="13"/>
                    <a:pt x="132" y="13"/>
                    <a:pt x="132" y="13"/>
                  </a:cubicBezTo>
                  <a:cubicBezTo>
                    <a:pt x="49" y="13"/>
                    <a:pt x="49" y="13"/>
                    <a:pt x="49" y="13"/>
                  </a:cubicBezTo>
                  <a:cubicBezTo>
                    <a:pt x="39" y="13"/>
                    <a:pt x="30" y="16"/>
                    <a:pt x="23" y="24"/>
                  </a:cubicBezTo>
                  <a:cubicBezTo>
                    <a:pt x="16" y="31"/>
                    <a:pt x="12" y="40"/>
                    <a:pt x="12" y="50"/>
                  </a:cubicBezTo>
                  <a:cubicBezTo>
                    <a:pt x="12" y="182"/>
                    <a:pt x="12" y="182"/>
                    <a:pt x="12" y="182"/>
                  </a:cubicBezTo>
                  <a:cubicBezTo>
                    <a:pt x="12" y="193"/>
                    <a:pt x="16" y="201"/>
                    <a:pt x="23" y="209"/>
                  </a:cubicBezTo>
                  <a:cubicBezTo>
                    <a:pt x="30" y="216"/>
                    <a:pt x="39" y="220"/>
                    <a:pt x="49" y="220"/>
                  </a:cubicBezTo>
                  <a:cubicBezTo>
                    <a:pt x="132" y="220"/>
                    <a:pt x="132" y="220"/>
                    <a:pt x="132" y="220"/>
                  </a:cubicBezTo>
                  <a:cubicBezTo>
                    <a:pt x="132" y="232"/>
                    <a:pt x="132" y="232"/>
                    <a:pt x="132" y="232"/>
                  </a:cubicBezTo>
                  <a:cubicBezTo>
                    <a:pt x="49" y="232"/>
                    <a:pt x="49" y="232"/>
                    <a:pt x="49" y="232"/>
                  </a:cubicBezTo>
                  <a:cubicBezTo>
                    <a:pt x="36" y="232"/>
                    <a:pt x="24" y="227"/>
                    <a:pt x="14" y="217"/>
                  </a:cubicBezTo>
                  <a:cubicBezTo>
                    <a:pt x="5" y="208"/>
                    <a:pt x="0" y="196"/>
                    <a:pt x="0" y="182"/>
                  </a:cubicBezTo>
                  <a:cubicBezTo>
                    <a:pt x="0" y="50"/>
                    <a:pt x="0" y="50"/>
                    <a:pt x="0" y="50"/>
                  </a:cubicBezTo>
                  <a:cubicBezTo>
                    <a:pt x="0" y="36"/>
                    <a:pt x="5" y="25"/>
                    <a:pt x="14" y="15"/>
                  </a:cubicBezTo>
                  <a:cubicBezTo>
                    <a:pt x="24" y="5"/>
                    <a:pt x="36" y="0"/>
                    <a:pt x="49" y="0"/>
                  </a:cubicBezTo>
                  <a:lnTo>
                    <a:pt x="132" y="0"/>
                  </a:lnTo>
                  <a:close/>
                  <a:moveTo>
                    <a:pt x="20" y="50"/>
                  </a:moveTo>
                  <a:cubicBezTo>
                    <a:pt x="20" y="42"/>
                    <a:pt x="23" y="35"/>
                    <a:pt x="29" y="29"/>
                  </a:cubicBezTo>
                  <a:cubicBezTo>
                    <a:pt x="35" y="24"/>
                    <a:pt x="42" y="21"/>
                    <a:pt x="50" y="21"/>
                  </a:cubicBezTo>
                  <a:cubicBezTo>
                    <a:pt x="132" y="21"/>
                    <a:pt x="132" y="21"/>
                    <a:pt x="132" y="21"/>
                  </a:cubicBezTo>
                  <a:cubicBezTo>
                    <a:pt x="132" y="33"/>
                    <a:pt x="132" y="33"/>
                    <a:pt x="132" y="33"/>
                  </a:cubicBezTo>
                  <a:cubicBezTo>
                    <a:pt x="50" y="33"/>
                    <a:pt x="50" y="33"/>
                    <a:pt x="50" y="33"/>
                  </a:cubicBezTo>
                  <a:cubicBezTo>
                    <a:pt x="45" y="33"/>
                    <a:pt x="41" y="35"/>
                    <a:pt x="38" y="38"/>
                  </a:cubicBezTo>
                  <a:cubicBezTo>
                    <a:pt x="35" y="42"/>
                    <a:pt x="33" y="45"/>
                    <a:pt x="33" y="50"/>
                  </a:cubicBezTo>
                  <a:cubicBezTo>
                    <a:pt x="33" y="83"/>
                    <a:pt x="33" y="83"/>
                    <a:pt x="33" y="83"/>
                  </a:cubicBezTo>
                  <a:cubicBezTo>
                    <a:pt x="132" y="83"/>
                    <a:pt x="132" y="83"/>
                    <a:pt x="132" y="83"/>
                  </a:cubicBezTo>
                  <a:cubicBezTo>
                    <a:pt x="132" y="96"/>
                    <a:pt x="132" y="96"/>
                    <a:pt x="132" y="96"/>
                  </a:cubicBezTo>
                  <a:cubicBezTo>
                    <a:pt x="20" y="96"/>
                    <a:pt x="20" y="96"/>
                    <a:pt x="20" y="96"/>
                  </a:cubicBezTo>
                  <a:lnTo>
                    <a:pt x="20" y="50"/>
                  </a:lnTo>
                  <a:close/>
                  <a:moveTo>
                    <a:pt x="20" y="104"/>
                  </a:moveTo>
                  <a:cubicBezTo>
                    <a:pt x="132" y="104"/>
                    <a:pt x="132" y="104"/>
                    <a:pt x="132" y="104"/>
                  </a:cubicBezTo>
                  <a:cubicBezTo>
                    <a:pt x="132" y="116"/>
                    <a:pt x="132" y="116"/>
                    <a:pt x="132" y="116"/>
                  </a:cubicBezTo>
                  <a:cubicBezTo>
                    <a:pt x="33" y="116"/>
                    <a:pt x="33" y="116"/>
                    <a:pt x="33" y="116"/>
                  </a:cubicBezTo>
                  <a:cubicBezTo>
                    <a:pt x="33" y="182"/>
                    <a:pt x="33" y="182"/>
                    <a:pt x="33" y="182"/>
                  </a:cubicBezTo>
                  <a:cubicBezTo>
                    <a:pt x="33" y="187"/>
                    <a:pt x="35" y="191"/>
                    <a:pt x="38" y="194"/>
                  </a:cubicBezTo>
                  <a:cubicBezTo>
                    <a:pt x="41" y="197"/>
                    <a:pt x="45" y="199"/>
                    <a:pt x="50" y="199"/>
                  </a:cubicBezTo>
                  <a:cubicBezTo>
                    <a:pt x="132" y="199"/>
                    <a:pt x="132" y="199"/>
                    <a:pt x="132" y="199"/>
                  </a:cubicBezTo>
                  <a:cubicBezTo>
                    <a:pt x="132" y="211"/>
                    <a:pt x="132" y="211"/>
                    <a:pt x="132" y="211"/>
                  </a:cubicBezTo>
                  <a:cubicBezTo>
                    <a:pt x="50" y="211"/>
                    <a:pt x="50" y="211"/>
                    <a:pt x="50" y="211"/>
                  </a:cubicBezTo>
                  <a:cubicBezTo>
                    <a:pt x="42" y="211"/>
                    <a:pt x="35" y="209"/>
                    <a:pt x="29" y="203"/>
                  </a:cubicBezTo>
                  <a:cubicBezTo>
                    <a:pt x="23" y="197"/>
                    <a:pt x="20" y="190"/>
                    <a:pt x="20" y="182"/>
                  </a:cubicBezTo>
                  <a:lnTo>
                    <a:pt x="20" y="104"/>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8" name="TextBox 52">
            <a:extLst>
              <a:ext uri="{FF2B5EF4-FFF2-40B4-BE49-F238E27FC236}">
                <a16:creationId xmlns:a16="http://schemas.microsoft.com/office/drawing/2014/main" id="{4C7384AB-8920-8E1B-8D68-8EA66181748D}"/>
              </a:ext>
            </a:extLst>
          </p:cNvPr>
          <p:cNvSpPr txBox="1">
            <a:spLocks noChangeArrowheads="1"/>
          </p:cNvSpPr>
          <p:nvPr/>
        </p:nvSpPr>
        <p:spPr bwMode="auto">
          <a:xfrm>
            <a:off x="11345863" y="6402388"/>
            <a:ext cx="354012" cy="261937"/>
          </a:xfrm>
          <a:prstGeom prst="rect">
            <a:avLst/>
          </a:prstGeom>
          <a:noFill/>
          <a:ln>
            <a:noFill/>
          </a:ln>
        </p:spPr>
        <p:txBody>
          <a:bodyPr wrap="none">
            <a:spAutoFit/>
          </a:bodyPr>
          <a:lstStyle>
            <a:lvl1pPr>
              <a:defRPr>
                <a:solidFill>
                  <a:schemeClr val="tx1"/>
                </a:solidFill>
                <a:latin typeface="Lato Light" panose="020F0502020204030203" pitchFamily="34" charset="0"/>
              </a:defRPr>
            </a:lvl1pPr>
            <a:lvl2pPr marL="742950" indent="-285750">
              <a:defRPr>
                <a:solidFill>
                  <a:schemeClr val="tx1"/>
                </a:solidFill>
                <a:latin typeface="Lato Light" panose="020F0502020204030203" pitchFamily="34" charset="0"/>
              </a:defRPr>
            </a:lvl2pPr>
            <a:lvl3pPr marL="1143000" indent="-228600">
              <a:defRPr>
                <a:solidFill>
                  <a:schemeClr val="tx1"/>
                </a:solidFill>
                <a:latin typeface="Lato Light" panose="020F0502020204030203" pitchFamily="34" charset="0"/>
              </a:defRPr>
            </a:lvl3pPr>
            <a:lvl4pPr marL="1600200" indent="-228600">
              <a:defRPr>
                <a:solidFill>
                  <a:schemeClr val="tx1"/>
                </a:solidFill>
                <a:latin typeface="Lato Light" panose="020F0502020204030203" pitchFamily="34" charset="0"/>
              </a:defRPr>
            </a:lvl4pPr>
            <a:lvl5pPr marL="2057400" indent="-228600">
              <a:defRPr>
                <a:solidFill>
                  <a:schemeClr val="tx1"/>
                </a:solidFill>
                <a:latin typeface="Lato Light" panose="020F0502020204030203" pitchFamily="34" charset="0"/>
              </a:defRPr>
            </a:lvl5pPr>
            <a:lvl6pPr marL="2514600" indent="-228600" eaLnBrk="0" fontAlgn="base" hangingPunct="0">
              <a:spcBef>
                <a:spcPct val="0"/>
              </a:spcBef>
              <a:spcAft>
                <a:spcPct val="0"/>
              </a:spcAft>
              <a:defRPr>
                <a:solidFill>
                  <a:schemeClr val="tx1"/>
                </a:solidFill>
                <a:latin typeface="Lato Light" panose="020F0502020204030203" pitchFamily="34" charset="0"/>
              </a:defRPr>
            </a:lvl6pPr>
            <a:lvl7pPr marL="2971800" indent="-228600" eaLnBrk="0" fontAlgn="base" hangingPunct="0">
              <a:spcBef>
                <a:spcPct val="0"/>
              </a:spcBef>
              <a:spcAft>
                <a:spcPct val="0"/>
              </a:spcAft>
              <a:defRPr>
                <a:solidFill>
                  <a:schemeClr val="tx1"/>
                </a:solidFill>
                <a:latin typeface="Lato Light" panose="020F0502020204030203" pitchFamily="34" charset="0"/>
              </a:defRPr>
            </a:lvl7pPr>
            <a:lvl8pPr marL="3429000" indent="-228600" eaLnBrk="0" fontAlgn="base" hangingPunct="0">
              <a:spcBef>
                <a:spcPct val="0"/>
              </a:spcBef>
              <a:spcAft>
                <a:spcPct val="0"/>
              </a:spcAft>
              <a:defRPr>
                <a:solidFill>
                  <a:schemeClr val="tx1"/>
                </a:solidFill>
                <a:latin typeface="Lato Light" panose="020F0502020204030203" pitchFamily="34" charset="0"/>
              </a:defRPr>
            </a:lvl8pPr>
            <a:lvl9pPr marL="3886200" indent="-228600" eaLnBrk="0" fontAlgn="base" hangingPunct="0">
              <a:spcBef>
                <a:spcPct val="0"/>
              </a:spcBef>
              <a:spcAft>
                <a:spcPct val="0"/>
              </a:spcAft>
              <a:defRPr>
                <a:solidFill>
                  <a:schemeClr val="tx1"/>
                </a:solidFill>
                <a:latin typeface="Lato Light" panose="020F0502020204030203" pitchFamily="34" charset="0"/>
              </a:defRPr>
            </a:lvl9pPr>
          </a:lstStyle>
          <a:p>
            <a:pPr algn="ctr" eaLnBrk="1" hangingPunct="1">
              <a:defRPr/>
            </a:pPr>
            <a:fld id="{9673B9A1-2574-45E5-B345-040DE6942E7E}" type="slidenum">
              <a:rPr lang="en-US" altLang="tr-TR" sz="1100" smtClean="0">
                <a:solidFill>
                  <a:schemeClr val="tx2"/>
                </a:solidFill>
              </a:rPr>
              <a:pPr algn="ctr" eaLnBrk="1" hangingPunct="1">
                <a:defRPr/>
              </a:pPr>
              <a:t>‹#›</a:t>
            </a:fld>
            <a:endParaRPr lang="en-US" altLang="tr-TR" sz="1100">
              <a:solidFill>
                <a:schemeClr val="tx2"/>
              </a:solidFill>
            </a:endParaRPr>
          </a:p>
        </p:txBody>
      </p:sp>
      <p:sp>
        <p:nvSpPr>
          <p:cNvPr id="31" name="Picture Placeholder 3"/>
          <p:cNvSpPr>
            <a:spLocks noGrp="1"/>
          </p:cNvSpPr>
          <p:nvPr>
            <p:ph type="pic" sz="quarter" idx="18"/>
          </p:nvPr>
        </p:nvSpPr>
        <p:spPr>
          <a:xfrm>
            <a:off x="1377095" y="1948482"/>
            <a:ext cx="3145536" cy="2020824"/>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
        <p:nvSpPr>
          <p:cNvPr id="32" name="Picture Placeholder 3"/>
          <p:cNvSpPr>
            <a:spLocks noGrp="1"/>
          </p:cNvSpPr>
          <p:nvPr>
            <p:ph type="pic" sz="quarter" idx="19"/>
          </p:nvPr>
        </p:nvSpPr>
        <p:spPr>
          <a:xfrm>
            <a:off x="4571619" y="1948482"/>
            <a:ext cx="3145536" cy="2020824"/>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
        <p:nvSpPr>
          <p:cNvPr id="33" name="Picture Placeholder 3"/>
          <p:cNvSpPr>
            <a:spLocks noGrp="1"/>
          </p:cNvSpPr>
          <p:nvPr>
            <p:ph type="pic" sz="quarter" idx="20"/>
          </p:nvPr>
        </p:nvSpPr>
        <p:spPr>
          <a:xfrm>
            <a:off x="7766144" y="1948482"/>
            <a:ext cx="3145536" cy="2020824"/>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
        <p:nvSpPr>
          <p:cNvPr id="34" name="Picture Placeholder 3"/>
          <p:cNvSpPr>
            <a:spLocks noGrp="1"/>
          </p:cNvSpPr>
          <p:nvPr>
            <p:ph type="pic" sz="quarter" idx="21"/>
          </p:nvPr>
        </p:nvSpPr>
        <p:spPr>
          <a:xfrm>
            <a:off x="1377095" y="4015011"/>
            <a:ext cx="3145536" cy="2020824"/>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
        <p:nvSpPr>
          <p:cNvPr id="35" name="Picture Placeholder 3"/>
          <p:cNvSpPr>
            <a:spLocks noGrp="1"/>
          </p:cNvSpPr>
          <p:nvPr>
            <p:ph type="pic" sz="quarter" idx="22"/>
          </p:nvPr>
        </p:nvSpPr>
        <p:spPr>
          <a:xfrm>
            <a:off x="4571619" y="4015011"/>
            <a:ext cx="3145536" cy="2020824"/>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
        <p:nvSpPr>
          <p:cNvPr id="36" name="Picture Placeholder 3"/>
          <p:cNvSpPr>
            <a:spLocks noGrp="1"/>
          </p:cNvSpPr>
          <p:nvPr>
            <p:ph type="pic" sz="quarter" idx="23"/>
          </p:nvPr>
        </p:nvSpPr>
        <p:spPr>
          <a:xfrm>
            <a:off x="7766144" y="4015011"/>
            <a:ext cx="3145536" cy="2020824"/>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Tree>
    <p:extLst>
      <p:ext uri="{BB962C8B-B14F-4D97-AF65-F5344CB8AC3E}">
        <p14:creationId xmlns:p14="http://schemas.microsoft.com/office/powerpoint/2010/main" val="21616203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nk_White">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D0251BEA-637A-F48D-4B81-1893C396F40A}"/>
              </a:ext>
            </a:extLst>
          </p:cNvPr>
          <p:cNvSpPr/>
          <p:nvPr/>
        </p:nvSpPr>
        <p:spPr>
          <a:xfrm>
            <a:off x="11350625" y="6361113"/>
            <a:ext cx="344488" cy="344487"/>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2"/>
              </a:solidFill>
            </a:endParaRPr>
          </a:p>
        </p:txBody>
      </p:sp>
      <p:grpSp>
        <p:nvGrpSpPr>
          <p:cNvPr id="3" name="Group 4">
            <a:extLst>
              <a:ext uri="{FF2B5EF4-FFF2-40B4-BE49-F238E27FC236}">
                <a16:creationId xmlns:a16="http://schemas.microsoft.com/office/drawing/2014/main" id="{33A87582-CC91-2F6D-BF76-FCECBA355662}"/>
              </a:ext>
            </a:extLst>
          </p:cNvPr>
          <p:cNvGrpSpPr>
            <a:grpSpLocks noChangeAspect="1"/>
          </p:cNvGrpSpPr>
          <p:nvPr/>
        </p:nvGrpSpPr>
        <p:grpSpPr bwMode="auto">
          <a:xfrm>
            <a:off x="527050" y="6389688"/>
            <a:ext cx="1039813" cy="284162"/>
            <a:chOff x="297" y="1187"/>
            <a:chExt cx="7085" cy="1944"/>
          </a:xfrm>
        </p:grpSpPr>
        <p:sp>
          <p:nvSpPr>
            <p:cNvPr id="4" name="Freeform 12">
              <a:extLst>
                <a:ext uri="{FF2B5EF4-FFF2-40B4-BE49-F238E27FC236}">
                  <a16:creationId xmlns:a16="http://schemas.microsoft.com/office/drawing/2014/main" id="{EA1EAAB8-B1B7-E548-782E-F743BA17EBDB}"/>
                </a:ext>
              </a:extLst>
            </p:cNvPr>
            <p:cNvSpPr>
              <a:spLocks noEditPoints="1"/>
            </p:cNvSpPr>
            <p:nvPr userDrawn="1"/>
          </p:nvSpPr>
          <p:spPr bwMode="auto">
            <a:xfrm>
              <a:off x="297" y="1189"/>
              <a:ext cx="1266" cy="1105"/>
            </a:xfrm>
            <a:custGeom>
              <a:avLst/>
              <a:gdLst>
                <a:gd name="T0" fmla="*/ 592814223 w 535"/>
                <a:gd name="T1" fmla="*/ 490470457 h 466"/>
                <a:gd name="T2" fmla="*/ 475447313 w 535"/>
                <a:gd name="T3" fmla="*/ 198813566 h 466"/>
                <a:gd name="T4" fmla="*/ 254086917 w 535"/>
                <a:gd name="T5" fmla="*/ 767261907 h 466"/>
                <a:gd name="T6" fmla="*/ 205935911 w 535"/>
                <a:gd name="T7" fmla="*/ 898255873 h 466"/>
                <a:gd name="T8" fmla="*/ 135177273 w 535"/>
                <a:gd name="T9" fmla="*/ 1082812292 h 466"/>
                <a:gd name="T10" fmla="*/ 135177273 w 535"/>
                <a:gd name="T11" fmla="*/ 1079972834 h 466"/>
                <a:gd name="T12" fmla="*/ 102568007 w 535"/>
                <a:gd name="T13" fmla="*/ 1104057219 h 466"/>
                <a:gd name="T14" fmla="*/ 25381052 w 535"/>
                <a:gd name="T15" fmla="*/ 1104057219 h 466"/>
                <a:gd name="T16" fmla="*/ 0 w 535"/>
                <a:gd name="T17" fmla="*/ 1087116478 h 466"/>
                <a:gd name="T18" fmla="*/ 2031267 w 535"/>
                <a:gd name="T19" fmla="*/ 1078264271 h 466"/>
                <a:gd name="T20" fmla="*/ 4806699 w 535"/>
                <a:gd name="T21" fmla="*/ 1068152912 h 466"/>
                <a:gd name="T22" fmla="*/ 423281075 w 535"/>
                <a:gd name="T23" fmla="*/ 19018883 h 466"/>
                <a:gd name="T24" fmla="*/ 425157884 w 535"/>
                <a:gd name="T25" fmla="*/ 16871626 h 466"/>
                <a:gd name="T26" fmla="*/ 423281075 w 535"/>
                <a:gd name="T27" fmla="*/ 19018883 h 466"/>
                <a:gd name="T28" fmla="*/ 430186005 w 535"/>
                <a:gd name="T29" fmla="*/ 7115093 h 466"/>
                <a:gd name="T30" fmla="*/ 453467932 w 535"/>
                <a:gd name="T31" fmla="*/ 0 h 466"/>
                <a:gd name="T32" fmla="*/ 500809590 w 535"/>
                <a:gd name="T33" fmla="*/ 0 h 466"/>
                <a:gd name="T34" fmla="*/ 522062318 w 535"/>
                <a:gd name="T35" fmla="*/ 7115093 h 466"/>
                <a:gd name="T36" fmla="*/ 528624526 w 535"/>
                <a:gd name="T37" fmla="*/ 19018883 h 466"/>
                <a:gd name="T38" fmla="*/ 530657417 w 535"/>
                <a:gd name="T39" fmla="*/ 19018883 h 466"/>
                <a:gd name="T40" fmla="*/ 532753721 w 535"/>
                <a:gd name="T41" fmla="*/ 23986629 h 466"/>
                <a:gd name="T42" fmla="*/ 530657417 w 535"/>
                <a:gd name="T43" fmla="*/ 21137875 h 466"/>
                <a:gd name="T44" fmla="*/ 656507488 w 535"/>
                <a:gd name="T45" fmla="*/ 336755356 h 466"/>
                <a:gd name="T46" fmla="*/ 592814223 w 535"/>
                <a:gd name="T47" fmla="*/ 490470457 h 466"/>
                <a:gd name="T48" fmla="*/ 1063415281 w 535"/>
                <a:gd name="T49" fmla="*/ 1007003229 h 466"/>
                <a:gd name="T50" fmla="*/ 1020096784 w 535"/>
                <a:gd name="T51" fmla="*/ 898255873 h 466"/>
                <a:gd name="T52" fmla="*/ 862287051 w 535"/>
                <a:gd name="T53" fmla="*/ 490470457 h 466"/>
                <a:gd name="T54" fmla="*/ 745075518 w 535"/>
                <a:gd name="T55" fmla="*/ 198813566 h 466"/>
                <a:gd name="T56" fmla="*/ 524093625 w 535"/>
                <a:gd name="T57" fmla="*/ 767261907 h 466"/>
                <a:gd name="T58" fmla="*/ 473909525 w 535"/>
                <a:gd name="T59" fmla="*/ 898255873 h 466"/>
                <a:gd name="T60" fmla="*/ 405184384 w 535"/>
                <a:gd name="T61" fmla="*/ 1082812292 h 466"/>
                <a:gd name="T62" fmla="*/ 405184384 w 535"/>
                <a:gd name="T63" fmla="*/ 1079972834 h 466"/>
                <a:gd name="T64" fmla="*/ 372851835 w 535"/>
                <a:gd name="T65" fmla="*/ 1104057219 h 466"/>
                <a:gd name="T66" fmla="*/ 295029932 w 535"/>
                <a:gd name="T67" fmla="*/ 1104057219 h 466"/>
                <a:gd name="T68" fmla="*/ 269628205 w 535"/>
                <a:gd name="T69" fmla="*/ 1087116478 h 466"/>
                <a:gd name="T70" fmla="*/ 272403609 w 535"/>
                <a:gd name="T71" fmla="*/ 1078264271 h 466"/>
                <a:gd name="T72" fmla="*/ 274527635 w 535"/>
                <a:gd name="T73" fmla="*/ 1068152912 h 466"/>
                <a:gd name="T74" fmla="*/ 693246507 w 535"/>
                <a:gd name="T75" fmla="*/ 19018883 h 466"/>
                <a:gd name="T76" fmla="*/ 694891188 w 535"/>
                <a:gd name="T77" fmla="*/ 16871626 h 466"/>
                <a:gd name="T78" fmla="*/ 693246507 w 535"/>
                <a:gd name="T79" fmla="*/ 19018883 h 466"/>
                <a:gd name="T80" fmla="*/ 699814170 w 535"/>
                <a:gd name="T81" fmla="*/ 7115093 h 466"/>
                <a:gd name="T82" fmla="*/ 722963600 w 535"/>
                <a:gd name="T83" fmla="*/ 0 h 466"/>
                <a:gd name="T84" fmla="*/ 770453496 w 535"/>
                <a:gd name="T85" fmla="*/ 0 h 466"/>
                <a:gd name="T86" fmla="*/ 791690909 w 535"/>
                <a:gd name="T87" fmla="*/ 7115093 h 466"/>
                <a:gd name="T88" fmla="*/ 798593889 w 535"/>
                <a:gd name="T89" fmla="*/ 19018883 h 466"/>
                <a:gd name="T90" fmla="*/ 800282813 w 535"/>
                <a:gd name="T91" fmla="*/ 19018883 h 466"/>
                <a:gd name="T92" fmla="*/ 800282813 w 535"/>
                <a:gd name="T93" fmla="*/ 23986629 h 466"/>
                <a:gd name="T94" fmla="*/ 800282813 w 535"/>
                <a:gd name="T95" fmla="*/ 21137875 h 466"/>
                <a:gd name="T96" fmla="*/ 1221874959 w 535"/>
                <a:gd name="T97" fmla="*/ 1068152912 h 466"/>
                <a:gd name="T98" fmla="*/ 1223907795 w 535"/>
                <a:gd name="T99" fmla="*/ 1073239556 h 466"/>
                <a:gd name="T100" fmla="*/ 1223907795 w 535"/>
                <a:gd name="T101" fmla="*/ 1087116478 h 466"/>
                <a:gd name="T102" fmla="*/ 1198604492 w 535"/>
                <a:gd name="T103" fmla="*/ 1104057219 h 466"/>
                <a:gd name="T104" fmla="*/ 1123315401 w 535"/>
                <a:gd name="T105" fmla="*/ 1104057219 h 466"/>
                <a:gd name="T106" fmla="*/ 1091504023 w 535"/>
                <a:gd name="T107" fmla="*/ 1082812292 h 466"/>
                <a:gd name="T108" fmla="*/ 1063415281 w 535"/>
                <a:gd name="T109" fmla="*/ 1007003229 h 4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35" h="466">
                  <a:moveTo>
                    <a:pt x="259" y="207"/>
                  </a:moveTo>
                  <a:cubicBezTo>
                    <a:pt x="208" y="84"/>
                    <a:pt x="208" y="84"/>
                    <a:pt x="208" y="84"/>
                  </a:cubicBezTo>
                  <a:cubicBezTo>
                    <a:pt x="111" y="324"/>
                    <a:pt x="111" y="324"/>
                    <a:pt x="111" y="324"/>
                  </a:cubicBezTo>
                  <a:cubicBezTo>
                    <a:pt x="90" y="379"/>
                    <a:pt x="90" y="379"/>
                    <a:pt x="90" y="379"/>
                  </a:cubicBezTo>
                  <a:cubicBezTo>
                    <a:pt x="59" y="457"/>
                    <a:pt x="59" y="457"/>
                    <a:pt x="59" y="457"/>
                  </a:cubicBezTo>
                  <a:cubicBezTo>
                    <a:pt x="59" y="456"/>
                    <a:pt x="59" y="456"/>
                    <a:pt x="59" y="456"/>
                  </a:cubicBezTo>
                  <a:cubicBezTo>
                    <a:pt x="56" y="462"/>
                    <a:pt x="51" y="466"/>
                    <a:pt x="45" y="466"/>
                  </a:cubicBezTo>
                  <a:cubicBezTo>
                    <a:pt x="11" y="466"/>
                    <a:pt x="11" y="466"/>
                    <a:pt x="11" y="466"/>
                  </a:cubicBezTo>
                  <a:cubicBezTo>
                    <a:pt x="4" y="466"/>
                    <a:pt x="0" y="464"/>
                    <a:pt x="0" y="459"/>
                  </a:cubicBezTo>
                  <a:cubicBezTo>
                    <a:pt x="0" y="458"/>
                    <a:pt x="0" y="457"/>
                    <a:pt x="1" y="455"/>
                  </a:cubicBezTo>
                  <a:cubicBezTo>
                    <a:pt x="2" y="451"/>
                    <a:pt x="2" y="451"/>
                    <a:pt x="2" y="451"/>
                  </a:cubicBezTo>
                  <a:cubicBezTo>
                    <a:pt x="185" y="8"/>
                    <a:pt x="185" y="8"/>
                    <a:pt x="185" y="8"/>
                  </a:cubicBezTo>
                  <a:cubicBezTo>
                    <a:pt x="185" y="8"/>
                    <a:pt x="185" y="7"/>
                    <a:pt x="186" y="7"/>
                  </a:cubicBezTo>
                  <a:cubicBezTo>
                    <a:pt x="185" y="8"/>
                    <a:pt x="185" y="8"/>
                    <a:pt x="185" y="8"/>
                  </a:cubicBezTo>
                  <a:cubicBezTo>
                    <a:pt x="188" y="3"/>
                    <a:pt x="188" y="3"/>
                    <a:pt x="188" y="3"/>
                  </a:cubicBezTo>
                  <a:cubicBezTo>
                    <a:pt x="190" y="1"/>
                    <a:pt x="193" y="0"/>
                    <a:pt x="198" y="0"/>
                  </a:cubicBezTo>
                  <a:cubicBezTo>
                    <a:pt x="219" y="0"/>
                    <a:pt x="219" y="0"/>
                    <a:pt x="219" y="0"/>
                  </a:cubicBezTo>
                  <a:cubicBezTo>
                    <a:pt x="224" y="0"/>
                    <a:pt x="227" y="1"/>
                    <a:pt x="228" y="3"/>
                  </a:cubicBezTo>
                  <a:cubicBezTo>
                    <a:pt x="231" y="8"/>
                    <a:pt x="231" y="8"/>
                    <a:pt x="231" y="8"/>
                  </a:cubicBezTo>
                  <a:cubicBezTo>
                    <a:pt x="231" y="8"/>
                    <a:pt x="231" y="8"/>
                    <a:pt x="232" y="8"/>
                  </a:cubicBezTo>
                  <a:cubicBezTo>
                    <a:pt x="233" y="10"/>
                    <a:pt x="233" y="10"/>
                    <a:pt x="233" y="10"/>
                  </a:cubicBezTo>
                  <a:cubicBezTo>
                    <a:pt x="232" y="9"/>
                    <a:pt x="232" y="9"/>
                    <a:pt x="232" y="9"/>
                  </a:cubicBezTo>
                  <a:cubicBezTo>
                    <a:pt x="287" y="142"/>
                    <a:pt x="287" y="142"/>
                    <a:pt x="287" y="142"/>
                  </a:cubicBezTo>
                  <a:lnTo>
                    <a:pt x="259" y="207"/>
                  </a:lnTo>
                  <a:close/>
                  <a:moveTo>
                    <a:pt x="465" y="425"/>
                  </a:moveTo>
                  <a:cubicBezTo>
                    <a:pt x="446" y="379"/>
                    <a:pt x="446" y="379"/>
                    <a:pt x="446" y="379"/>
                  </a:cubicBezTo>
                  <a:cubicBezTo>
                    <a:pt x="377" y="207"/>
                    <a:pt x="377" y="207"/>
                    <a:pt x="377" y="207"/>
                  </a:cubicBezTo>
                  <a:cubicBezTo>
                    <a:pt x="326" y="84"/>
                    <a:pt x="326" y="84"/>
                    <a:pt x="326" y="84"/>
                  </a:cubicBezTo>
                  <a:cubicBezTo>
                    <a:pt x="229" y="324"/>
                    <a:pt x="229" y="324"/>
                    <a:pt x="229" y="324"/>
                  </a:cubicBezTo>
                  <a:cubicBezTo>
                    <a:pt x="207" y="379"/>
                    <a:pt x="207" y="379"/>
                    <a:pt x="207" y="379"/>
                  </a:cubicBezTo>
                  <a:cubicBezTo>
                    <a:pt x="177" y="457"/>
                    <a:pt x="177" y="457"/>
                    <a:pt x="177" y="457"/>
                  </a:cubicBezTo>
                  <a:cubicBezTo>
                    <a:pt x="177" y="456"/>
                    <a:pt x="177" y="456"/>
                    <a:pt x="177" y="456"/>
                  </a:cubicBezTo>
                  <a:cubicBezTo>
                    <a:pt x="174" y="462"/>
                    <a:pt x="169" y="466"/>
                    <a:pt x="163" y="466"/>
                  </a:cubicBezTo>
                  <a:cubicBezTo>
                    <a:pt x="129" y="466"/>
                    <a:pt x="129" y="466"/>
                    <a:pt x="129" y="466"/>
                  </a:cubicBezTo>
                  <a:cubicBezTo>
                    <a:pt x="122" y="466"/>
                    <a:pt x="118" y="464"/>
                    <a:pt x="118" y="459"/>
                  </a:cubicBezTo>
                  <a:cubicBezTo>
                    <a:pt x="118" y="458"/>
                    <a:pt x="118" y="457"/>
                    <a:pt x="119" y="455"/>
                  </a:cubicBezTo>
                  <a:cubicBezTo>
                    <a:pt x="120" y="451"/>
                    <a:pt x="120" y="451"/>
                    <a:pt x="120" y="451"/>
                  </a:cubicBezTo>
                  <a:cubicBezTo>
                    <a:pt x="303" y="8"/>
                    <a:pt x="303" y="8"/>
                    <a:pt x="303" y="8"/>
                  </a:cubicBezTo>
                  <a:cubicBezTo>
                    <a:pt x="303" y="8"/>
                    <a:pt x="303" y="7"/>
                    <a:pt x="304" y="7"/>
                  </a:cubicBezTo>
                  <a:cubicBezTo>
                    <a:pt x="303" y="8"/>
                    <a:pt x="303" y="8"/>
                    <a:pt x="303" y="8"/>
                  </a:cubicBezTo>
                  <a:cubicBezTo>
                    <a:pt x="306" y="3"/>
                    <a:pt x="306" y="3"/>
                    <a:pt x="306" y="3"/>
                  </a:cubicBezTo>
                  <a:cubicBezTo>
                    <a:pt x="308" y="1"/>
                    <a:pt x="311" y="0"/>
                    <a:pt x="316" y="0"/>
                  </a:cubicBezTo>
                  <a:cubicBezTo>
                    <a:pt x="337" y="0"/>
                    <a:pt x="337" y="0"/>
                    <a:pt x="337" y="0"/>
                  </a:cubicBezTo>
                  <a:cubicBezTo>
                    <a:pt x="342" y="0"/>
                    <a:pt x="344" y="1"/>
                    <a:pt x="346" y="3"/>
                  </a:cubicBezTo>
                  <a:cubicBezTo>
                    <a:pt x="349" y="8"/>
                    <a:pt x="349" y="8"/>
                    <a:pt x="349" y="8"/>
                  </a:cubicBezTo>
                  <a:cubicBezTo>
                    <a:pt x="349" y="8"/>
                    <a:pt x="349" y="8"/>
                    <a:pt x="350" y="8"/>
                  </a:cubicBezTo>
                  <a:cubicBezTo>
                    <a:pt x="350" y="10"/>
                    <a:pt x="350" y="10"/>
                    <a:pt x="350" y="10"/>
                  </a:cubicBezTo>
                  <a:cubicBezTo>
                    <a:pt x="350" y="9"/>
                    <a:pt x="350" y="9"/>
                    <a:pt x="350" y="9"/>
                  </a:cubicBezTo>
                  <a:cubicBezTo>
                    <a:pt x="534" y="451"/>
                    <a:pt x="534" y="451"/>
                    <a:pt x="534" y="451"/>
                  </a:cubicBezTo>
                  <a:cubicBezTo>
                    <a:pt x="535" y="453"/>
                    <a:pt x="535" y="453"/>
                    <a:pt x="535" y="453"/>
                  </a:cubicBezTo>
                  <a:cubicBezTo>
                    <a:pt x="535" y="455"/>
                    <a:pt x="535" y="457"/>
                    <a:pt x="535" y="459"/>
                  </a:cubicBezTo>
                  <a:cubicBezTo>
                    <a:pt x="535" y="464"/>
                    <a:pt x="532" y="466"/>
                    <a:pt x="524" y="466"/>
                  </a:cubicBezTo>
                  <a:cubicBezTo>
                    <a:pt x="491" y="466"/>
                    <a:pt x="491" y="466"/>
                    <a:pt x="491" y="466"/>
                  </a:cubicBezTo>
                  <a:cubicBezTo>
                    <a:pt x="479" y="466"/>
                    <a:pt x="477" y="456"/>
                    <a:pt x="477" y="457"/>
                  </a:cubicBezTo>
                  <a:lnTo>
                    <a:pt x="465" y="425"/>
                  </a:lnTo>
                  <a:close/>
                </a:path>
              </a:pathLst>
            </a:custGeom>
            <a:solidFill>
              <a:srgbClr val="2580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 name="Freeform 6">
              <a:extLst>
                <a:ext uri="{FF2B5EF4-FFF2-40B4-BE49-F238E27FC236}">
                  <a16:creationId xmlns:a16="http://schemas.microsoft.com/office/drawing/2014/main" id="{927CD675-5E6B-ABA0-0211-34AFF73C3BBB}"/>
                </a:ext>
              </a:extLst>
            </p:cNvPr>
            <p:cNvSpPr>
              <a:spLocks noEditPoints="1"/>
            </p:cNvSpPr>
            <p:nvPr userDrawn="1"/>
          </p:nvSpPr>
          <p:spPr bwMode="auto">
            <a:xfrm>
              <a:off x="1456" y="1189"/>
              <a:ext cx="986" cy="1105"/>
            </a:xfrm>
            <a:custGeom>
              <a:avLst/>
              <a:gdLst>
                <a:gd name="T0" fmla="*/ 26658435 w 417"/>
                <a:gd name="T1" fmla="*/ 1104057219 h 466"/>
                <a:gd name="T2" fmla="*/ 0 w 417"/>
                <a:gd name="T3" fmla="*/ 1084997487 h 466"/>
                <a:gd name="T4" fmla="*/ 0 w 417"/>
                <a:gd name="T5" fmla="*/ 1071148297 h 466"/>
                <a:gd name="T6" fmla="*/ 2016564 w 417"/>
                <a:gd name="T7" fmla="*/ 1065967725 h 466"/>
                <a:gd name="T8" fmla="*/ 440005146 w 417"/>
                <a:gd name="T9" fmla="*/ 19018883 h 466"/>
                <a:gd name="T10" fmla="*/ 469546985 w 417"/>
                <a:gd name="T11" fmla="*/ 0 h 466"/>
                <a:gd name="T12" fmla="*/ 474377529 w 417"/>
                <a:gd name="T13" fmla="*/ 0 h 466"/>
                <a:gd name="T14" fmla="*/ 505945896 w 417"/>
                <a:gd name="T15" fmla="*/ 21137875 h 466"/>
                <a:gd name="T16" fmla="*/ 612172944 w 417"/>
                <a:gd name="T17" fmla="*/ 284828039 h 466"/>
                <a:gd name="T18" fmla="*/ 830540312 w 417"/>
                <a:gd name="T19" fmla="*/ 805128453 h 466"/>
                <a:gd name="T20" fmla="*/ 936767478 w 417"/>
                <a:gd name="T21" fmla="*/ 1065967725 h 466"/>
                <a:gd name="T22" fmla="*/ 936767478 w 417"/>
                <a:gd name="T23" fmla="*/ 1065967725 h 466"/>
                <a:gd name="T24" fmla="*/ 941198430 w 417"/>
                <a:gd name="T25" fmla="*/ 1084997487 h 466"/>
                <a:gd name="T26" fmla="*/ 914535082 w 417"/>
                <a:gd name="T27" fmla="*/ 1104057219 h 466"/>
                <a:gd name="T28" fmla="*/ 26658435 w 417"/>
                <a:gd name="T29" fmla="*/ 1104057219 h 466"/>
                <a:gd name="T30" fmla="*/ 173692259 w 417"/>
                <a:gd name="T31" fmla="*/ 974102843 h 466"/>
                <a:gd name="T32" fmla="*/ 332252753 w 417"/>
                <a:gd name="T33" fmla="*/ 974102843 h 466"/>
                <a:gd name="T34" fmla="*/ 767506131 w 417"/>
                <a:gd name="T35" fmla="*/ 974102843 h 466"/>
                <a:gd name="T36" fmla="*/ 471651445 w 417"/>
                <a:gd name="T37" fmla="*/ 238808028 h 466"/>
                <a:gd name="T38" fmla="*/ 173692259 w 417"/>
                <a:gd name="T39" fmla="*/ 974102843 h 4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17" h="466">
                  <a:moveTo>
                    <a:pt x="12" y="466"/>
                  </a:moveTo>
                  <a:cubicBezTo>
                    <a:pt x="4" y="466"/>
                    <a:pt x="0" y="463"/>
                    <a:pt x="0" y="458"/>
                  </a:cubicBezTo>
                  <a:cubicBezTo>
                    <a:pt x="0" y="455"/>
                    <a:pt x="0" y="453"/>
                    <a:pt x="0" y="452"/>
                  </a:cubicBezTo>
                  <a:cubicBezTo>
                    <a:pt x="1" y="450"/>
                    <a:pt x="1" y="450"/>
                    <a:pt x="1" y="450"/>
                  </a:cubicBezTo>
                  <a:cubicBezTo>
                    <a:pt x="195" y="8"/>
                    <a:pt x="195" y="8"/>
                    <a:pt x="195" y="8"/>
                  </a:cubicBezTo>
                  <a:cubicBezTo>
                    <a:pt x="196" y="5"/>
                    <a:pt x="197" y="0"/>
                    <a:pt x="208" y="0"/>
                  </a:cubicBezTo>
                  <a:cubicBezTo>
                    <a:pt x="210" y="0"/>
                    <a:pt x="210" y="0"/>
                    <a:pt x="210" y="0"/>
                  </a:cubicBezTo>
                  <a:cubicBezTo>
                    <a:pt x="222" y="0"/>
                    <a:pt x="222" y="7"/>
                    <a:pt x="224" y="9"/>
                  </a:cubicBezTo>
                  <a:cubicBezTo>
                    <a:pt x="239" y="46"/>
                    <a:pt x="255" y="83"/>
                    <a:pt x="271" y="120"/>
                  </a:cubicBezTo>
                  <a:cubicBezTo>
                    <a:pt x="368" y="340"/>
                    <a:pt x="368" y="340"/>
                    <a:pt x="368" y="340"/>
                  </a:cubicBezTo>
                  <a:cubicBezTo>
                    <a:pt x="384" y="377"/>
                    <a:pt x="400" y="414"/>
                    <a:pt x="415" y="450"/>
                  </a:cubicBezTo>
                  <a:cubicBezTo>
                    <a:pt x="415" y="450"/>
                    <a:pt x="415" y="450"/>
                    <a:pt x="415" y="450"/>
                  </a:cubicBezTo>
                  <a:cubicBezTo>
                    <a:pt x="417" y="458"/>
                    <a:pt x="417" y="458"/>
                    <a:pt x="417" y="458"/>
                  </a:cubicBezTo>
                  <a:cubicBezTo>
                    <a:pt x="417" y="463"/>
                    <a:pt x="413" y="466"/>
                    <a:pt x="405" y="466"/>
                  </a:cubicBezTo>
                  <a:lnTo>
                    <a:pt x="12" y="466"/>
                  </a:lnTo>
                  <a:close/>
                  <a:moveTo>
                    <a:pt x="77" y="411"/>
                  </a:moveTo>
                  <a:cubicBezTo>
                    <a:pt x="147" y="411"/>
                    <a:pt x="147" y="411"/>
                    <a:pt x="147" y="411"/>
                  </a:cubicBezTo>
                  <a:cubicBezTo>
                    <a:pt x="340" y="411"/>
                    <a:pt x="340" y="411"/>
                    <a:pt x="340" y="411"/>
                  </a:cubicBezTo>
                  <a:cubicBezTo>
                    <a:pt x="209" y="101"/>
                    <a:pt x="209" y="101"/>
                    <a:pt x="209" y="101"/>
                  </a:cubicBezTo>
                  <a:lnTo>
                    <a:pt x="77" y="411"/>
                  </a:lnTo>
                  <a:close/>
                </a:path>
              </a:pathLst>
            </a:custGeom>
            <a:solidFill>
              <a:srgbClr val="1993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 name="Freeform 7">
              <a:extLst>
                <a:ext uri="{FF2B5EF4-FFF2-40B4-BE49-F238E27FC236}">
                  <a16:creationId xmlns:a16="http://schemas.microsoft.com/office/drawing/2014/main" id="{03D0A39D-3FF0-D74D-3B71-613EBBDA080D}"/>
                </a:ext>
              </a:extLst>
            </p:cNvPr>
            <p:cNvSpPr>
              <a:spLocks noEditPoints="1"/>
            </p:cNvSpPr>
            <p:nvPr userDrawn="1"/>
          </p:nvSpPr>
          <p:spPr bwMode="auto">
            <a:xfrm>
              <a:off x="2501" y="1189"/>
              <a:ext cx="1594" cy="1942"/>
            </a:xfrm>
            <a:custGeom>
              <a:avLst/>
              <a:gdLst>
                <a:gd name="T0" fmla="*/ 1483443497 w 674"/>
                <a:gd name="T1" fmla="*/ 1714655374 h 819"/>
                <a:gd name="T2" fmla="*/ 1526729097 w 674"/>
                <a:gd name="T3" fmla="*/ 1761916426 h 819"/>
                <a:gd name="T4" fmla="*/ 1526729097 w 674"/>
                <a:gd name="T5" fmla="*/ 1892482889 h 819"/>
                <a:gd name="T6" fmla="*/ 1483443497 w 674"/>
                <a:gd name="T7" fmla="*/ 1939529634 h 819"/>
                <a:gd name="T8" fmla="*/ 45037621 w 674"/>
                <a:gd name="T9" fmla="*/ 1939529634 h 819"/>
                <a:gd name="T10" fmla="*/ 2021131 w 674"/>
                <a:gd name="T11" fmla="*/ 1892482889 h 819"/>
                <a:gd name="T12" fmla="*/ 2021131 w 674"/>
                <a:gd name="T13" fmla="*/ 1747816468 h 819"/>
                <a:gd name="T14" fmla="*/ 4779945 w 674"/>
                <a:gd name="T15" fmla="*/ 1718918526 h 819"/>
                <a:gd name="T16" fmla="*/ 1173181872 w 674"/>
                <a:gd name="T17" fmla="*/ 224874255 h 819"/>
                <a:gd name="T18" fmla="*/ 67999529 w 674"/>
                <a:gd name="T19" fmla="*/ 224874255 h 819"/>
                <a:gd name="T20" fmla="*/ 23082570 w 674"/>
                <a:gd name="T21" fmla="*/ 177827380 h 819"/>
                <a:gd name="T22" fmla="*/ 23082570 w 674"/>
                <a:gd name="T23" fmla="*/ 39995312 h 819"/>
                <a:gd name="T24" fmla="*/ 67999529 w 674"/>
                <a:gd name="T25" fmla="*/ 0 h 819"/>
                <a:gd name="T26" fmla="*/ 1415437178 w 674"/>
                <a:gd name="T27" fmla="*/ 0 h 819"/>
                <a:gd name="T28" fmla="*/ 1460854109 w 674"/>
                <a:gd name="T29" fmla="*/ 45085377 h 819"/>
                <a:gd name="T30" fmla="*/ 1460854109 w 674"/>
                <a:gd name="T31" fmla="*/ 191701471 h 819"/>
                <a:gd name="T32" fmla="*/ 1458729657 w 674"/>
                <a:gd name="T33" fmla="*/ 205471911 h 819"/>
                <a:gd name="T34" fmla="*/ 1451728403 w 674"/>
                <a:gd name="T35" fmla="*/ 224874255 h 819"/>
                <a:gd name="T36" fmla="*/ 1453837196 w 674"/>
                <a:gd name="T37" fmla="*/ 220773085 h 819"/>
                <a:gd name="T38" fmla="*/ 298805398 w 674"/>
                <a:gd name="T39" fmla="*/ 1714655374 h 819"/>
                <a:gd name="T40" fmla="*/ 892477599 w 674"/>
                <a:gd name="T41" fmla="*/ 1714655374 h 819"/>
                <a:gd name="T42" fmla="*/ 1483443497 w 674"/>
                <a:gd name="T43" fmla="*/ 1714655374 h 819"/>
                <a:gd name="T44" fmla="*/ 901071203 w 674"/>
                <a:gd name="T45" fmla="*/ 1338067130 h 819"/>
                <a:gd name="T46" fmla="*/ 1485464242 w 674"/>
                <a:gd name="T47" fmla="*/ 1338067130 h 819"/>
                <a:gd name="T48" fmla="*/ 1526729097 w 674"/>
                <a:gd name="T49" fmla="*/ 1380181100 h 819"/>
                <a:gd name="T50" fmla="*/ 1526729097 w 674"/>
                <a:gd name="T51" fmla="*/ 1518014804 h 819"/>
                <a:gd name="T52" fmla="*/ 1485464242 w 674"/>
                <a:gd name="T53" fmla="*/ 1565124966 h 819"/>
                <a:gd name="T54" fmla="*/ 899479284 w 674"/>
                <a:gd name="T55" fmla="*/ 1565124966 h 819"/>
                <a:gd name="T56" fmla="*/ 858051680 w 674"/>
                <a:gd name="T57" fmla="*/ 1525126678 h 819"/>
                <a:gd name="T58" fmla="*/ 858051680 w 674"/>
                <a:gd name="T59" fmla="*/ 1385323779 h 819"/>
                <a:gd name="T60" fmla="*/ 872788267 w 674"/>
                <a:gd name="T61" fmla="*/ 1354121744 h 819"/>
                <a:gd name="T62" fmla="*/ 901071203 w 674"/>
                <a:gd name="T63" fmla="*/ 1338067130 h 81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74" h="819">
                  <a:moveTo>
                    <a:pt x="655" y="724"/>
                  </a:moveTo>
                  <a:cubicBezTo>
                    <a:pt x="654" y="724"/>
                    <a:pt x="674" y="721"/>
                    <a:pt x="674" y="744"/>
                  </a:cubicBezTo>
                  <a:cubicBezTo>
                    <a:pt x="674" y="799"/>
                    <a:pt x="674" y="799"/>
                    <a:pt x="674" y="799"/>
                  </a:cubicBezTo>
                  <a:cubicBezTo>
                    <a:pt x="674" y="809"/>
                    <a:pt x="666" y="819"/>
                    <a:pt x="655" y="819"/>
                  </a:cubicBezTo>
                  <a:cubicBezTo>
                    <a:pt x="20" y="819"/>
                    <a:pt x="20" y="819"/>
                    <a:pt x="20" y="819"/>
                  </a:cubicBezTo>
                  <a:cubicBezTo>
                    <a:pt x="10" y="819"/>
                    <a:pt x="0" y="811"/>
                    <a:pt x="1" y="799"/>
                  </a:cubicBezTo>
                  <a:cubicBezTo>
                    <a:pt x="1" y="738"/>
                    <a:pt x="1" y="738"/>
                    <a:pt x="1" y="738"/>
                  </a:cubicBezTo>
                  <a:cubicBezTo>
                    <a:pt x="0" y="735"/>
                    <a:pt x="2" y="730"/>
                    <a:pt x="2" y="726"/>
                  </a:cubicBezTo>
                  <a:cubicBezTo>
                    <a:pt x="518" y="95"/>
                    <a:pt x="518" y="95"/>
                    <a:pt x="518" y="95"/>
                  </a:cubicBezTo>
                  <a:cubicBezTo>
                    <a:pt x="30" y="95"/>
                    <a:pt x="30" y="95"/>
                    <a:pt x="30" y="95"/>
                  </a:cubicBezTo>
                  <a:cubicBezTo>
                    <a:pt x="15" y="95"/>
                    <a:pt x="10" y="88"/>
                    <a:pt x="10" y="75"/>
                  </a:cubicBezTo>
                  <a:cubicBezTo>
                    <a:pt x="10" y="17"/>
                    <a:pt x="10" y="17"/>
                    <a:pt x="10" y="17"/>
                  </a:cubicBezTo>
                  <a:cubicBezTo>
                    <a:pt x="10" y="5"/>
                    <a:pt x="15" y="0"/>
                    <a:pt x="30" y="0"/>
                  </a:cubicBezTo>
                  <a:cubicBezTo>
                    <a:pt x="625" y="0"/>
                    <a:pt x="625" y="0"/>
                    <a:pt x="625" y="0"/>
                  </a:cubicBezTo>
                  <a:cubicBezTo>
                    <a:pt x="637" y="0"/>
                    <a:pt x="645" y="6"/>
                    <a:pt x="645" y="19"/>
                  </a:cubicBezTo>
                  <a:cubicBezTo>
                    <a:pt x="645" y="81"/>
                    <a:pt x="645" y="81"/>
                    <a:pt x="645" y="81"/>
                  </a:cubicBezTo>
                  <a:cubicBezTo>
                    <a:pt x="645" y="82"/>
                    <a:pt x="645" y="85"/>
                    <a:pt x="644" y="87"/>
                  </a:cubicBezTo>
                  <a:cubicBezTo>
                    <a:pt x="641" y="95"/>
                    <a:pt x="641" y="95"/>
                    <a:pt x="641" y="95"/>
                  </a:cubicBezTo>
                  <a:cubicBezTo>
                    <a:pt x="642" y="93"/>
                    <a:pt x="642" y="93"/>
                    <a:pt x="642" y="93"/>
                  </a:cubicBezTo>
                  <a:cubicBezTo>
                    <a:pt x="132" y="724"/>
                    <a:pt x="132" y="724"/>
                    <a:pt x="132" y="724"/>
                  </a:cubicBezTo>
                  <a:cubicBezTo>
                    <a:pt x="394" y="724"/>
                    <a:pt x="394" y="724"/>
                    <a:pt x="394" y="724"/>
                  </a:cubicBezTo>
                  <a:lnTo>
                    <a:pt x="655" y="724"/>
                  </a:lnTo>
                  <a:close/>
                  <a:moveTo>
                    <a:pt x="398" y="565"/>
                  </a:moveTo>
                  <a:cubicBezTo>
                    <a:pt x="656" y="565"/>
                    <a:pt x="656" y="565"/>
                    <a:pt x="656" y="565"/>
                  </a:cubicBezTo>
                  <a:cubicBezTo>
                    <a:pt x="666" y="565"/>
                    <a:pt x="674" y="573"/>
                    <a:pt x="674" y="583"/>
                  </a:cubicBezTo>
                  <a:cubicBezTo>
                    <a:pt x="674" y="641"/>
                    <a:pt x="674" y="641"/>
                    <a:pt x="674" y="641"/>
                  </a:cubicBezTo>
                  <a:cubicBezTo>
                    <a:pt x="674" y="652"/>
                    <a:pt x="666" y="661"/>
                    <a:pt x="656" y="661"/>
                  </a:cubicBezTo>
                  <a:cubicBezTo>
                    <a:pt x="397" y="661"/>
                    <a:pt x="397" y="661"/>
                    <a:pt x="397" y="661"/>
                  </a:cubicBezTo>
                  <a:cubicBezTo>
                    <a:pt x="386" y="661"/>
                    <a:pt x="379" y="654"/>
                    <a:pt x="379" y="644"/>
                  </a:cubicBezTo>
                  <a:cubicBezTo>
                    <a:pt x="379" y="585"/>
                    <a:pt x="379" y="585"/>
                    <a:pt x="379" y="585"/>
                  </a:cubicBezTo>
                  <a:cubicBezTo>
                    <a:pt x="380" y="580"/>
                    <a:pt x="382" y="576"/>
                    <a:pt x="385" y="572"/>
                  </a:cubicBezTo>
                  <a:cubicBezTo>
                    <a:pt x="385" y="572"/>
                    <a:pt x="386" y="565"/>
                    <a:pt x="398" y="565"/>
                  </a:cubicBezTo>
                  <a:close/>
                </a:path>
              </a:pathLst>
            </a:custGeom>
            <a:solidFill>
              <a:srgbClr val="9EBE5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1" name="Freeform 8">
              <a:extLst>
                <a:ext uri="{FF2B5EF4-FFF2-40B4-BE49-F238E27FC236}">
                  <a16:creationId xmlns:a16="http://schemas.microsoft.com/office/drawing/2014/main" id="{3121C363-8ADC-0CB0-8916-84D3C8B1BEF9}"/>
                </a:ext>
              </a:extLst>
            </p:cNvPr>
            <p:cNvSpPr>
              <a:spLocks noEditPoints="1"/>
            </p:cNvSpPr>
            <p:nvPr userDrawn="1"/>
          </p:nvSpPr>
          <p:spPr bwMode="auto">
            <a:xfrm>
              <a:off x="4133" y="1189"/>
              <a:ext cx="986" cy="1105"/>
            </a:xfrm>
            <a:custGeom>
              <a:avLst/>
              <a:gdLst>
                <a:gd name="T0" fmla="*/ 26658435 w 417"/>
                <a:gd name="T1" fmla="*/ 1104057219 h 466"/>
                <a:gd name="T2" fmla="*/ 2016564 w 417"/>
                <a:gd name="T3" fmla="*/ 1084997487 h 466"/>
                <a:gd name="T4" fmla="*/ 2016564 w 417"/>
                <a:gd name="T5" fmla="*/ 1071148297 h 466"/>
                <a:gd name="T6" fmla="*/ 4768183 w 417"/>
                <a:gd name="T7" fmla="*/ 1065967725 h 466"/>
                <a:gd name="T8" fmla="*/ 440005146 w 417"/>
                <a:gd name="T9" fmla="*/ 19018883 h 466"/>
                <a:gd name="T10" fmla="*/ 471651445 w 417"/>
                <a:gd name="T11" fmla="*/ 0 h 466"/>
                <a:gd name="T12" fmla="*/ 476419656 w 417"/>
                <a:gd name="T13" fmla="*/ 0 h 466"/>
                <a:gd name="T14" fmla="*/ 505945896 w 417"/>
                <a:gd name="T15" fmla="*/ 21137875 h 466"/>
                <a:gd name="T16" fmla="*/ 612172944 w 417"/>
                <a:gd name="T17" fmla="*/ 284828039 h 466"/>
                <a:gd name="T18" fmla="*/ 833293680 w 417"/>
                <a:gd name="T19" fmla="*/ 805128453 h 466"/>
                <a:gd name="T20" fmla="*/ 939517011 w 417"/>
                <a:gd name="T21" fmla="*/ 1065967725 h 466"/>
                <a:gd name="T22" fmla="*/ 936767478 w 417"/>
                <a:gd name="T23" fmla="*/ 1065967725 h 466"/>
                <a:gd name="T24" fmla="*/ 941198430 w 417"/>
                <a:gd name="T25" fmla="*/ 1084997487 h 466"/>
                <a:gd name="T26" fmla="*/ 916425650 w 417"/>
                <a:gd name="T27" fmla="*/ 1104057219 h 466"/>
                <a:gd name="T28" fmla="*/ 26658435 w 417"/>
                <a:gd name="T29" fmla="*/ 1104057219 h 466"/>
                <a:gd name="T30" fmla="*/ 173692259 w 417"/>
                <a:gd name="T31" fmla="*/ 974102843 h 466"/>
                <a:gd name="T32" fmla="*/ 332252753 w 417"/>
                <a:gd name="T33" fmla="*/ 974102843 h 466"/>
                <a:gd name="T34" fmla="*/ 767506131 w 417"/>
                <a:gd name="T35" fmla="*/ 974102843 h 466"/>
                <a:gd name="T36" fmla="*/ 471651445 w 417"/>
                <a:gd name="T37" fmla="*/ 238808028 h 466"/>
                <a:gd name="T38" fmla="*/ 173692259 w 417"/>
                <a:gd name="T39" fmla="*/ 974102843 h 4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17" h="466">
                  <a:moveTo>
                    <a:pt x="12" y="466"/>
                  </a:moveTo>
                  <a:cubicBezTo>
                    <a:pt x="4" y="466"/>
                    <a:pt x="0" y="463"/>
                    <a:pt x="1" y="458"/>
                  </a:cubicBezTo>
                  <a:cubicBezTo>
                    <a:pt x="0" y="455"/>
                    <a:pt x="0" y="453"/>
                    <a:pt x="1" y="452"/>
                  </a:cubicBezTo>
                  <a:cubicBezTo>
                    <a:pt x="2" y="450"/>
                    <a:pt x="2" y="450"/>
                    <a:pt x="2" y="450"/>
                  </a:cubicBezTo>
                  <a:cubicBezTo>
                    <a:pt x="195" y="8"/>
                    <a:pt x="195" y="8"/>
                    <a:pt x="195" y="8"/>
                  </a:cubicBezTo>
                  <a:cubicBezTo>
                    <a:pt x="197" y="5"/>
                    <a:pt x="198" y="0"/>
                    <a:pt x="209" y="0"/>
                  </a:cubicBezTo>
                  <a:cubicBezTo>
                    <a:pt x="211" y="0"/>
                    <a:pt x="211" y="0"/>
                    <a:pt x="211" y="0"/>
                  </a:cubicBezTo>
                  <a:cubicBezTo>
                    <a:pt x="222" y="0"/>
                    <a:pt x="223" y="7"/>
                    <a:pt x="224" y="9"/>
                  </a:cubicBezTo>
                  <a:cubicBezTo>
                    <a:pt x="239" y="46"/>
                    <a:pt x="255" y="83"/>
                    <a:pt x="271" y="120"/>
                  </a:cubicBezTo>
                  <a:cubicBezTo>
                    <a:pt x="369" y="340"/>
                    <a:pt x="369" y="340"/>
                    <a:pt x="369" y="340"/>
                  </a:cubicBezTo>
                  <a:cubicBezTo>
                    <a:pt x="385" y="377"/>
                    <a:pt x="401" y="414"/>
                    <a:pt x="416" y="450"/>
                  </a:cubicBezTo>
                  <a:cubicBezTo>
                    <a:pt x="415" y="450"/>
                    <a:pt x="415" y="450"/>
                    <a:pt x="415" y="450"/>
                  </a:cubicBezTo>
                  <a:cubicBezTo>
                    <a:pt x="417" y="458"/>
                    <a:pt x="417" y="458"/>
                    <a:pt x="417" y="458"/>
                  </a:cubicBezTo>
                  <a:cubicBezTo>
                    <a:pt x="417" y="463"/>
                    <a:pt x="414" y="466"/>
                    <a:pt x="406" y="466"/>
                  </a:cubicBezTo>
                  <a:lnTo>
                    <a:pt x="12" y="466"/>
                  </a:lnTo>
                  <a:close/>
                  <a:moveTo>
                    <a:pt x="77" y="411"/>
                  </a:moveTo>
                  <a:cubicBezTo>
                    <a:pt x="147" y="411"/>
                    <a:pt x="147" y="411"/>
                    <a:pt x="147" y="411"/>
                  </a:cubicBezTo>
                  <a:cubicBezTo>
                    <a:pt x="340" y="411"/>
                    <a:pt x="340" y="411"/>
                    <a:pt x="340" y="411"/>
                  </a:cubicBezTo>
                  <a:cubicBezTo>
                    <a:pt x="209" y="101"/>
                    <a:pt x="209" y="101"/>
                    <a:pt x="209" y="101"/>
                  </a:cubicBezTo>
                  <a:lnTo>
                    <a:pt x="77" y="411"/>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a:extLst>
                <a:ext uri="{FF2B5EF4-FFF2-40B4-BE49-F238E27FC236}">
                  <a16:creationId xmlns:a16="http://schemas.microsoft.com/office/drawing/2014/main" id="{A71CDF69-8D3F-9D50-7DEA-880D01BF152D}"/>
                </a:ext>
              </a:extLst>
            </p:cNvPr>
            <p:cNvSpPr>
              <a:spLocks noEditPoints="1"/>
            </p:cNvSpPr>
            <p:nvPr userDrawn="1"/>
          </p:nvSpPr>
          <p:spPr bwMode="auto">
            <a:xfrm>
              <a:off x="5259" y="1187"/>
              <a:ext cx="941" cy="1107"/>
            </a:xfrm>
            <a:custGeom>
              <a:avLst/>
              <a:gdLst>
                <a:gd name="T0" fmla="*/ 897379222 w 398"/>
                <a:gd name="T1" fmla="*/ 30594420 h 467"/>
                <a:gd name="T2" fmla="*/ 890358234 w 398"/>
                <a:gd name="T3" fmla="*/ 1076168270 h 467"/>
                <a:gd name="T4" fmla="*/ 863748004 w 398"/>
                <a:gd name="T5" fmla="*/ 1100058818 h 467"/>
                <a:gd name="T6" fmla="*/ 771485685 w 398"/>
                <a:gd name="T7" fmla="*/ 1100058818 h 467"/>
                <a:gd name="T8" fmla="*/ 125893508 w 398"/>
                <a:gd name="T9" fmla="*/ 184128005 h 467"/>
                <a:gd name="T10" fmla="*/ 122136901 w 398"/>
                <a:gd name="T11" fmla="*/ 754173992 h 467"/>
                <a:gd name="T12" fmla="*/ 376580847 w 398"/>
                <a:gd name="T13" fmla="*/ 754173992 h 467"/>
                <a:gd name="T14" fmla="*/ 398430025 w 398"/>
                <a:gd name="T15" fmla="*/ 777275989 h 467"/>
                <a:gd name="T16" fmla="*/ 398430025 w 398"/>
                <a:gd name="T17" fmla="*/ 854743724 h 467"/>
                <a:gd name="T18" fmla="*/ 376580847 w 398"/>
                <a:gd name="T19" fmla="*/ 883384289 h 467"/>
                <a:gd name="T20" fmla="*/ 24536535 w 398"/>
                <a:gd name="T21" fmla="*/ 878310296 h 467"/>
                <a:gd name="T22" fmla="*/ 23013058 w 398"/>
                <a:gd name="T23" fmla="*/ 878310296 h 467"/>
                <a:gd name="T24" fmla="*/ 0 w 398"/>
                <a:gd name="T25" fmla="*/ 859366371 h 467"/>
                <a:gd name="T26" fmla="*/ 6865536 w 398"/>
                <a:gd name="T27" fmla="*/ 25974653 h 467"/>
                <a:gd name="T28" fmla="*/ 31374522 w 398"/>
                <a:gd name="T29" fmla="*/ 2072546 h 467"/>
                <a:gd name="T30" fmla="*/ 125893508 w 398"/>
                <a:gd name="T31" fmla="*/ 2072546 h 467"/>
                <a:gd name="T32" fmla="*/ 148746381 w 398"/>
                <a:gd name="T33" fmla="*/ 13823806 h 467"/>
                <a:gd name="T34" fmla="*/ 768580627 w 398"/>
                <a:gd name="T35" fmla="*/ 885333514 h 467"/>
                <a:gd name="T36" fmla="*/ 775022528 w 398"/>
                <a:gd name="T37" fmla="*/ 23886284 h 467"/>
                <a:gd name="T38" fmla="*/ 798083455 w 398"/>
                <a:gd name="T39" fmla="*/ 7074865 h 467"/>
                <a:gd name="T40" fmla="*/ 870741434 w 398"/>
                <a:gd name="T41" fmla="*/ 7074865 h 467"/>
                <a:gd name="T42" fmla="*/ 888769892 w 398"/>
                <a:gd name="T43" fmla="*/ 13823806 h 467"/>
                <a:gd name="T44" fmla="*/ 897379222 w 398"/>
                <a:gd name="T45" fmla="*/ 30594420 h 467"/>
                <a:gd name="T46" fmla="*/ 502483131 w 398"/>
                <a:gd name="T47" fmla="*/ 967923553 h 467"/>
                <a:gd name="T48" fmla="*/ 525479561 w 398"/>
                <a:gd name="T49" fmla="*/ 991784983 h 467"/>
                <a:gd name="T50" fmla="*/ 525479561 w 398"/>
                <a:gd name="T51" fmla="*/ 1069462303 h 467"/>
                <a:gd name="T52" fmla="*/ 502483131 w 398"/>
                <a:gd name="T53" fmla="*/ 1097986322 h 467"/>
                <a:gd name="T54" fmla="*/ 23013058 w 398"/>
                <a:gd name="T55" fmla="*/ 1097986322 h 467"/>
                <a:gd name="T56" fmla="*/ 0 w 398"/>
                <a:gd name="T57" fmla="*/ 1074095937 h 467"/>
                <a:gd name="T58" fmla="*/ 0 w 398"/>
                <a:gd name="T59" fmla="*/ 993579494 h 467"/>
                <a:gd name="T60" fmla="*/ 24536535 w 398"/>
                <a:gd name="T61" fmla="*/ 967923553 h 467"/>
                <a:gd name="T62" fmla="*/ 264174943 w 398"/>
                <a:gd name="T63" fmla="*/ 967923553 h 467"/>
                <a:gd name="T64" fmla="*/ 502483131 w 398"/>
                <a:gd name="T65" fmla="*/ 967923553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98" h="467">
                  <a:moveTo>
                    <a:pt x="398" y="13"/>
                  </a:moveTo>
                  <a:cubicBezTo>
                    <a:pt x="395" y="457"/>
                    <a:pt x="395" y="457"/>
                    <a:pt x="395" y="457"/>
                  </a:cubicBezTo>
                  <a:cubicBezTo>
                    <a:pt x="395" y="464"/>
                    <a:pt x="390" y="467"/>
                    <a:pt x="383" y="467"/>
                  </a:cubicBezTo>
                  <a:cubicBezTo>
                    <a:pt x="342" y="467"/>
                    <a:pt x="342" y="467"/>
                    <a:pt x="342" y="467"/>
                  </a:cubicBezTo>
                  <a:cubicBezTo>
                    <a:pt x="56" y="78"/>
                    <a:pt x="56" y="78"/>
                    <a:pt x="56" y="78"/>
                  </a:cubicBezTo>
                  <a:cubicBezTo>
                    <a:pt x="54" y="320"/>
                    <a:pt x="54" y="320"/>
                    <a:pt x="54" y="320"/>
                  </a:cubicBezTo>
                  <a:cubicBezTo>
                    <a:pt x="167" y="320"/>
                    <a:pt x="167" y="320"/>
                    <a:pt x="167" y="320"/>
                  </a:cubicBezTo>
                  <a:cubicBezTo>
                    <a:pt x="173" y="320"/>
                    <a:pt x="177" y="324"/>
                    <a:pt x="177" y="330"/>
                  </a:cubicBezTo>
                  <a:cubicBezTo>
                    <a:pt x="177" y="363"/>
                    <a:pt x="177" y="363"/>
                    <a:pt x="177" y="363"/>
                  </a:cubicBezTo>
                  <a:cubicBezTo>
                    <a:pt x="177" y="369"/>
                    <a:pt x="173" y="375"/>
                    <a:pt x="167" y="375"/>
                  </a:cubicBezTo>
                  <a:cubicBezTo>
                    <a:pt x="11" y="373"/>
                    <a:pt x="11" y="373"/>
                    <a:pt x="11" y="373"/>
                  </a:cubicBezTo>
                  <a:cubicBezTo>
                    <a:pt x="10" y="373"/>
                    <a:pt x="10" y="373"/>
                    <a:pt x="10" y="373"/>
                  </a:cubicBezTo>
                  <a:cubicBezTo>
                    <a:pt x="4" y="373"/>
                    <a:pt x="1" y="370"/>
                    <a:pt x="0" y="365"/>
                  </a:cubicBezTo>
                  <a:cubicBezTo>
                    <a:pt x="3" y="11"/>
                    <a:pt x="3" y="11"/>
                    <a:pt x="3" y="11"/>
                  </a:cubicBezTo>
                  <a:cubicBezTo>
                    <a:pt x="3" y="5"/>
                    <a:pt x="7" y="0"/>
                    <a:pt x="14" y="1"/>
                  </a:cubicBezTo>
                  <a:cubicBezTo>
                    <a:pt x="56" y="1"/>
                    <a:pt x="56" y="1"/>
                    <a:pt x="56" y="1"/>
                  </a:cubicBezTo>
                  <a:cubicBezTo>
                    <a:pt x="60" y="1"/>
                    <a:pt x="64" y="3"/>
                    <a:pt x="66" y="6"/>
                  </a:cubicBezTo>
                  <a:cubicBezTo>
                    <a:pt x="341" y="376"/>
                    <a:pt x="341" y="376"/>
                    <a:pt x="341" y="376"/>
                  </a:cubicBezTo>
                  <a:cubicBezTo>
                    <a:pt x="344" y="10"/>
                    <a:pt x="344" y="10"/>
                    <a:pt x="344" y="10"/>
                  </a:cubicBezTo>
                  <a:cubicBezTo>
                    <a:pt x="345" y="5"/>
                    <a:pt x="349" y="3"/>
                    <a:pt x="354" y="3"/>
                  </a:cubicBezTo>
                  <a:cubicBezTo>
                    <a:pt x="386" y="3"/>
                    <a:pt x="386" y="3"/>
                    <a:pt x="386" y="3"/>
                  </a:cubicBezTo>
                  <a:cubicBezTo>
                    <a:pt x="389" y="3"/>
                    <a:pt x="391" y="4"/>
                    <a:pt x="394" y="6"/>
                  </a:cubicBezTo>
                  <a:cubicBezTo>
                    <a:pt x="396" y="7"/>
                    <a:pt x="398" y="10"/>
                    <a:pt x="398" y="13"/>
                  </a:cubicBezTo>
                  <a:close/>
                  <a:moveTo>
                    <a:pt x="223" y="411"/>
                  </a:moveTo>
                  <a:cubicBezTo>
                    <a:pt x="229" y="411"/>
                    <a:pt x="233" y="415"/>
                    <a:pt x="233" y="421"/>
                  </a:cubicBezTo>
                  <a:cubicBezTo>
                    <a:pt x="233" y="454"/>
                    <a:pt x="233" y="454"/>
                    <a:pt x="233" y="454"/>
                  </a:cubicBezTo>
                  <a:cubicBezTo>
                    <a:pt x="233" y="460"/>
                    <a:pt x="230" y="466"/>
                    <a:pt x="223" y="466"/>
                  </a:cubicBezTo>
                  <a:cubicBezTo>
                    <a:pt x="10" y="466"/>
                    <a:pt x="10" y="466"/>
                    <a:pt x="10" y="466"/>
                  </a:cubicBezTo>
                  <a:cubicBezTo>
                    <a:pt x="4" y="466"/>
                    <a:pt x="0" y="462"/>
                    <a:pt x="0" y="456"/>
                  </a:cubicBezTo>
                  <a:cubicBezTo>
                    <a:pt x="0" y="422"/>
                    <a:pt x="0" y="422"/>
                    <a:pt x="0" y="422"/>
                  </a:cubicBezTo>
                  <a:cubicBezTo>
                    <a:pt x="0" y="416"/>
                    <a:pt x="4" y="411"/>
                    <a:pt x="11" y="411"/>
                  </a:cubicBezTo>
                  <a:cubicBezTo>
                    <a:pt x="117" y="411"/>
                    <a:pt x="117" y="411"/>
                    <a:pt x="117" y="411"/>
                  </a:cubicBezTo>
                  <a:lnTo>
                    <a:pt x="223" y="411"/>
                  </a:lnTo>
                  <a:close/>
                </a:path>
              </a:pathLst>
            </a:custGeom>
            <a:solidFill>
              <a:srgbClr val="C03B2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3" name="Freeform 10">
              <a:extLst>
                <a:ext uri="{FF2B5EF4-FFF2-40B4-BE49-F238E27FC236}">
                  <a16:creationId xmlns:a16="http://schemas.microsoft.com/office/drawing/2014/main" id="{E769FCB5-106B-103F-31E6-9829AD6B04A5}"/>
                </a:ext>
              </a:extLst>
            </p:cNvPr>
            <p:cNvSpPr>
              <a:spLocks noEditPoints="1"/>
            </p:cNvSpPr>
            <p:nvPr userDrawn="1"/>
          </p:nvSpPr>
          <p:spPr bwMode="auto">
            <a:xfrm>
              <a:off x="6280" y="1189"/>
              <a:ext cx="1102" cy="1105"/>
            </a:xfrm>
            <a:custGeom>
              <a:avLst/>
              <a:gdLst>
                <a:gd name="T0" fmla="*/ 154128366 w 466"/>
                <a:gd name="T1" fmla="*/ 943010351 h 466"/>
                <a:gd name="T2" fmla="*/ 0 w 466"/>
                <a:gd name="T3" fmla="*/ 552442640 h 466"/>
                <a:gd name="T4" fmla="*/ 154128366 w 466"/>
                <a:gd name="T5" fmla="*/ 163833771 h 466"/>
                <a:gd name="T6" fmla="*/ 527029454 w 466"/>
                <a:gd name="T7" fmla="*/ 0 h 466"/>
                <a:gd name="T8" fmla="*/ 900145882 w 466"/>
                <a:gd name="T9" fmla="*/ 163833771 h 466"/>
                <a:gd name="T10" fmla="*/ 1054209675 w 466"/>
                <a:gd name="T11" fmla="*/ 552442640 h 466"/>
                <a:gd name="T12" fmla="*/ 900145882 w 466"/>
                <a:gd name="T13" fmla="*/ 943010351 h 466"/>
                <a:gd name="T14" fmla="*/ 527029454 w 466"/>
                <a:gd name="T15" fmla="*/ 1104057219 h 466"/>
                <a:gd name="T16" fmla="*/ 154128366 w 466"/>
                <a:gd name="T17" fmla="*/ 943010351 h 466"/>
                <a:gd name="T18" fmla="*/ 237118879 w 466"/>
                <a:gd name="T19" fmla="*/ 248554821 h 466"/>
                <a:gd name="T20" fmla="*/ 117706387 w 466"/>
                <a:gd name="T21" fmla="*/ 552442640 h 466"/>
                <a:gd name="T22" fmla="*/ 237118879 w 466"/>
                <a:gd name="T23" fmla="*/ 855407497 h 466"/>
                <a:gd name="T24" fmla="*/ 527029454 w 466"/>
                <a:gd name="T25" fmla="*/ 983016883 h 466"/>
                <a:gd name="T26" fmla="*/ 817155276 w 466"/>
                <a:gd name="T27" fmla="*/ 855407497 h 466"/>
                <a:gd name="T28" fmla="*/ 938406617 w 466"/>
                <a:gd name="T29" fmla="*/ 552442640 h 466"/>
                <a:gd name="T30" fmla="*/ 817155276 w 466"/>
                <a:gd name="T31" fmla="*/ 248554821 h 466"/>
                <a:gd name="T32" fmla="*/ 527029454 w 466"/>
                <a:gd name="T33" fmla="*/ 121039414 h 466"/>
                <a:gd name="T34" fmla="*/ 237118879 w 466"/>
                <a:gd name="T35" fmla="*/ 248554821 h 4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6" h="466">
                  <a:moveTo>
                    <a:pt x="68" y="398"/>
                  </a:moveTo>
                  <a:cubicBezTo>
                    <a:pt x="24" y="354"/>
                    <a:pt x="2" y="299"/>
                    <a:pt x="0" y="233"/>
                  </a:cubicBezTo>
                  <a:cubicBezTo>
                    <a:pt x="2" y="167"/>
                    <a:pt x="24" y="112"/>
                    <a:pt x="68" y="69"/>
                  </a:cubicBezTo>
                  <a:cubicBezTo>
                    <a:pt x="112" y="24"/>
                    <a:pt x="167" y="2"/>
                    <a:pt x="233" y="0"/>
                  </a:cubicBezTo>
                  <a:cubicBezTo>
                    <a:pt x="299" y="2"/>
                    <a:pt x="354" y="24"/>
                    <a:pt x="398" y="69"/>
                  </a:cubicBezTo>
                  <a:cubicBezTo>
                    <a:pt x="442" y="112"/>
                    <a:pt x="465" y="167"/>
                    <a:pt x="466" y="233"/>
                  </a:cubicBezTo>
                  <a:cubicBezTo>
                    <a:pt x="465" y="299"/>
                    <a:pt x="442" y="354"/>
                    <a:pt x="398" y="398"/>
                  </a:cubicBezTo>
                  <a:cubicBezTo>
                    <a:pt x="354" y="441"/>
                    <a:pt x="299" y="464"/>
                    <a:pt x="233" y="466"/>
                  </a:cubicBezTo>
                  <a:cubicBezTo>
                    <a:pt x="167" y="464"/>
                    <a:pt x="112" y="441"/>
                    <a:pt x="68" y="398"/>
                  </a:cubicBezTo>
                  <a:close/>
                  <a:moveTo>
                    <a:pt x="105" y="105"/>
                  </a:moveTo>
                  <a:cubicBezTo>
                    <a:pt x="70" y="139"/>
                    <a:pt x="53" y="181"/>
                    <a:pt x="52" y="233"/>
                  </a:cubicBezTo>
                  <a:cubicBezTo>
                    <a:pt x="53" y="284"/>
                    <a:pt x="70" y="327"/>
                    <a:pt x="105" y="361"/>
                  </a:cubicBezTo>
                  <a:cubicBezTo>
                    <a:pt x="139" y="395"/>
                    <a:pt x="181" y="413"/>
                    <a:pt x="233" y="415"/>
                  </a:cubicBezTo>
                  <a:cubicBezTo>
                    <a:pt x="284" y="413"/>
                    <a:pt x="327" y="395"/>
                    <a:pt x="361" y="361"/>
                  </a:cubicBezTo>
                  <a:cubicBezTo>
                    <a:pt x="395" y="327"/>
                    <a:pt x="413" y="284"/>
                    <a:pt x="415" y="233"/>
                  </a:cubicBezTo>
                  <a:cubicBezTo>
                    <a:pt x="413" y="181"/>
                    <a:pt x="395" y="139"/>
                    <a:pt x="361" y="105"/>
                  </a:cubicBezTo>
                  <a:cubicBezTo>
                    <a:pt x="327" y="71"/>
                    <a:pt x="284" y="53"/>
                    <a:pt x="233" y="51"/>
                  </a:cubicBezTo>
                  <a:cubicBezTo>
                    <a:pt x="181" y="53"/>
                    <a:pt x="139" y="71"/>
                    <a:pt x="105" y="105"/>
                  </a:cubicBezTo>
                  <a:close/>
                </a:path>
              </a:pathLst>
            </a:custGeom>
            <a:solidFill>
              <a:srgbClr val="64324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1">
              <a:extLst>
                <a:ext uri="{FF2B5EF4-FFF2-40B4-BE49-F238E27FC236}">
                  <a16:creationId xmlns:a16="http://schemas.microsoft.com/office/drawing/2014/main" id="{DD93A99E-EBB2-3F8F-D90F-344FA32F37AC}"/>
                </a:ext>
              </a:extLst>
            </p:cNvPr>
            <p:cNvSpPr>
              <a:spLocks noEditPoints="1"/>
            </p:cNvSpPr>
            <p:nvPr userDrawn="1"/>
          </p:nvSpPr>
          <p:spPr bwMode="auto">
            <a:xfrm>
              <a:off x="4230" y="2552"/>
              <a:ext cx="334" cy="551"/>
            </a:xfrm>
            <a:custGeom>
              <a:avLst/>
              <a:gdLst>
                <a:gd name="T0" fmla="*/ 0 w 334"/>
                <a:gd name="T1" fmla="*/ 0 h 551"/>
                <a:gd name="T2" fmla="*/ 334 w 334"/>
                <a:gd name="T3" fmla="*/ 0 h 551"/>
                <a:gd name="T4" fmla="*/ 334 w 334"/>
                <a:gd name="T5" fmla="*/ 31 h 551"/>
                <a:gd name="T6" fmla="*/ 0 w 334"/>
                <a:gd name="T7" fmla="*/ 31 h 551"/>
                <a:gd name="T8" fmla="*/ 0 w 334"/>
                <a:gd name="T9" fmla="*/ 0 h 551"/>
                <a:gd name="T10" fmla="*/ 156 w 334"/>
                <a:gd name="T11" fmla="*/ 50 h 551"/>
                <a:gd name="T12" fmla="*/ 156 w 334"/>
                <a:gd name="T13" fmla="*/ 551 h 551"/>
                <a:gd name="T14" fmla="*/ 128 w 334"/>
                <a:gd name="T15" fmla="*/ 551 h 551"/>
                <a:gd name="T16" fmla="*/ 128 w 334"/>
                <a:gd name="T17" fmla="*/ 79 h 551"/>
                <a:gd name="T18" fmla="*/ 0 w 334"/>
                <a:gd name="T19" fmla="*/ 79 h 551"/>
                <a:gd name="T20" fmla="*/ 0 w 334"/>
                <a:gd name="T21" fmla="*/ 50 h 551"/>
                <a:gd name="T22" fmla="*/ 156 w 334"/>
                <a:gd name="T23" fmla="*/ 50 h 551"/>
                <a:gd name="T24" fmla="*/ 334 w 334"/>
                <a:gd name="T25" fmla="*/ 50 h 551"/>
                <a:gd name="T26" fmla="*/ 334 w 334"/>
                <a:gd name="T27" fmla="*/ 79 h 551"/>
                <a:gd name="T28" fmla="*/ 206 w 334"/>
                <a:gd name="T29" fmla="*/ 79 h 551"/>
                <a:gd name="T30" fmla="*/ 206 w 334"/>
                <a:gd name="T31" fmla="*/ 551 h 551"/>
                <a:gd name="T32" fmla="*/ 175 w 334"/>
                <a:gd name="T33" fmla="*/ 551 h 551"/>
                <a:gd name="T34" fmla="*/ 175 w 334"/>
                <a:gd name="T35" fmla="*/ 50 h 551"/>
                <a:gd name="T36" fmla="*/ 334 w 334"/>
                <a:gd name="T37" fmla="*/ 50 h 5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34" h="551">
                  <a:moveTo>
                    <a:pt x="0" y="0"/>
                  </a:moveTo>
                  <a:lnTo>
                    <a:pt x="334" y="0"/>
                  </a:lnTo>
                  <a:lnTo>
                    <a:pt x="334" y="31"/>
                  </a:lnTo>
                  <a:lnTo>
                    <a:pt x="0" y="31"/>
                  </a:lnTo>
                  <a:lnTo>
                    <a:pt x="0" y="0"/>
                  </a:lnTo>
                  <a:close/>
                  <a:moveTo>
                    <a:pt x="156" y="50"/>
                  </a:moveTo>
                  <a:lnTo>
                    <a:pt x="156" y="551"/>
                  </a:lnTo>
                  <a:lnTo>
                    <a:pt x="128" y="551"/>
                  </a:lnTo>
                  <a:lnTo>
                    <a:pt x="128" y="79"/>
                  </a:lnTo>
                  <a:lnTo>
                    <a:pt x="0" y="79"/>
                  </a:lnTo>
                  <a:lnTo>
                    <a:pt x="0" y="50"/>
                  </a:lnTo>
                  <a:lnTo>
                    <a:pt x="156" y="50"/>
                  </a:lnTo>
                  <a:close/>
                  <a:moveTo>
                    <a:pt x="334" y="50"/>
                  </a:moveTo>
                  <a:lnTo>
                    <a:pt x="334" y="79"/>
                  </a:lnTo>
                  <a:lnTo>
                    <a:pt x="206" y="79"/>
                  </a:lnTo>
                  <a:lnTo>
                    <a:pt x="206" y="551"/>
                  </a:lnTo>
                  <a:lnTo>
                    <a:pt x="175" y="551"/>
                  </a:lnTo>
                  <a:lnTo>
                    <a:pt x="175" y="50"/>
                  </a:lnTo>
                  <a:lnTo>
                    <a:pt x="334" y="50"/>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5" name="Freeform 12">
              <a:extLst>
                <a:ext uri="{FF2B5EF4-FFF2-40B4-BE49-F238E27FC236}">
                  <a16:creationId xmlns:a16="http://schemas.microsoft.com/office/drawing/2014/main" id="{C8AD4F93-ADAD-9EB7-CA39-A6FBAFB690A3}"/>
                </a:ext>
              </a:extLst>
            </p:cNvPr>
            <p:cNvSpPr>
              <a:spLocks noEditPoints="1"/>
            </p:cNvSpPr>
            <p:nvPr userDrawn="1"/>
          </p:nvSpPr>
          <p:spPr bwMode="auto">
            <a:xfrm>
              <a:off x="4599" y="2552"/>
              <a:ext cx="312" cy="551"/>
            </a:xfrm>
            <a:custGeom>
              <a:avLst/>
              <a:gdLst>
                <a:gd name="T0" fmla="*/ 295891719 w 132"/>
                <a:gd name="T1" fmla="*/ 0 h 232"/>
                <a:gd name="T2" fmla="*/ 295891719 w 132"/>
                <a:gd name="T3" fmla="*/ 31976658 h 232"/>
                <a:gd name="T4" fmla="*/ 111981461 w 132"/>
                <a:gd name="T5" fmla="*/ 31976658 h 232"/>
                <a:gd name="T6" fmla="*/ 51443210 w 132"/>
                <a:gd name="T7" fmla="*/ 58299493 h 232"/>
                <a:gd name="T8" fmla="*/ 26510905 w 132"/>
                <a:gd name="T9" fmla="*/ 122107630 h 232"/>
                <a:gd name="T10" fmla="*/ 26510905 w 132"/>
                <a:gd name="T11" fmla="*/ 442759715 h 232"/>
                <a:gd name="T12" fmla="*/ 51443210 w 132"/>
                <a:gd name="T13" fmla="*/ 508305993 h 232"/>
                <a:gd name="T14" fmla="*/ 111981461 w 132"/>
                <a:gd name="T15" fmla="*/ 535913430 h 232"/>
                <a:gd name="T16" fmla="*/ 295891719 w 132"/>
                <a:gd name="T17" fmla="*/ 535913430 h 232"/>
                <a:gd name="T18" fmla="*/ 295891719 w 132"/>
                <a:gd name="T19" fmla="*/ 564828430 h 232"/>
                <a:gd name="T20" fmla="*/ 111981461 w 132"/>
                <a:gd name="T21" fmla="*/ 564828430 h 232"/>
                <a:gd name="T22" fmla="*/ 33265636 w 132"/>
                <a:gd name="T23" fmla="*/ 527724589 h 232"/>
                <a:gd name="T24" fmla="*/ 0 w 132"/>
                <a:gd name="T25" fmla="*/ 442759715 h 232"/>
                <a:gd name="T26" fmla="*/ 0 w 132"/>
                <a:gd name="T27" fmla="*/ 122107630 h 232"/>
                <a:gd name="T28" fmla="*/ 33265636 w 132"/>
                <a:gd name="T29" fmla="*/ 37103839 h 232"/>
                <a:gd name="T30" fmla="*/ 111981461 w 132"/>
                <a:gd name="T31" fmla="*/ 0 h 232"/>
                <a:gd name="T32" fmla="*/ 295891719 w 132"/>
                <a:gd name="T33" fmla="*/ 0 h 232"/>
                <a:gd name="T34" fmla="*/ 47376772 w 132"/>
                <a:gd name="T35" fmla="*/ 122107630 h 232"/>
                <a:gd name="T36" fmla="*/ 65404189 w 132"/>
                <a:gd name="T37" fmla="*/ 70832843 h 232"/>
                <a:gd name="T38" fmla="*/ 111981461 w 132"/>
                <a:gd name="T39" fmla="*/ 51413739 h 232"/>
                <a:gd name="T40" fmla="*/ 295891719 w 132"/>
                <a:gd name="T41" fmla="*/ 51413739 h 232"/>
                <a:gd name="T42" fmla="*/ 295891719 w 132"/>
                <a:gd name="T43" fmla="*/ 79781492 h 232"/>
                <a:gd name="T44" fmla="*/ 111981461 w 132"/>
                <a:gd name="T45" fmla="*/ 79781492 h 232"/>
                <a:gd name="T46" fmla="*/ 85443339 w 132"/>
                <a:gd name="T47" fmla="*/ 92335711 h 232"/>
                <a:gd name="T48" fmla="*/ 73893437 w 132"/>
                <a:gd name="T49" fmla="*/ 122107630 h 232"/>
                <a:gd name="T50" fmla="*/ 73893437 w 132"/>
                <a:gd name="T51" fmla="*/ 202009418 h 232"/>
                <a:gd name="T52" fmla="*/ 295891719 w 132"/>
                <a:gd name="T53" fmla="*/ 202009418 h 232"/>
                <a:gd name="T54" fmla="*/ 295891719 w 132"/>
                <a:gd name="T55" fmla="*/ 233836064 h 232"/>
                <a:gd name="T56" fmla="*/ 47376772 w 132"/>
                <a:gd name="T57" fmla="*/ 233836064 h 232"/>
                <a:gd name="T58" fmla="*/ 47376772 w 132"/>
                <a:gd name="T59" fmla="*/ 122107630 h 232"/>
                <a:gd name="T60" fmla="*/ 47376772 w 132"/>
                <a:gd name="T61" fmla="*/ 253283286 h 232"/>
                <a:gd name="T62" fmla="*/ 295891719 w 132"/>
                <a:gd name="T63" fmla="*/ 253283286 h 232"/>
                <a:gd name="T64" fmla="*/ 295891719 w 132"/>
                <a:gd name="T65" fmla="*/ 283050061 h 232"/>
                <a:gd name="T66" fmla="*/ 73893437 w 132"/>
                <a:gd name="T67" fmla="*/ 283050061 h 232"/>
                <a:gd name="T68" fmla="*/ 73893437 w 132"/>
                <a:gd name="T69" fmla="*/ 442759715 h 232"/>
                <a:gd name="T70" fmla="*/ 85443339 w 132"/>
                <a:gd name="T71" fmla="*/ 472485538 h 232"/>
                <a:gd name="T72" fmla="*/ 111981461 w 132"/>
                <a:gd name="T73" fmla="*/ 484506888 h 232"/>
                <a:gd name="T74" fmla="*/ 295891719 w 132"/>
                <a:gd name="T75" fmla="*/ 484506888 h 232"/>
                <a:gd name="T76" fmla="*/ 295891719 w 132"/>
                <a:gd name="T77" fmla="*/ 513431020 h 232"/>
                <a:gd name="T78" fmla="*/ 111981461 w 132"/>
                <a:gd name="T79" fmla="*/ 513431020 h 232"/>
                <a:gd name="T80" fmla="*/ 65404189 w 132"/>
                <a:gd name="T81" fmla="*/ 494012295 h 232"/>
                <a:gd name="T82" fmla="*/ 47376772 w 132"/>
                <a:gd name="T83" fmla="*/ 442759715 h 232"/>
                <a:gd name="T84" fmla="*/ 47376772 w 132"/>
                <a:gd name="T85" fmla="*/ 253283286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132" y="0"/>
                  </a:moveTo>
                  <a:cubicBezTo>
                    <a:pt x="132" y="13"/>
                    <a:pt x="132" y="13"/>
                    <a:pt x="132" y="13"/>
                  </a:cubicBezTo>
                  <a:cubicBezTo>
                    <a:pt x="50" y="13"/>
                    <a:pt x="50" y="13"/>
                    <a:pt x="50" y="13"/>
                  </a:cubicBezTo>
                  <a:cubicBezTo>
                    <a:pt x="39" y="13"/>
                    <a:pt x="31" y="16"/>
                    <a:pt x="23" y="24"/>
                  </a:cubicBezTo>
                  <a:cubicBezTo>
                    <a:pt x="16" y="31"/>
                    <a:pt x="12" y="40"/>
                    <a:pt x="12" y="50"/>
                  </a:cubicBezTo>
                  <a:cubicBezTo>
                    <a:pt x="12" y="182"/>
                    <a:pt x="12" y="182"/>
                    <a:pt x="12" y="182"/>
                  </a:cubicBezTo>
                  <a:cubicBezTo>
                    <a:pt x="12" y="193"/>
                    <a:pt x="16" y="201"/>
                    <a:pt x="23" y="209"/>
                  </a:cubicBezTo>
                  <a:cubicBezTo>
                    <a:pt x="31" y="216"/>
                    <a:pt x="39" y="220"/>
                    <a:pt x="50" y="220"/>
                  </a:cubicBezTo>
                  <a:cubicBezTo>
                    <a:pt x="132" y="220"/>
                    <a:pt x="132" y="220"/>
                    <a:pt x="132" y="220"/>
                  </a:cubicBezTo>
                  <a:cubicBezTo>
                    <a:pt x="132" y="232"/>
                    <a:pt x="132" y="232"/>
                    <a:pt x="132" y="232"/>
                  </a:cubicBezTo>
                  <a:cubicBezTo>
                    <a:pt x="50" y="232"/>
                    <a:pt x="50" y="232"/>
                    <a:pt x="50" y="232"/>
                  </a:cubicBezTo>
                  <a:cubicBezTo>
                    <a:pt x="36" y="232"/>
                    <a:pt x="24" y="227"/>
                    <a:pt x="15" y="217"/>
                  </a:cubicBezTo>
                  <a:cubicBezTo>
                    <a:pt x="5" y="208"/>
                    <a:pt x="0" y="196"/>
                    <a:pt x="0" y="182"/>
                  </a:cubicBezTo>
                  <a:cubicBezTo>
                    <a:pt x="0" y="50"/>
                    <a:pt x="0" y="50"/>
                    <a:pt x="0" y="50"/>
                  </a:cubicBezTo>
                  <a:cubicBezTo>
                    <a:pt x="0" y="36"/>
                    <a:pt x="5" y="25"/>
                    <a:pt x="15" y="15"/>
                  </a:cubicBezTo>
                  <a:cubicBezTo>
                    <a:pt x="24" y="5"/>
                    <a:pt x="36" y="0"/>
                    <a:pt x="50" y="0"/>
                  </a:cubicBezTo>
                  <a:lnTo>
                    <a:pt x="132" y="0"/>
                  </a:lnTo>
                  <a:close/>
                  <a:moveTo>
                    <a:pt x="21" y="50"/>
                  </a:moveTo>
                  <a:cubicBezTo>
                    <a:pt x="21" y="42"/>
                    <a:pt x="24" y="35"/>
                    <a:pt x="29" y="29"/>
                  </a:cubicBezTo>
                  <a:cubicBezTo>
                    <a:pt x="35" y="24"/>
                    <a:pt x="42" y="21"/>
                    <a:pt x="50" y="21"/>
                  </a:cubicBezTo>
                  <a:cubicBezTo>
                    <a:pt x="132" y="21"/>
                    <a:pt x="132" y="21"/>
                    <a:pt x="132" y="21"/>
                  </a:cubicBezTo>
                  <a:cubicBezTo>
                    <a:pt x="132" y="33"/>
                    <a:pt x="132" y="33"/>
                    <a:pt x="132" y="33"/>
                  </a:cubicBezTo>
                  <a:cubicBezTo>
                    <a:pt x="50" y="33"/>
                    <a:pt x="50" y="33"/>
                    <a:pt x="50" y="33"/>
                  </a:cubicBezTo>
                  <a:cubicBezTo>
                    <a:pt x="45" y="33"/>
                    <a:pt x="41" y="35"/>
                    <a:pt x="38" y="38"/>
                  </a:cubicBezTo>
                  <a:cubicBezTo>
                    <a:pt x="35" y="42"/>
                    <a:pt x="33" y="45"/>
                    <a:pt x="33" y="50"/>
                  </a:cubicBezTo>
                  <a:cubicBezTo>
                    <a:pt x="33" y="83"/>
                    <a:pt x="33" y="83"/>
                    <a:pt x="33" y="83"/>
                  </a:cubicBezTo>
                  <a:cubicBezTo>
                    <a:pt x="132" y="83"/>
                    <a:pt x="132" y="83"/>
                    <a:pt x="132" y="83"/>
                  </a:cubicBezTo>
                  <a:cubicBezTo>
                    <a:pt x="132" y="96"/>
                    <a:pt x="132" y="96"/>
                    <a:pt x="132" y="96"/>
                  </a:cubicBezTo>
                  <a:cubicBezTo>
                    <a:pt x="21" y="96"/>
                    <a:pt x="21" y="96"/>
                    <a:pt x="21" y="96"/>
                  </a:cubicBezTo>
                  <a:lnTo>
                    <a:pt x="21" y="50"/>
                  </a:lnTo>
                  <a:close/>
                  <a:moveTo>
                    <a:pt x="21" y="104"/>
                  </a:moveTo>
                  <a:cubicBezTo>
                    <a:pt x="132" y="104"/>
                    <a:pt x="132" y="104"/>
                    <a:pt x="132" y="104"/>
                  </a:cubicBezTo>
                  <a:cubicBezTo>
                    <a:pt x="132" y="116"/>
                    <a:pt x="132" y="116"/>
                    <a:pt x="132" y="116"/>
                  </a:cubicBezTo>
                  <a:cubicBezTo>
                    <a:pt x="33" y="116"/>
                    <a:pt x="33" y="116"/>
                    <a:pt x="33" y="116"/>
                  </a:cubicBezTo>
                  <a:cubicBezTo>
                    <a:pt x="33" y="182"/>
                    <a:pt x="33" y="182"/>
                    <a:pt x="33" y="182"/>
                  </a:cubicBezTo>
                  <a:cubicBezTo>
                    <a:pt x="33" y="187"/>
                    <a:pt x="35" y="191"/>
                    <a:pt x="38" y="194"/>
                  </a:cubicBezTo>
                  <a:cubicBezTo>
                    <a:pt x="41" y="197"/>
                    <a:pt x="45" y="199"/>
                    <a:pt x="50" y="199"/>
                  </a:cubicBezTo>
                  <a:cubicBezTo>
                    <a:pt x="132" y="199"/>
                    <a:pt x="132" y="199"/>
                    <a:pt x="132" y="199"/>
                  </a:cubicBezTo>
                  <a:cubicBezTo>
                    <a:pt x="132" y="211"/>
                    <a:pt x="132" y="211"/>
                    <a:pt x="132" y="211"/>
                  </a:cubicBezTo>
                  <a:cubicBezTo>
                    <a:pt x="50" y="211"/>
                    <a:pt x="50" y="211"/>
                    <a:pt x="50" y="211"/>
                  </a:cubicBezTo>
                  <a:cubicBezTo>
                    <a:pt x="42" y="211"/>
                    <a:pt x="35" y="209"/>
                    <a:pt x="29" y="203"/>
                  </a:cubicBezTo>
                  <a:cubicBezTo>
                    <a:pt x="24" y="197"/>
                    <a:pt x="21" y="190"/>
                    <a:pt x="21" y="182"/>
                  </a:cubicBezTo>
                  <a:lnTo>
                    <a:pt x="21" y="104"/>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6" name="Freeform 13">
              <a:extLst>
                <a:ext uri="{FF2B5EF4-FFF2-40B4-BE49-F238E27FC236}">
                  <a16:creationId xmlns:a16="http://schemas.microsoft.com/office/drawing/2014/main" id="{CC9CCAF5-9EF8-2C7E-8544-E92A043FB0F5}"/>
                </a:ext>
              </a:extLst>
            </p:cNvPr>
            <p:cNvSpPr>
              <a:spLocks noEditPoints="1"/>
            </p:cNvSpPr>
            <p:nvPr userDrawn="1"/>
          </p:nvSpPr>
          <p:spPr bwMode="auto">
            <a:xfrm>
              <a:off x="4958" y="2552"/>
              <a:ext cx="391" cy="551"/>
            </a:xfrm>
            <a:custGeom>
              <a:avLst/>
              <a:gdLst>
                <a:gd name="T0" fmla="*/ 309548631 w 165"/>
                <a:gd name="T1" fmla="*/ 0 h 232"/>
                <a:gd name="T2" fmla="*/ 363029971 w 165"/>
                <a:gd name="T3" fmla="*/ 24547155 h 232"/>
                <a:gd name="T4" fmla="*/ 386832786 w 165"/>
                <a:gd name="T5" fmla="*/ 79781492 h 232"/>
                <a:gd name="T6" fmla="*/ 386832786 w 165"/>
                <a:gd name="T7" fmla="*/ 564828430 h 232"/>
                <a:gd name="T8" fmla="*/ 358797870 w 165"/>
                <a:gd name="T9" fmla="*/ 564828430 h 232"/>
                <a:gd name="T10" fmla="*/ 358797870 w 165"/>
                <a:gd name="T11" fmla="*/ 79781492 h 232"/>
                <a:gd name="T12" fmla="*/ 344252405 w 165"/>
                <a:gd name="T13" fmla="*/ 46120372 h 232"/>
                <a:gd name="T14" fmla="*/ 309548631 w 165"/>
                <a:gd name="T15" fmla="*/ 31976658 h 232"/>
                <a:gd name="T16" fmla="*/ 77129169 w 165"/>
                <a:gd name="T17" fmla="*/ 31976658 h 232"/>
                <a:gd name="T18" fmla="*/ 42581549 w 165"/>
                <a:gd name="T19" fmla="*/ 46120372 h 232"/>
                <a:gd name="T20" fmla="*/ 27493911 w 165"/>
                <a:gd name="T21" fmla="*/ 79781492 h 232"/>
                <a:gd name="T22" fmla="*/ 27493911 w 165"/>
                <a:gd name="T23" fmla="*/ 564828430 h 232"/>
                <a:gd name="T24" fmla="*/ 0 w 165"/>
                <a:gd name="T25" fmla="*/ 564828430 h 232"/>
                <a:gd name="T26" fmla="*/ 0 w 165"/>
                <a:gd name="T27" fmla="*/ 79781492 h 232"/>
                <a:gd name="T28" fmla="*/ 20815816 w 165"/>
                <a:gd name="T29" fmla="*/ 24547155 h 232"/>
                <a:gd name="T30" fmla="*/ 77129169 w 165"/>
                <a:gd name="T31" fmla="*/ 0 h 232"/>
                <a:gd name="T32" fmla="*/ 309548631 w 165"/>
                <a:gd name="T33" fmla="*/ 0 h 232"/>
                <a:gd name="T34" fmla="*/ 182772758 w 165"/>
                <a:gd name="T35" fmla="*/ 51413739 h 232"/>
                <a:gd name="T36" fmla="*/ 182772758 w 165"/>
                <a:gd name="T37" fmla="*/ 263208180 h 232"/>
                <a:gd name="T38" fmla="*/ 154391061 w 165"/>
                <a:gd name="T39" fmla="*/ 263208180 h 232"/>
                <a:gd name="T40" fmla="*/ 154391061 w 165"/>
                <a:gd name="T41" fmla="*/ 79781492 h 232"/>
                <a:gd name="T42" fmla="*/ 77129169 w 165"/>
                <a:gd name="T43" fmla="*/ 79781492 h 232"/>
                <a:gd name="T44" fmla="*/ 77129169 w 165"/>
                <a:gd name="T45" fmla="*/ 564828430 h 232"/>
                <a:gd name="T46" fmla="*/ 46283478 w 165"/>
                <a:gd name="T47" fmla="*/ 564828430 h 232"/>
                <a:gd name="T48" fmla="*/ 46283478 w 165"/>
                <a:gd name="T49" fmla="*/ 79781492 h 232"/>
                <a:gd name="T50" fmla="*/ 56311393 w 165"/>
                <a:gd name="T51" fmla="*/ 60526659 h 232"/>
                <a:gd name="T52" fmla="*/ 77129169 w 165"/>
                <a:gd name="T53" fmla="*/ 51413739 h 232"/>
                <a:gd name="T54" fmla="*/ 182772758 w 165"/>
                <a:gd name="T55" fmla="*/ 51413739 h 232"/>
                <a:gd name="T56" fmla="*/ 309548631 w 165"/>
                <a:gd name="T57" fmla="*/ 51413739 h 232"/>
                <a:gd name="T58" fmla="*/ 329989272 w 165"/>
                <a:gd name="T59" fmla="*/ 60526659 h 232"/>
                <a:gd name="T60" fmla="*/ 337199511 w 165"/>
                <a:gd name="T61" fmla="*/ 79781492 h 232"/>
                <a:gd name="T62" fmla="*/ 337199511 w 165"/>
                <a:gd name="T63" fmla="*/ 564828430 h 232"/>
                <a:gd name="T64" fmla="*/ 309548631 w 165"/>
                <a:gd name="T65" fmla="*/ 564828430 h 232"/>
                <a:gd name="T66" fmla="*/ 309548631 w 165"/>
                <a:gd name="T67" fmla="*/ 79781492 h 232"/>
                <a:gd name="T68" fmla="*/ 232402284 w 165"/>
                <a:gd name="T69" fmla="*/ 79781492 h 232"/>
                <a:gd name="T70" fmla="*/ 232402284 w 165"/>
                <a:gd name="T71" fmla="*/ 263208180 h 232"/>
                <a:gd name="T72" fmla="*/ 203534936 w 165"/>
                <a:gd name="T73" fmla="*/ 263208180 h 232"/>
                <a:gd name="T74" fmla="*/ 203534936 w 165"/>
                <a:gd name="T75" fmla="*/ 51413739 h 232"/>
                <a:gd name="T76" fmla="*/ 309548631 w 165"/>
                <a:gd name="T77" fmla="*/ 51413739 h 23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65" h="232">
                  <a:moveTo>
                    <a:pt x="132" y="0"/>
                  </a:moveTo>
                  <a:cubicBezTo>
                    <a:pt x="141" y="0"/>
                    <a:pt x="149" y="4"/>
                    <a:pt x="155" y="10"/>
                  </a:cubicBezTo>
                  <a:cubicBezTo>
                    <a:pt x="162" y="16"/>
                    <a:pt x="165" y="24"/>
                    <a:pt x="165" y="33"/>
                  </a:cubicBezTo>
                  <a:cubicBezTo>
                    <a:pt x="165" y="232"/>
                    <a:pt x="165" y="232"/>
                    <a:pt x="165" y="232"/>
                  </a:cubicBezTo>
                  <a:cubicBezTo>
                    <a:pt x="153" y="232"/>
                    <a:pt x="153" y="232"/>
                    <a:pt x="153" y="232"/>
                  </a:cubicBezTo>
                  <a:cubicBezTo>
                    <a:pt x="153" y="33"/>
                    <a:pt x="153" y="33"/>
                    <a:pt x="153" y="33"/>
                  </a:cubicBezTo>
                  <a:cubicBezTo>
                    <a:pt x="153" y="28"/>
                    <a:pt x="151" y="23"/>
                    <a:pt x="147" y="19"/>
                  </a:cubicBezTo>
                  <a:cubicBezTo>
                    <a:pt x="143" y="15"/>
                    <a:pt x="138" y="13"/>
                    <a:pt x="132" y="13"/>
                  </a:cubicBezTo>
                  <a:cubicBezTo>
                    <a:pt x="33" y="13"/>
                    <a:pt x="33" y="13"/>
                    <a:pt x="33" y="13"/>
                  </a:cubicBezTo>
                  <a:cubicBezTo>
                    <a:pt x="27" y="13"/>
                    <a:pt x="22" y="15"/>
                    <a:pt x="18" y="19"/>
                  </a:cubicBezTo>
                  <a:cubicBezTo>
                    <a:pt x="14" y="23"/>
                    <a:pt x="12" y="28"/>
                    <a:pt x="12" y="33"/>
                  </a:cubicBezTo>
                  <a:cubicBezTo>
                    <a:pt x="12" y="232"/>
                    <a:pt x="12" y="232"/>
                    <a:pt x="12" y="232"/>
                  </a:cubicBezTo>
                  <a:cubicBezTo>
                    <a:pt x="0" y="232"/>
                    <a:pt x="0" y="232"/>
                    <a:pt x="0" y="232"/>
                  </a:cubicBezTo>
                  <a:cubicBezTo>
                    <a:pt x="0" y="33"/>
                    <a:pt x="0" y="33"/>
                    <a:pt x="0" y="33"/>
                  </a:cubicBezTo>
                  <a:cubicBezTo>
                    <a:pt x="0" y="24"/>
                    <a:pt x="3" y="16"/>
                    <a:pt x="9" y="10"/>
                  </a:cubicBezTo>
                  <a:cubicBezTo>
                    <a:pt x="16" y="4"/>
                    <a:pt x="24" y="0"/>
                    <a:pt x="33" y="0"/>
                  </a:cubicBezTo>
                  <a:lnTo>
                    <a:pt x="132" y="0"/>
                  </a:lnTo>
                  <a:close/>
                  <a:moveTo>
                    <a:pt x="78" y="21"/>
                  </a:moveTo>
                  <a:cubicBezTo>
                    <a:pt x="78" y="108"/>
                    <a:pt x="78" y="108"/>
                    <a:pt x="78" y="108"/>
                  </a:cubicBezTo>
                  <a:cubicBezTo>
                    <a:pt x="66" y="108"/>
                    <a:pt x="66" y="108"/>
                    <a:pt x="66" y="108"/>
                  </a:cubicBezTo>
                  <a:cubicBezTo>
                    <a:pt x="66" y="33"/>
                    <a:pt x="66" y="33"/>
                    <a:pt x="66" y="33"/>
                  </a:cubicBezTo>
                  <a:cubicBezTo>
                    <a:pt x="33" y="33"/>
                    <a:pt x="33" y="33"/>
                    <a:pt x="33" y="33"/>
                  </a:cubicBezTo>
                  <a:cubicBezTo>
                    <a:pt x="33" y="232"/>
                    <a:pt x="33" y="232"/>
                    <a:pt x="33" y="232"/>
                  </a:cubicBezTo>
                  <a:cubicBezTo>
                    <a:pt x="20" y="232"/>
                    <a:pt x="20" y="232"/>
                    <a:pt x="20" y="232"/>
                  </a:cubicBezTo>
                  <a:cubicBezTo>
                    <a:pt x="20" y="33"/>
                    <a:pt x="20" y="33"/>
                    <a:pt x="20" y="33"/>
                  </a:cubicBezTo>
                  <a:cubicBezTo>
                    <a:pt x="20" y="30"/>
                    <a:pt x="21" y="27"/>
                    <a:pt x="24" y="25"/>
                  </a:cubicBezTo>
                  <a:cubicBezTo>
                    <a:pt x="26" y="22"/>
                    <a:pt x="29" y="21"/>
                    <a:pt x="33" y="21"/>
                  </a:cubicBezTo>
                  <a:lnTo>
                    <a:pt x="78" y="21"/>
                  </a:lnTo>
                  <a:close/>
                  <a:moveTo>
                    <a:pt x="132" y="21"/>
                  </a:moveTo>
                  <a:cubicBezTo>
                    <a:pt x="135" y="21"/>
                    <a:pt x="138" y="22"/>
                    <a:pt x="141" y="25"/>
                  </a:cubicBezTo>
                  <a:cubicBezTo>
                    <a:pt x="143" y="27"/>
                    <a:pt x="144" y="30"/>
                    <a:pt x="144" y="33"/>
                  </a:cubicBezTo>
                  <a:cubicBezTo>
                    <a:pt x="144" y="232"/>
                    <a:pt x="144" y="232"/>
                    <a:pt x="144" y="232"/>
                  </a:cubicBezTo>
                  <a:cubicBezTo>
                    <a:pt x="132" y="232"/>
                    <a:pt x="132" y="232"/>
                    <a:pt x="132" y="232"/>
                  </a:cubicBezTo>
                  <a:cubicBezTo>
                    <a:pt x="132" y="33"/>
                    <a:pt x="132" y="33"/>
                    <a:pt x="132" y="33"/>
                  </a:cubicBezTo>
                  <a:cubicBezTo>
                    <a:pt x="99" y="33"/>
                    <a:pt x="99" y="33"/>
                    <a:pt x="99" y="33"/>
                  </a:cubicBezTo>
                  <a:cubicBezTo>
                    <a:pt x="99" y="108"/>
                    <a:pt x="99" y="108"/>
                    <a:pt x="99" y="108"/>
                  </a:cubicBezTo>
                  <a:cubicBezTo>
                    <a:pt x="87" y="108"/>
                    <a:pt x="87" y="108"/>
                    <a:pt x="87" y="108"/>
                  </a:cubicBezTo>
                  <a:cubicBezTo>
                    <a:pt x="87" y="21"/>
                    <a:pt x="87" y="21"/>
                    <a:pt x="87" y="21"/>
                  </a:cubicBezTo>
                  <a:lnTo>
                    <a:pt x="132" y="21"/>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 name="Freeform 14">
              <a:extLst>
                <a:ext uri="{FF2B5EF4-FFF2-40B4-BE49-F238E27FC236}">
                  <a16:creationId xmlns:a16="http://schemas.microsoft.com/office/drawing/2014/main" id="{1056D71A-166C-43A2-63FD-11D6D630DCA9}"/>
                </a:ext>
              </a:extLst>
            </p:cNvPr>
            <p:cNvSpPr>
              <a:spLocks noEditPoints="1"/>
            </p:cNvSpPr>
            <p:nvPr userDrawn="1"/>
          </p:nvSpPr>
          <p:spPr bwMode="auto">
            <a:xfrm>
              <a:off x="5412" y="2552"/>
              <a:ext cx="313" cy="551"/>
            </a:xfrm>
            <a:custGeom>
              <a:avLst/>
              <a:gdLst>
                <a:gd name="T0" fmla="*/ 234667157 w 132"/>
                <a:gd name="T1" fmla="*/ 0 h 232"/>
                <a:gd name="T2" fmla="*/ 291517195 w 132"/>
                <a:gd name="T3" fmla="*/ 24547155 h 232"/>
                <a:gd name="T4" fmla="*/ 312488786 w 132"/>
                <a:gd name="T5" fmla="*/ 79781492 h 232"/>
                <a:gd name="T6" fmla="*/ 312488786 w 132"/>
                <a:gd name="T7" fmla="*/ 202009418 h 232"/>
                <a:gd name="T8" fmla="*/ 291517195 w 132"/>
                <a:gd name="T9" fmla="*/ 258572736 h 232"/>
                <a:gd name="T10" fmla="*/ 234667157 w 132"/>
                <a:gd name="T11" fmla="*/ 283050061 h 232"/>
                <a:gd name="T12" fmla="*/ 77977488 w 132"/>
                <a:gd name="T13" fmla="*/ 283050061 h 232"/>
                <a:gd name="T14" fmla="*/ 77977488 w 132"/>
                <a:gd name="T15" fmla="*/ 564828430 h 232"/>
                <a:gd name="T16" fmla="*/ 46760663 w 132"/>
                <a:gd name="T17" fmla="*/ 564828430 h 232"/>
                <a:gd name="T18" fmla="*/ 46760663 w 132"/>
                <a:gd name="T19" fmla="*/ 253283286 h 232"/>
                <a:gd name="T20" fmla="*/ 234667157 w 132"/>
                <a:gd name="T21" fmla="*/ 253283286 h 232"/>
                <a:gd name="T22" fmla="*/ 269717845 w 132"/>
                <a:gd name="T23" fmla="*/ 238499835 h 232"/>
                <a:gd name="T24" fmla="*/ 284788810 w 132"/>
                <a:gd name="T25" fmla="*/ 202009418 h 232"/>
                <a:gd name="T26" fmla="*/ 284788810 w 132"/>
                <a:gd name="T27" fmla="*/ 79781492 h 232"/>
                <a:gd name="T28" fmla="*/ 269717845 w 132"/>
                <a:gd name="T29" fmla="*/ 46120372 h 232"/>
                <a:gd name="T30" fmla="*/ 234667157 w 132"/>
                <a:gd name="T31" fmla="*/ 31976658 h 232"/>
                <a:gd name="T32" fmla="*/ 115836743 w 132"/>
                <a:gd name="T33" fmla="*/ 31976658 h 232"/>
                <a:gd name="T34" fmla="*/ 54699961 w 132"/>
                <a:gd name="T35" fmla="*/ 58299493 h 232"/>
                <a:gd name="T36" fmla="*/ 27860863 w 132"/>
                <a:gd name="T37" fmla="*/ 122107630 h 232"/>
                <a:gd name="T38" fmla="*/ 27860863 w 132"/>
                <a:gd name="T39" fmla="*/ 564828430 h 232"/>
                <a:gd name="T40" fmla="*/ 0 w 132"/>
                <a:gd name="T41" fmla="*/ 564828430 h 232"/>
                <a:gd name="T42" fmla="*/ 0 w 132"/>
                <a:gd name="T43" fmla="*/ 122107630 h 232"/>
                <a:gd name="T44" fmla="*/ 32885075 w 132"/>
                <a:gd name="T45" fmla="*/ 37103839 h 232"/>
                <a:gd name="T46" fmla="*/ 115836743 w 132"/>
                <a:gd name="T47" fmla="*/ 0 h 232"/>
                <a:gd name="T48" fmla="*/ 234667157 w 132"/>
                <a:gd name="T49" fmla="*/ 0 h 232"/>
                <a:gd name="T50" fmla="*/ 262918698 w 132"/>
                <a:gd name="T51" fmla="*/ 202009418 h 232"/>
                <a:gd name="T52" fmla="*/ 255645496 w 132"/>
                <a:gd name="T53" fmla="*/ 224358826 h 232"/>
                <a:gd name="T54" fmla="*/ 234667157 w 132"/>
                <a:gd name="T55" fmla="*/ 233836064 h 232"/>
                <a:gd name="T56" fmla="*/ 46760663 w 132"/>
                <a:gd name="T57" fmla="*/ 233836064 h 232"/>
                <a:gd name="T58" fmla="*/ 46760663 w 132"/>
                <a:gd name="T59" fmla="*/ 122107630 h 232"/>
                <a:gd name="T60" fmla="*/ 69064519 w 132"/>
                <a:gd name="T61" fmla="*/ 70832843 h 232"/>
                <a:gd name="T62" fmla="*/ 115836743 w 132"/>
                <a:gd name="T63" fmla="*/ 51413739 h 232"/>
                <a:gd name="T64" fmla="*/ 234667157 w 132"/>
                <a:gd name="T65" fmla="*/ 51413739 h 232"/>
                <a:gd name="T66" fmla="*/ 255645496 w 132"/>
                <a:gd name="T67" fmla="*/ 60526659 h 232"/>
                <a:gd name="T68" fmla="*/ 262918698 w 132"/>
                <a:gd name="T69" fmla="*/ 79781492 h 232"/>
                <a:gd name="T70" fmla="*/ 262918698 w 132"/>
                <a:gd name="T71" fmla="*/ 202009418 h 232"/>
                <a:gd name="T72" fmla="*/ 77977488 w 132"/>
                <a:gd name="T73" fmla="*/ 202009418 h 232"/>
                <a:gd name="T74" fmla="*/ 234667157 w 132"/>
                <a:gd name="T75" fmla="*/ 202009418 h 232"/>
                <a:gd name="T76" fmla="*/ 234667157 w 132"/>
                <a:gd name="T77" fmla="*/ 79781492 h 232"/>
                <a:gd name="T78" fmla="*/ 115836743 w 132"/>
                <a:gd name="T79" fmla="*/ 79781492 h 232"/>
                <a:gd name="T80" fmla="*/ 89678239 w 132"/>
                <a:gd name="T81" fmla="*/ 92335711 h 232"/>
                <a:gd name="T82" fmla="*/ 77977488 w 132"/>
                <a:gd name="T83" fmla="*/ 122107630 h 232"/>
                <a:gd name="T84" fmla="*/ 77977488 w 132"/>
                <a:gd name="T85" fmla="*/ 202009418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99" y="0"/>
                  </a:moveTo>
                  <a:cubicBezTo>
                    <a:pt x="108" y="0"/>
                    <a:pt x="116" y="4"/>
                    <a:pt x="123" y="10"/>
                  </a:cubicBezTo>
                  <a:cubicBezTo>
                    <a:pt x="129" y="16"/>
                    <a:pt x="132" y="24"/>
                    <a:pt x="132" y="33"/>
                  </a:cubicBezTo>
                  <a:cubicBezTo>
                    <a:pt x="132" y="83"/>
                    <a:pt x="132" y="83"/>
                    <a:pt x="132" y="83"/>
                  </a:cubicBezTo>
                  <a:cubicBezTo>
                    <a:pt x="132" y="92"/>
                    <a:pt x="129" y="100"/>
                    <a:pt x="123" y="106"/>
                  </a:cubicBezTo>
                  <a:cubicBezTo>
                    <a:pt x="116" y="113"/>
                    <a:pt x="108" y="116"/>
                    <a:pt x="99" y="116"/>
                  </a:cubicBezTo>
                  <a:cubicBezTo>
                    <a:pt x="33" y="116"/>
                    <a:pt x="33" y="116"/>
                    <a:pt x="33" y="116"/>
                  </a:cubicBezTo>
                  <a:cubicBezTo>
                    <a:pt x="33" y="232"/>
                    <a:pt x="33" y="232"/>
                    <a:pt x="33" y="232"/>
                  </a:cubicBezTo>
                  <a:cubicBezTo>
                    <a:pt x="20" y="232"/>
                    <a:pt x="20" y="232"/>
                    <a:pt x="20" y="232"/>
                  </a:cubicBezTo>
                  <a:cubicBezTo>
                    <a:pt x="20" y="104"/>
                    <a:pt x="20" y="104"/>
                    <a:pt x="20" y="104"/>
                  </a:cubicBezTo>
                  <a:cubicBezTo>
                    <a:pt x="99" y="104"/>
                    <a:pt x="99" y="104"/>
                    <a:pt x="99" y="104"/>
                  </a:cubicBezTo>
                  <a:cubicBezTo>
                    <a:pt x="105" y="104"/>
                    <a:pt x="110" y="102"/>
                    <a:pt x="114" y="98"/>
                  </a:cubicBezTo>
                  <a:cubicBezTo>
                    <a:pt x="118" y="94"/>
                    <a:pt x="120" y="89"/>
                    <a:pt x="120" y="83"/>
                  </a:cubicBezTo>
                  <a:cubicBezTo>
                    <a:pt x="120" y="33"/>
                    <a:pt x="120" y="33"/>
                    <a:pt x="120" y="33"/>
                  </a:cubicBezTo>
                  <a:cubicBezTo>
                    <a:pt x="120" y="28"/>
                    <a:pt x="118" y="23"/>
                    <a:pt x="114" y="19"/>
                  </a:cubicBezTo>
                  <a:cubicBezTo>
                    <a:pt x="110" y="15"/>
                    <a:pt x="105" y="13"/>
                    <a:pt x="99" y="13"/>
                  </a:cubicBezTo>
                  <a:cubicBezTo>
                    <a:pt x="49" y="13"/>
                    <a:pt x="49" y="13"/>
                    <a:pt x="49" y="13"/>
                  </a:cubicBezTo>
                  <a:cubicBezTo>
                    <a:pt x="39" y="13"/>
                    <a:pt x="30" y="16"/>
                    <a:pt x="23" y="24"/>
                  </a:cubicBezTo>
                  <a:cubicBezTo>
                    <a:pt x="16" y="31"/>
                    <a:pt x="12" y="40"/>
                    <a:pt x="12" y="50"/>
                  </a:cubicBezTo>
                  <a:cubicBezTo>
                    <a:pt x="12" y="232"/>
                    <a:pt x="12" y="232"/>
                    <a:pt x="12" y="232"/>
                  </a:cubicBezTo>
                  <a:cubicBezTo>
                    <a:pt x="0" y="232"/>
                    <a:pt x="0" y="232"/>
                    <a:pt x="0" y="232"/>
                  </a:cubicBezTo>
                  <a:cubicBezTo>
                    <a:pt x="0" y="50"/>
                    <a:pt x="0" y="50"/>
                    <a:pt x="0" y="50"/>
                  </a:cubicBezTo>
                  <a:cubicBezTo>
                    <a:pt x="0" y="36"/>
                    <a:pt x="5" y="25"/>
                    <a:pt x="14" y="15"/>
                  </a:cubicBezTo>
                  <a:cubicBezTo>
                    <a:pt x="24" y="5"/>
                    <a:pt x="36" y="0"/>
                    <a:pt x="49" y="0"/>
                  </a:cubicBezTo>
                  <a:lnTo>
                    <a:pt x="99" y="0"/>
                  </a:lnTo>
                  <a:close/>
                  <a:moveTo>
                    <a:pt x="111" y="83"/>
                  </a:moveTo>
                  <a:cubicBezTo>
                    <a:pt x="111" y="87"/>
                    <a:pt x="110" y="89"/>
                    <a:pt x="108" y="92"/>
                  </a:cubicBezTo>
                  <a:cubicBezTo>
                    <a:pt x="105" y="94"/>
                    <a:pt x="102" y="96"/>
                    <a:pt x="99" y="96"/>
                  </a:cubicBezTo>
                  <a:cubicBezTo>
                    <a:pt x="20" y="96"/>
                    <a:pt x="20" y="96"/>
                    <a:pt x="20" y="96"/>
                  </a:cubicBezTo>
                  <a:cubicBezTo>
                    <a:pt x="20" y="50"/>
                    <a:pt x="20" y="50"/>
                    <a:pt x="20" y="50"/>
                  </a:cubicBezTo>
                  <a:cubicBezTo>
                    <a:pt x="20" y="42"/>
                    <a:pt x="23" y="35"/>
                    <a:pt x="29" y="29"/>
                  </a:cubicBezTo>
                  <a:cubicBezTo>
                    <a:pt x="35" y="24"/>
                    <a:pt x="41" y="21"/>
                    <a:pt x="49" y="21"/>
                  </a:cubicBezTo>
                  <a:cubicBezTo>
                    <a:pt x="99" y="21"/>
                    <a:pt x="99" y="21"/>
                    <a:pt x="99" y="21"/>
                  </a:cubicBezTo>
                  <a:cubicBezTo>
                    <a:pt x="102" y="21"/>
                    <a:pt x="105" y="22"/>
                    <a:pt x="108" y="25"/>
                  </a:cubicBezTo>
                  <a:cubicBezTo>
                    <a:pt x="110" y="27"/>
                    <a:pt x="111" y="30"/>
                    <a:pt x="111" y="33"/>
                  </a:cubicBezTo>
                  <a:lnTo>
                    <a:pt x="111" y="83"/>
                  </a:lnTo>
                  <a:close/>
                  <a:moveTo>
                    <a:pt x="33" y="83"/>
                  </a:moveTo>
                  <a:cubicBezTo>
                    <a:pt x="99" y="83"/>
                    <a:pt x="99" y="83"/>
                    <a:pt x="99" y="83"/>
                  </a:cubicBezTo>
                  <a:cubicBezTo>
                    <a:pt x="99" y="33"/>
                    <a:pt x="99" y="33"/>
                    <a:pt x="99" y="33"/>
                  </a:cubicBezTo>
                  <a:cubicBezTo>
                    <a:pt x="49" y="33"/>
                    <a:pt x="49" y="33"/>
                    <a:pt x="49" y="33"/>
                  </a:cubicBezTo>
                  <a:cubicBezTo>
                    <a:pt x="45" y="33"/>
                    <a:pt x="41" y="35"/>
                    <a:pt x="38" y="38"/>
                  </a:cubicBezTo>
                  <a:cubicBezTo>
                    <a:pt x="34" y="42"/>
                    <a:pt x="33" y="45"/>
                    <a:pt x="33" y="50"/>
                  </a:cubicBezTo>
                  <a:lnTo>
                    <a:pt x="33" y="83"/>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8" name="Freeform 15">
              <a:extLst>
                <a:ext uri="{FF2B5EF4-FFF2-40B4-BE49-F238E27FC236}">
                  <a16:creationId xmlns:a16="http://schemas.microsoft.com/office/drawing/2014/main" id="{0188AD8D-C2D0-3712-AAA2-6850DDD96678}"/>
                </a:ext>
              </a:extLst>
            </p:cNvPr>
            <p:cNvSpPr>
              <a:spLocks noEditPoints="1"/>
            </p:cNvSpPr>
            <p:nvPr userDrawn="1"/>
          </p:nvSpPr>
          <p:spPr bwMode="auto">
            <a:xfrm>
              <a:off x="5774" y="2552"/>
              <a:ext cx="312" cy="551"/>
            </a:xfrm>
            <a:custGeom>
              <a:avLst/>
              <a:gdLst>
                <a:gd name="T0" fmla="*/ 26510905 w 132"/>
                <a:gd name="T1" fmla="*/ 442759715 h 232"/>
                <a:gd name="T2" fmla="*/ 51443210 w 132"/>
                <a:gd name="T3" fmla="*/ 508305993 h 232"/>
                <a:gd name="T4" fmla="*/ 110103249 w 132"/>
                <a:gd name="T5" fmla="*/ 535913430 h 232"/>
                <a:gd name="T6" fmla="*/ 295891719 w 132"/>
                <a:gd name="T7" fmla="*/ 535913430 h 232"/>
                <a:gd name="T8" fmla="*/ 295891719 w 132"/>
                <a:gd name="T9" fmla="*/ 564828430 h 232"/>
                <a:gd name="T10" fmla="*/ 110103249 w 132"/>
                <a:gd name="T11" fmla="*/ 564828430 h 232"/>
                <a:gd name="T12" fmla="*/ 31262608 w 132"/>
                <a:gd name="T13" fmla="*/ 527724589 h 232"/>
                <a:gd name="T14" fmla="*/ 0 w 132"/>
                <a:gd name="T15" fmla="*/ 442759715 h 232"/>
                <a:gd name="T16" fmla="*/ 0 w 132"/>
                <a:gd name="T17" fmla="*/ 0 h 232"/>
                <a:gd name="T18" fmla="*/ 26510905 w 132"/>
                <a:gd name="T19" fmla="*/ 0 h 232"/>
                <a:gd name="T20" fmla="*/ 26510905 w 132"/>
                <a:gd name="T21" fmla="*/ 442759715 h 232"/>
                <a:gd name="T22" fmla="*/ 295891719 w 132"/>
                <a:gd name="T23" fmla="*/ 484506888 h 232"/>
                <a:gd name="T24" fmla="*/ 295891719 w 132"/>
                <a:gd name="T25" fmla="*/ 513431020 h 232"/>
                <a:gd name="T26" fmla="*/ 110103249 w 132"/>
                <a:gd name="T27" fmla="*/ 513431020 h 232"/>
                <a:gd name="T28" fmla="*/ 65404189 w 132"/>
                <a:gd name="T29" fmla="*/ 494012295 h 232"/>
                <a:gd name="T30" fmla="*/ 44482705 w 132"/>
                <a:gd name="T31" fmla="*/ 442759715 h 232"/>
                <a:gd name="T32" fmla="*/ 44482705 w 132"/>
                <a:gd name="T33" fmla="*/ 0 h 232"/>
                <a:gd name="T34" fmla="*/ 73893437 w 132"/>
                <a:gd name="T35" fmla="*/ 0 h 232"/>
                <a:gd name="T36" fmla="*/ 73893437 w 132"/>
                <a:gd name="T37" fmla="*/ 442759715 h 232"/>
                <a:gd name="T38" fmla="*/ 85443339 w 132"/>
                <a:gd name="T39" fmla="*/ 472485538 h 232"/>
                <a:gd name="T40" fmla="*/ 110103249 w 132"/>
                <a:gd name="T41" fmla="*/ 484506888 h 232"/>
                <a:gd name="T42" fmla="*/ 295891719 w 132"/>
                <a:gd name="T43" fmla="*/ 484506888 h 2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2" h="232">
                  <a:moveTo>
                    <a:pt x="12" y="182"/>
                  </a:moveTo>
                  <a:cubicBezTo>
                    <a:pt x="12" y="193"/>
                    <a:pt x="16" y="201"/>
                    <a:pt x="23" y="209"/>
                  </a:cubicBezTo>
                  <a:cubicBezTo>
                    <a:pt x="30" y="216"/>
                    <a:pt x="39" y="220"/>
                    <a:pt x="49" y="220"/>
                  </a:cubicBezTo>
                  <a:cubicBezTo>
                    <a:pt x="132" y="220"/>
                    <a:pt x="132" y="220"/>
                    <a:pt x="132" y="220"/>
                  </a:cubicBezTo>
                  <a:cubicBezTo>
                    <a:pt x="132" y="232"/>
                    <a:pt x="132" y="232"/>
                    <a:pt x="132" y="232"/>
                  </a:cubicBezTo>
                  <a:cubicBezTo>
                    <a:pt x="49" y="232"/>
                    <a:pt x="49" y="232"/>
                    <a:pt x="49" y="232"/>
                  </a:cubicBezTo>
                  <a:cubicBezTo>
                    <a:pt x="36" y="232"/>
                    <a:pt x="24" y="227"/>
                    <a:pt x="14" y="217"/>
                  </a:cubicBezTo>
                  <a:cubicBezTo>
                    <a:pt x="4" y="208"/>
                    <a:pt x="0" y="196"/>
                    <a:pt x="0" y="182"/>
                  </a:cubicBezTo>
                  <a:cubicBezTo>
                    <a:pt x="0" y="0"/>
                    <a:pt x="0" y="0"/>
                    <a:pt x="0" y="0"/>
                  </a:cubicBezTo>
                  <a:cubicBezTo>
                    <a:pt x="12" y="0"/>
                    <a:pt x="12" y="0"/>
                    <a:pt x="12" y="0"/>
                  </a:cubicBezTo>
                  <a:lnTo>
                    <a:pt x="12" y="182"/>
                  </a:lnTo>
                  <a:close/>
                  <a:moveTo>
                    <a:pt x="132" y="199"/>
                  </a:moveTo>
                  <a:cubicBezTo>
                    <a:pt x="132" y="211"/>
                    <a:pt x="132" y="211"/>
                    <a:pt x="132" y="211"/>
                  </a:cubicBezTo>
                  <a:cubicBezTo>
                    <a:pt x="49" y="211"/>
                    <a:pt x="49" y="211"/>
                    <a:pt x="49" y="211"/>
                  </a:cubicBezTo>
                  <a:cubicBezTo>
                    <a:pt x="41" y="211"/>
                    <a:pt x="34" y="209"/>
                    <a:pt x="29" y="203"/>
                  </a:cubicBezTo>
                  <a:cubicBezTo>
                    <a:pt x="23" y="197"/>
                    <a:pt x="20" y="190"/>
                    <a:pt x="20" y="182"/>
                  </a:cubicBezTo>
                  <a:cubicBezTo>
                    <a:pt x="20" y="0"/>
                    <a:pt x="20" y="0"/>
                    <a:pt x="20" y="0"/>
                  </a:cubicBezTo>
                  <a:cubicBezTo>
                    <a:pt x="33" y="0"/>
                    <a:pt x="33" y="0"/>
                    <a:pt x="33" y="0"/>
                  </a:cubicBezTo>
                  <a:cubicBezTo>
                    <a:pt x="33" y="182"/>
                    <a:pt x="33" y="182"/>
                    <a:pt x="33" y="182"/>
                  </a:cubicBezTo>
                  <a:cubicBezTo>
                    <a:pt x="33" y="187"/>
                    <a:pt x="34" y="191"/>
                    <a:pt x="38" y="194"/>
                  </a:cubicBezTo>
                  <a:cubicBezTo>
                    <a:pt x="41" y="197"/>
                    <a:pt x="45" y="199"/>
                    <a:pt x="49" y="199"/>
                  </a:cubicBezTo>
                  <a:lnTo>
                    <a:pt x="132" y="199"/>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9" name="Freeform 16">
              <a:extLst>
                <a:ext uri="{FF2B5EF4-FFF2-40B4-BE49-F238E27FC236}">
                  <a16:creationId xmlns:a16="http://schemas.microsoft.com/office/drawing/2014/main" id="{DB1881EC-C2DB-1AD3-A563-AE22F842F73E}"/>
                </a:ext>
              </a:extLst>
            </p:cNvPr>
            <p:cNvSpPr>
              <a:spLocks noEditPoints="1"/>
            </p:cNvSpPr>
            <p:nvPr userDrawn="1"/>
          </p:nvSpPr>
          <p:spPr bwMode="auto">
            <a:xfrm>
              <a:off x="6120" y="2552"/>
              <a:ext cx="331" cy="551"/>
            </a:xfrm>
            <a:custGeom>
              <a:avLst/>
              <a:gdLst>
                <a:gd name="T0" fmla="*/ 315628455 w 140"/>
                <a:gd name="T1" fmla="*/ 0 h 232"/>
                <a:gd name="T2" fmla="*/ 315628455 w 140"/>
                <a:gd name="T3" fmla="*/ 564828430 h 232"/>
                <a:gd name="T4" fmla="*/ 288722604 w 140"/>
                <a:gd name="T5" fmla="*/ 564828430 h 232"/>
                <a:gd name="T6" fmla="*/ 288722604 w 140"/>
                <a:gd name="T7" fmla="*/ 31976658 h 232"/>
                <a:gd name="T8" fmla="*/ 110489077 w 140"/>
                <a:gd name="T9" fmla="*/ 31976658 h 232"/>
                <a:gd name="T10" fmla="*/ 51651254 w 140"/>
                <a:gd name="T11" fmla="*/ 58299493 h 232"/>
                <a:gd name="T12" fmla="*/ 26606139 w 140"/>
                <a:gd name="T13" fmla="*/ 122107630 h 232"/>
                <a:gd name="T14" fmla="*/ 26606139 w 140"/>
                <a:gd name="T15" fmla="*/ 564828430 h 232"/>
                <a:gd name="T16" fmla="*/ 0 w 140"/>
                <a:gd name="T17" fmla="*/ 564828430 h 232"/>
                <a:gd name="T18" fmla="*/ 0 w 140"/>
                <a:gd name="T19" fmla="*/ 122107630 h 232"/>
                <a:gd name="T20" fmla="*/ 31354195 w 140"/>
                <a:gd name="T21" fmla="*/ 37103839 h 232"/>
                <a:gd name="T22" fmla="*/ 110489077 w 140"/>
                <a:gd name="T23" fmla="*/ 0 h 232"/>
                <a:gd name="T24" fmla="*/ 315628455 w 140"/>
                <a:gd name="T25" fmla="*/ 0 h 232"/>
                <a:gd name="T26" fmla="*/ 44631525 w 140"/>
                <a:gd name="T27" fmla="*/ 122107630 h 232"/>
                <a:gd name="T28" fmla="*/ 65649001 w 140"/>
                <a:gd name="T29" fmla="*/ 70832843 h 232"/>
                <a:gd name="T30" fmla="*/ 110489077 w 140"/>
                <a:gd name="T31" fmla="*/ 51413739 h 232"/>
                <a:gd name="T32" fmla="*/ 270477527 w 140"/>
                <a:gd name="T33" fmla="*/ 51413739 h 232"/>
                <a:gd name="T34" fmla="*/ 270477527 w 140"/>
                <a:gd name="T35" fmla="*/ 233836064 h 232"/>
                <a:gd name="T36" fmla="*/ 44631525 w 140"/>
                <a:gd name="T37" fmla="*/ 233836064 h 232"/>
                <a:gd name="T38" fmla="*/ 44631525 w 140"/>
                <a:gd name="T39" fmla="*/ 122107630 h 232"/>
                <a:gd name="T40" fmla="*/ 270477527 w 140"/>
                <a:gd name="T41" fmla="*/ 253283286 h 232"/>
                <a:gd name="T42" fmla="*/ 270477527 w 140"/>
                <a:gd name="T43" fmla="*/ 564828430 h 232"/>
                <a:gd name="T44" fmla="*/ 241121972 w 140"/>
                <a:gd name="T45" fmla="*/ 564828430 h 232"/>
                <a:gd name="T46" fmla="*/ 241121972 w 140"/>
                <a:gd name="T47" fmla="*/ 283050061 h 232"/>
                <a:gd name="T48" fmla="*/ 74130275 w 140"/>
                <a:gd name="T49" fmla="*/ 283050061 h 232"/>
                <a:gd name="T50" fmla="*/ 74130275 w 140"/>
                <a:gd name="T51" fmla="*/ 564828430 h 232"/>
                <a:gd name="T52" fmla="*/ 44631525 w 140"/>
                <a:gd name="T53" fmla="*/ 564828430 h 232"/>
                <a:gd name="T54" fmla="*/ 44631525 w 140"/>
                <a:gd name="T55" fmla="*/ 253283286 h 232"/>
                <a:gd name="T56" fmla="*/ 270477527 w 140"/>
                <a:gd name="T57" fmla="*/ 253283286 h 232"/>
                <a:gd name="T58" fmla="*/ 241121972 w 140"/>
                <a:gd name="T59" fmla="*/ 79781492 h 232"/>
                <a:gd name="T60" fmla="*/ 110489077 w 140"/>
                <a:gd name="T61" fmla="*/ 79781492 h 232"/>
                <a:gd name="T62" fmla="*/ 85974132 w 140"/>
                <a:gd name="T63" fmla="*/ 92335711 h 232"/>
                <a:gd name="T64" fmla="*/ 74130275 w 140"/>
                <a:gd name="T65" fmla="*/ 122107630 h 232"/>
                <a:gd name="T66" fmla="*/ 74130275 w 140"/>
                <a:gd name="T67" fmla="*/ 202009418 h 232"/>
                <a:gd name="T68" fmla="*/ 241121972 w 140"/>
                <a:gd name="T69" fmla="*/ 202009418 h 232"/>
                <a:gd name="T70" fmla="*/ 241121972 w 140"/>
                <a:gd name="T71" fmla="*/ 79781492 h 23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40" h="232">
                  <a:moveTo>
                    <a:pt x="140" y="0"/>
                  </a:moveTo>
                  <a:cubicBezTo>
                    <a:pt x="140" y="232"/>
                    <a:pt x="140" y="232"/>
                    <a:pt x="140" y="232"/>
                  </a:cubicBezTo>
                  <a:cubicBezTo>
                    <a:pt x="128" y="232"/>
                    <a:pt x="128" y="232"/>
                    <a:pt x="128" y="232"/>
                  </a:cubicBezTo>
                  <a:cubicBezTo>
                    <a:pt x="128" y="13"/>
                    <a:pt x="128" y="13"/>
                    <a:pt x="128" y="13"/>
                  </a:cubicBezTo>
                  <a:cubicBezTo>
                    <a:pt x="49" y="13"/>
                    <a:pt x="49" y="13"/>
                    <a:pt x="49" y="13"/>
                  </a:cubicBezTo>
                  <a:cubicBezTo>
                    <a:pt x="39" y="13"/>
                    <a:pt x="30" y="16"/>
                    <a:pt x="23" y="24"/>
                  </a:cubicBezTo>
                  <a:cubicBezTo>
                    <a:pt x="16" y="31"/>
                    <a:pt x="12" y="40"/>
                    <a:pt x="12" y="50"/>
                  </a:cubicBezTo>
                  <a:cubicBezTo>
                    <a:pt x="12" y="232"/>
                    <a:pt x="12" y="232"/>
                    <a:pt x="12" y="232"/>
                  </a:cubicBezTo>
                  <a:cubicBezTo>
                    <a:pt x="0" y="232"/>
                    <a:pt x="0" y="232"/>
                    <a:pt x="0" y="232"/>
                  </a:cubicBezTo>
                  <a:cubicBezTo>
                    <a:pt x="0" y="50"/>
                    <a:pt x="0" y="50"/>
                    <a:pt x="0" y="50"/>
                  </a:cubicBezTo>
                  <a:cubicBezTo>
                    <a:pt x="0" y="36"/>
                    <a:pt x="5" y="25"/>
                    <a:pt x="14" y="15"/>
                  </a:cubicBezTo>
                  <a:cubicBezTo>
                    <a:pt x="24" y="5"/>
                    <a:pt x="36" y="0"/>
                    <a:pt x="49" y="0"/>
                  </a:cubicBezTo>
                  <a:lnTo>
                    <a:pt x="140" y="0"/>
                  </a:lnTo>
                  <a:close/>
                  <a:moveTo>
                    <a:pt x="20" y="50"/>
                  </a:moveTo>
                  <a:cubicBezTo>
                    <a:pt x="20" y="42"/>
                    <a:pt x="23" y="35"/>
                    <a:pt x="29" y="29"/>
                  </a:cubicBezTo>
                  <a:cubicBezTo>
                    <a:pt x="35" y="24"/>
                    <a:pt x="41" y="21"/>
                    <a:pt x="49" y="21"/>
                  </a:cubicBezTo>
                  <a:cubicBezTo>
                    <a:pt x="120" y="21"/>
                    <a:pt x="120" y="21"/>
                    <a:pt x="120" y="21"/>
                  </a:cubicBezTo>
                  <a:cubicBezTo>
                    <a:pt x="120" y="96"/>
                    <a:pt x="120" y="96"/>
                    <a:pt x="120" y="96"/>
                  </a:cubicBezTo>
                  <a:cubicBezTo>
                    <a:pt x="20" y="96"/>
                    <a:pt x="20" y="96"/>
                    <a:pt x="20" y="96"/>
                  </a:cubicBezTo>
                  <a:lnTo>
                    <a:pt x="20" y="50"/>
                  </a:lnTo>
                  <a:close/>
                  <a:moveTo>
                    <a:pt x="120" y="104"/>
                  </a:moveTo>
                  <a:cubicBezTo>
                    <a:pt x="120" y="232"/>
                    <a:pt x="120" y="232"/>
                    <a:pt x="120" y="232"/>
                  </a:cubicBezTo>
                  <a:cubicBezTo>
                    <a:pt x="107" y="232"/>
                    <a:pt x="107" y="232"/>
                    <a:pt x="107" y="232"/>
                  </a:cubicBezTo>
                  <a:cubicBezTo>
                    <a:pt x="107" y="116"/>
                    <a:pt x="107" y="116"/>
                    <a:pt x="107" y="116"/>
                  </a:cubicBezTo>
                  <a:cubicBezTo>
                    <a:pt x="33" y="116"/>
                    <a:pt x="33" y="116"/>
                    <a:pt x="33" y="116"/>
                  </a:cubicBezTo>
                  <a:cubicBezTo>
                    <a:pt x="33" y="232"/>
                    <a:pt x="33" y="232"/>
                    <a:pt x="33" y="232"/>
                  </a:cubicBezTo>
                  <a:cubicBezTo>
                    <a:pt x="20" y="232"/>
                    <a:pt x="20" y="232"/>
                    <a:pt x="20" y="232"/>
                  </a:cubicBezTo>
                  <a:cubicBezTo>
                    <a:pt x="20" y="104"/>
                    <a:pt x="20" y="104"/>
                    <a:pt x="20" y="104"/>
                  </a:cubicBezTo>
                  <a:lnTo>
                    <a:pt x="120" y="104"/>
                  </a:lnTo>
                  <a:close/>
                  <a:moveTo>
                    <a:pt x="107" y="33"/>
                  </a:moveTo>
                  <a:cubicBezTo>
                    <a:pt x="49" y="33"/>
                    <a:pt x="49" y="33"/>
                    <a:pt x="49" y="33"/>
                  </a:cubicBezTo>
                  <a:cubicBezTo>
                    <a:pt x="45" y="33"/>
                    <a:pt x="41" y="35"/>
                    <a:pt x="38" y="38"/>
                  </a:cubicBezTo>
                  <a:cubicBezTo>
                    <a:pt x="34" y="42"/>
                    <a:pt x="33" y="45"/>
                    <a:pt x="33" y="50"/>
                  </a:cubicBezTo>
                  <a:cubicBezTo>
                    <a:pt x="33" y="83"/>
                    <a:pt x="33" y="83"/>
                    <a:pt x="33" y="83"/>
                  </a:cubicBezTo>
                  <a:cubicBezTo>
                    <a:pt x="107" y="83"/>
                    <a:pt x="107" y="83"/>
                    <a:pt x="107" y="83"/>
                  </a:cubicBezTo>
                  <a:lnTo>
                    <a:pt x="107" y="33"/>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17">
              <a:extLst>
                <a:ext uri="{FF2B5EF4-FFF2-40B4-BE49-F238E27FC236}">
                  <a16:creationId xmlns:a16="http://schemas.microsoft.com/office/drawing/2014/main" id="{70E6FFE4-1D03-E650-3CD2-D5AA7273399A}"/>
                </a:ext>
              </a:extLst>
            </p:cNvPr>
            <p:cNvSpPr>
              <a:spLocks noEditPoints="1"/>
            </p:cNvSpPr>
            <p:nvPr userDrawn="1"/>
          </p:nvSpPr>
          <p:spPr bwMode="auto">
            <a:xfrm>
              <a:off x="6517" y="2552"/>
              <a:ext cx="331" cy="551"/>
            </a:xfrm>
            <a:custGeom>
              <a:avLst/>
              <a:gdLst>
                <a:gd name="T0" fmla="*/ 0 w 331"/>
                <a:gd name="T1" fmla="*/ 0 h 551"/>
                <a:gd name="T2" fmla="*/ 331 w 331"/>
                <a:gd name="T3" fmla="*/ 0 h 551"/>
                <a:gd name="T4" fmla="*/ 331 w 331"/>
                <a:gd name="T5" fmla="*/ 31 h 551"/>
                <a:gd name="T6" fmla="*/ 0 w 331"/>
                <a:gd name="T7" fmla="*/ 31 h 551"/>
                <a:gd name="T8" fmla="*/ 0 w 331"/>
                <a:gd name="T9" fmla="*/ 0 h 551"/>
                <a:gd name="T10" fmla="*/ 156 w 331"/>
                <a:gd name="T11" fmla="*/ 50 h 551"/>
                <a:gd name="T12" fmla="*/ 156 w 331"/>
                <a:gd name="T13" fmla="*/ 551 h 551"/>
                <a:gd name="T14" fmla="*/ 128 w 331"/>
                <a:gd name="T15" fmla="*/ 551 h 551"/>
                <a:gd name="T16" fmla="*/ 128 w 331"/>
                <a:gd name="T17" fmla="*/ 79 h 551"/>
                <a:gd name="T18" fmla="*/ 0 w 331"/>
                <a:gd name="T19" fmla="*/ 79 h 551"/>
                <a:gd name="T20" fmla="*/ 0 w 331"/>
                <a:gd name="T21" fmla="*/ 50 h 551"/>
                <a:gd name="T22" fmla="*/ 156 w 331"/>
                <a:gd name="T23" fmla="*/ 50 h 551"/>
                <a:gd name="T24" fmla="*/ 331 w 331"/>
                <a:gd name="T25" fmla="*/ 50 h 551"/>
                <a:gd name="T26" fmla="*/ 331 w 331"/>
                <a:gd name="T27" fmla="*/ 79 h 551"/>
                <a:gd name="T28" fmla="*/ 206 w 331"/>
                <a:gd name="T29" fmla="*/ 79 h 551"/>
                <a:gd name="T30" fmla="*/ 206 w 331"/>
                <a:gd name="T31" fmla="*/ 551 h 551"/>
                <a:gd name="T32" fmla="*/ 175 w 331"/>
                <a:gd name="T33" fmla="*/ 551 h 551"/>
                <a:gd name="T34" fmla="*/ 175 w 331"/>
                <a:gd name="T35" fmla="*/ 50 h 551"/>
                <a:gd name="T36" fmla="*/ 331 w 331"/>
                <a:gd name="T37" fmla="*/ 50 h 5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31" h="551">
                  <a:moveTo>
                    <a:pt x="0" y="0"/>
                  </a:moveTo>
                  <a:lnTo>
                    <a:pt x="331" y="0"/>
                  </a:lnTo>
                  <a:lnTo>
                    <a:pt x="331" y="31"/>
                  </a:lnTo>
                  <a:lnTo>
                    <a:pt x="0" y="31"/>
                  </a:lnTo>
                  <a:lnTo>
                    <a:pt x="0" y="0"/>
                  </a:lnTo>
                  <a:close/>
                  <a:moveTo>
                    <a:pt x="156" y="50"/>
                  </a:moveTo>
                  <a:lnTo>
                    <a:pt x="156" y="551"/>
                  </a:lnTo>
                  <a:lnTo>
                    <a:pt x="128" y="551"/>
                  </a:lnTo>
                  <a:lnTo>
                    <a:pt x="128" y="79"/>
                  </a:lnTo>
                  <a:lnTo>
                    <a:pt x="0" y="79"/>
                  </a:lnTo>
                  <a:lnTo>
                    <a:pt x="0" y="50"/>
                  </a:lnTo>
                  <a:lnTo>
                    <a:pt x="156" y="50"/>
                  </a:lnTo>
                  <a:close/>
                  <a:moveTo>
                    <a:pt x="331" y="50"/>
                  </a:moveTo>
                  <a:lnTo>
                    <a:pt x="331" y="79"/>
                  </a:lnTo>
                  <a:lnTo>
                    <a:pt x="206" y="79"/>
                  </a:lnTo>
                  <a:lnTo>
                    <a:pt x="206" y="551"/>
                  </a:lnTo>
                  <a:lnTo>
                    <a:pt x="175" y="551"/>
                  </a:lnTo>
                  <a:lnTo>
                    <a:pt x="175" y="50"/>
                  </a:lnTo>
                  <a:lnTo>
                    <a:pt x="331" y="50"/>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8">
              <a:extLst>
                <a:ext uri="{FF2B5EF4-FFF2-40B4-BE49-F238E27FC236}">
                  <a16:creationId xmlns:a16="http://schemas.microsoft.com/office/drawing/2014/main" id="{C5FA27B7-B021-68A8-0514-26210735F12A}"/>
                </a:ext>
              </a:extLst>
            </p:cNvPr>
            <p:cNvSpPr>
              <a:spLocks noEditPoints="1"/>
            </p:cNvSpPr>
            <p:nvPr userDrawn="1"/>
          </p:nvSpPr>
          <p:spPr bwMode="auto">
            <a:xfrm>
              <a:off x="6886" y="2552"/>
              <a:ext cx="312" cy="551"/>
            </a:xfrm>
            <a:custGeom>
              <a:avLst/>
              <a:gdLst>
                <a:gd name="T0" fmla="*/ 295891719 w 132"/>
                <a:gd name="T1" fmla="*/ 0 h 232"/>
                <a:gd name="T2" fmla="*/ 295891719 w 132"/>
                <a:gd name="T3" fmla="*/ 31976658 h 232"/>
                <a:gd name="T4" fmla="*/ 110103249 w 132"/>
                <a:gd name="T5" fmla="*/ 31976658 h 232"/>
                <a:gd name="T6" fmla="*/ 51443210 w 132"/>
                <a:gd name="T7" fmla="*/ 58299493 h 232"/>
                <a:gd name="T8" fmla="*/ 26510905 w 132"/>
                <a:gd name="T9" fmla="*/ 122107630 h 232"/>
                <a:gd name="T10" fmla="*/ 26510905 w 132"/>
                <a:gd name="T11" fmla="*/ 442759715 h 232"/>
                <a:gd name="T12" fmla="*/ 51443210 w 132"/>
                <a:gd name="T13" fmla="*/ 508305993 h 232"/>
                <a:gd name="T14" fmla="*/ 110103249 w 132"/>
                <a:gd name="T15" fmla="*/ 535913430 h 232"/>
                <a:gd name="T16" fmla="*/ 295891719 w 132"/>
                <a:gd name="T17" fmla="*/ 535913430 h 232"/>
                <a:gd name="T18" fmla="*/ 295891719 w 132"/>
                <a:gd name="T19" fmla="*/ 564828430 h 232"/>
                <a:gd name="T20" fmla="*/ 110103249 w 132"/>
                <a:gd name="T21" fmla="*/ 564828430 h 232"/>
                <a:gd name="T22" fmla="*/ 31262608 w 132"/>
                <a:gd name="T23" fmla="*/ 527724589 h 232"/>
                <a:gd name="T24" fmla="*/ 0 w 132"/>
                <a:gd name="T25" fmla="*/ 442759715 h 232"/>
                <a:gd name="T26" fmla="*/ 0 w 132"/>
                <a:gd name="T27" fmla="*/ 122107630 h 232"/>
                <a:gd name="T28" fmla="*/ 31262608 w 132"/>
                <a:gd name="T29" fmla="*/ 37103839 h 232"/>
                <a:gd name="T30" fmla="*/ 110103249 w 132"/>
                <a:gd name="T31" fmla="*/ 0 h 232"/>
                <a:gd name="T32" fmla="*/ 295891719 w 132"/>
                <a:gd name="T33" fmla="*/ 0 h 232"/>
                <a:gd name="T34" fmla="*/ 44482705 w 132"/>
                <a:gd name="T35" fmla="*/ 122107630 h 232"/>
                <a:gd name="T36" fmla="*/ 65404189 w 132"/>
                <a:gd name="T37" fmla="*/ 70832843 h 232"/>
                <a:gd name="T38" fmla="*/ 111981461 w 132"/>
                <a:gd name="T39" fmla="*/ 51413739 h 232"/>
                <a:gd name="T40" fmla="*/ 295891719 w 132"/>
                <a:gd name="T41" fmla="*/ 51413739 h 232"/>
                <a:gd name="T42" fmla="*/ 295891719 w 132"/>
                <a:gd name="T43" fmla="*/ 79781492 h 232"/>
                <a:gd name="T44" fmla="*/ 111981461 w 132"/>
                <a:gd name="T45" fmla="*/ 79781492 h 232"/>
                <a:gd name="T46" fmla="*/ 85443339 w 132"/>
                <a:gd name="T47" fmla="*/ 92335711 h 232"/>
                <a:gd name="T48" fmla="*/ 73893437 w 132"/>
                <a:gd name="T49" fmla="*/ 122107630 h 232"/>
                <a:gd name="T50" fmla="*/ 73893437 w 132"/>
                <a:gd name="T51" fmla="*/ 202009418 h 232"/>
                <a:gd name="T52" fmla="*/ 295891719 w 132"/>
                <a:gd name="T53" fmla="*/ 202009418 h 232"/>
                <a:gd name="T54" fmla="*/ 295891719 w 132"/>
                <a:gd name="T55" fmla="*/ 233836064 h 232"/>
                <a:gd name="T56" fmla="*/ 44482705 w 132"/>
                <a:gd name="T57" fmla="*/ 233836064 h 232"/>
                <a:gd name="T58" fmla="*/ 44482705 w 132"/>
                <a:gd name="T59" fmla="*/ 122107630 h 232"/>
                <a:gd name="T60" fmla="*/ 44482705 w 132"/>
                <a:gd name="T61" fmla="*/ 253283286 h 232"/>
                <a:gd name="T62" fmla="*/ 295891719 w 132"/>
                <a:gd name="T63" fmla="*/ 253283286 h 232"/>
                <a:gd name="T64" fmla="*/ 295891719 w 132"/>
                <a:gd name="T65" fmla="*/ 283050061 h 232"/>
                <a:gd name="T66" fmla="*/ 73893437 w 132"/>
                <a:gd name="T67" fmla="*/ 283050061 h 232"/>
                <a:gd name="T68" fmla="*/ 73893437 w 132"/>
                <a:gd name="T69" fmla="*/ 442759715 h 232"/>
                <a:gd name="T70" fmla="*/ 85443339 w 132"/>
                <a:gd name="T71" fmla="*/ 472485538 h 232"/>
                <a:gd name="T72" fmla="*/ 111981461 w 132"/>
                <a:gd name="T73" fmla="*/ 484506888 h 232"/>
                <a:gd name="T74" fmla="*/ 295891719 w 132"/>
                <a:gd name="T75" fmla="*/ 484506888 h 232"/>
                <a:gd name="T76" fmla="*/ 295891719 w 132"/>
                <a:gd name="T77" fmla="*/ 513431020 h 232"/>
                <a:gd name="T78" fmla="*/ 111981461 w 132"/>
                <a:gd name="T79" fmla="*/ 513431020 h 232"/>
                <a:gd name="T80" fmla="*/ 65404189 w 132"/>
                <a:gd name="T81" fmla="*/ 494012295 h 232"/>
                <a:gd name="T82" fmla="*/ 44482705 w 132"/>
                <a:gd name="T83" fmla="*/ 442759715 h 232"/>
                <a:gd name="T84" fmla="*/ 44482705 w 132"/>
                <a:gd name="T85" fmla="*/ 253283286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132" y="0"/>
                  </a:moveTo>
                  <a:cubicBezTo>
                    <a:pt x="132" y="13"/>
                    <a:pt x="132" y="13"/>
                    <a:pt x="132" y="13"/>
                  </a:cubicBezTo>
                  <a:cubicBezTo>
                    <a:pt x="49" y="13"/>
                    <a:pt x="49" y="13"/>
                    <a:pt x="49" y="13"/>
                  </a:cubicBezTo>
                  <a:cubicBezTo>
                    <a:pt x="39" y="13"/>
                    <a:pt x="30" y="16"/>
                    <a:pt x="23" y="24"/>
                  </a:cubicBezTo>
                  <a:cubicBezTo>
                    <a:pt x="16" y="31"/>
                    <a:pt x="12" y="40"/>
                    <a:pt x="12" y="50"/>
                  </a:cubicBezTo>
                  <a:cubicBezTo>
                    <a:pt x="12" y="182"/>
                    <a:pt x="12" y="182"/>
                    <a:pt x="12" y="182"/>
                  </a:cubicBezTo>
                  <a:cubicBezTo>
                    <a:pt x="12" y="193"/>
                    <a:pt x="16" y="201"/>
                    <a:pt x="23" y="209"/>
                  </a:cubicBezTo>
                  <a:cubicBezTo>
                    <a:pt x="30" y="216"/>
                    <a:pt x="39" y="220"/>
                    <a:pt x="49" y="220"/>
                  </a:cubicBezTo>
                  <a:cubicBezTo>
                    <a:pt x="132" y="220"/>
                    <a:pt x="132" y="220"/>
                    <a:pt x="132" y="220"/>
                  </a:cubicBezTo>
                  <a:cubicBezTo>
                    <a:pt x="132" y="232"/>
                    <a:pt x="132" y="232"/>
                    <a:pt x="132" y="232"/>
                  </a:cubicBezTo>
                  <a:cubicBezTo>
                    <a:pt x="49" y="232"/>
                    <a:pt x="49" y="232"/>
                    <a:pt x="49" y="232"/>
                  </a:cubicBezTo>
                  <a:cubicBezTo>
                    <a:pt x="36" y="232"/>
                    <a:pt x="24" y="227"/>
                    <a:pt x="14" y="217"/>
                  </a:cubicBezTo>
                  <a:cubicBezTo>
                    <a:pt x="5" y="208"/>
                    <a:pt x="0" y="196"/>
                    <a:pt x="0" y="182"/>
                  </a:cubicBezTo>
                  <a:cubicBezTo>
                    <a:pt x="0" y="50"/>
                    <a:pt x="0" y="50"/>
                    <a:pt x="0" y="50"/>
                  </a:cubicBezTo>
                  <a:cubicBezTo>
                    <a:pt x="0" y="36"/>
                    <a:pt x="5" y="25"/>
                    <a:pt x="14" y="15"/>
                  </a:cubicBezTo>
                  <a:cubicBezTo>
                    <a:pt x="24" y="5"/>
                    <a:pt x="36" y="0"/>
                    <a:pt x="49" y="0"/>
                  </a:cubicBezTo>
                  <a:lnTo>
                    <a:pt x="132" y="0"/>
                  </a:lnTo>
                  <a:close/>
                  <a:moveTo>
                    <a:pt x="20" y="50"/>
                  </a:moveTo>
                  <a:cubicBezTo>
                    <a:pt x="20" y="42"/>
                    <a:pt x="23" y="35"/>
                    <a:pt x="29" y="29"/>
                  </a:cubicBezTo>
                  <a:cubicBezTo>
                    <a:pt x="35" y="24"/>
                    <a:pt x="42" y="21"/>
                    <a:pt x="50" y="21"/>
                  </a:cubicBezTo>
                  <a:cubicBezTo>
                    <a:pt x="132" y="21"/>
                    <a:pt x="132" y="21"/>
                    <a:pt x="132" y="21"/>
                  </a:cubicBezTo>
                  <a:cubicBezTo>
                    <a:pt x="132" y="33"/>
                    <a:pt x="132" y="33"/>
                    <a:pt x="132" y="33"/>
                  </a:cubicBezTo>
                  <a:cubicBezTo>
                    <a:pt x="50" y="33"/>
                    <a:pt x="50" y="33"/>
                    <a:pt x="50" y="33"/>
                  </a:cubicBezTo>
                  <a:cubicBezTo>
                    <a:pt x="45" y="33"/>
                    <a:pt x="41" y="35"/>
                    <a:pt x="38" y="38"/>
                  </a:cubicBezTo>
                  <a:cubicBezTo>
                    <a:pt x="35" y="42"/>
                    <a:pt x="33" y="45"/>
                    <a:pt x="33" y="50"/>
                  </a:cubicBezTo>
                  <a:cubicBezTo>
                    <a:pt x="33" y="83"/>
                    <a:pt x="33" y="83"/>
                    <a:pt x="33" y="83"/>
                  </a:cubicBezTo>
                  <a:cubicBezTo>
                    <a:pt x="132" y="83"/>
                    <a:pt x="132" y="83"/>
                    <a:pt x="132" y="83"/>
                  </a:cubicBezTo>
                  <a:cubicBezTo>
                    <a:pt x="132" y="96"/>
                    <a:pt x="132" y="96"/>
                    <a:pt x="132" y="96"/>
                  </a:cubicBezTo>
                  <a:cubicBezTo>
                    <a:pt x="20" y="96"/>
                    <a:pt x="20" y="96"/>
                    <a:pt x="20" y="96"/>
                  </a:cubicBezTo>
                  <a:lnTo>
                    <a:pt x="20" y="50"/>
                  </a:lnTo>
                  <a:close/>
                  <a:moveTo>
                    <a:pt x="20" y="104"/>
                  </a:moveTo>
                  <a:cubicBezTo>
                    <a:pt x="132" y="104"/>
                    <a:pt x="132" y="104"/>
                    <a:pt x="132" y="104"/>
                  </a:cubicBezTo>
                  <a:cubicBezTo>
                    <a:pt x="132" y="116"/>
                    <a:pt x="132" y="116"/>
                    <a:pt x="132" y="116"/>
                  </a:cubicBezTo>
                  <a:cubicBezTo>
                    <a:pt x="33" y="116"/>
                    <a:pt x="33" y="116"/>
                    <a:pt x="33" y="116"/>
                  </a:cubicBezTo>
                  <a:cubicBezTo>
                    <a:pt x="33" y="182"/>
                    <a:pt x="33" y="182"/>
                    <a:pt x="33" y="182"/>
                  </a:cubicBezTo>
                  <a:cubicBezTo>
                    <a:pt x="33" y="187"/>
                    <a:pt x="35" y="191"/>
                    <a:pt x="38" y="194"/>
                  </a:cubicBezTo>
                  <a:cubicBezTo>
                    <a:pt x="41" y="197"/>
                    <a:pt x="45" y="199"/>
                    <a:pt x="50" y="199"/>
                  </a:cubicBezTo>
                  <a:cubicBezTo>
                    <a:pt x="132" y="199"/>
                    <a:pt x="132" y="199"/>
                    <a:pt x="132" y="199"/>
                  </a:cubicBezTo>
                  <a:cubicBezTo>
                    <a:pt x="132" y="211"/>
                    <a:pt x="132" y="211"/>
                    <a:pt x="132" y="211"/>
                  </a:cubicBezTo>
                  <a:cubicBezTo>
                    <a:pt x="50" y="211"/>
                    <a:pt x="50" y="211"/>
                    <a:pt x="50" y="211"/>
                  </a:cubicBezTo>
                  <a:cubicBezTo>
                    <a:pt x="42" y="211"/>
                    <a:pt x="35" y="209"/>
                    <a:pt x="29" y="203"/>
                  </a:cubicBezTo>
                  <a:cubicBezTo>
                    <a:pt x="23" y="197"/>
                    <a:pt x="20" y="190"/>
                    <a:pt x="20" y="182"/>
                  </a:cubicBezTo>
                  <a:lnTo>
                    <a:pt x="20" y="104"/>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22" name="TextBox 26">
            <a:extLst>
              <a:ext uri="{FF2B5EF4-FFF2-40B4-BE49-F238E27FC236}">
                <a16:creationId xmlns:a16="http://schemas.microsoft.com/office/drawing/2014/main" id="{92FE38B3-152C-9A95-5E93-5C787078E926}"/>
              </a:ext>
            </a:extLst>
          </p:cNvPr>
          <p:cNvSpPr txBox="1">
            <a:spLocks noChangeArrowheads="1"/>
          </p:cNvSpPr>
          <p:nvPr/>
        </p:nvSpPr>
        <p:spPr bwMode="auto">
          <a:xfrm>
            <a:off x="11345863" y="6402388"/>
            <a:ext cx="354012" cy="261937"/>
          </a:xfrm>
          <a:prstGeom prst="rect">
            <a:avLst/>
          </a:prstGeom>
          <a:noFill/>
          <a:ln>
            <a:noFill/>
          </a:ln>
        </p:spPr>
        <p:txBody>
          <a:bodyPr wrap="none">
            <a:spAutoFit/>
          </a:bodyPr>
          <a:lstStyle>
            <a:lvl1pPr>
              <a:defRPr>
                <a:solidFill>
                  <a:schemeClr val="tx1"/>
                </a:solidFill>
                <a:latin typeface="Lato Light" panose="020F0502020204030203" pitchFamily="34" charset="0"/>
              </a:defRPr>
            </a:lvl1pPr>
            <a:lvl2pPr marL="742950" indent="-285750">
              <a:defRPr>
                <a:solidFill>
                  <a:schemeClr val="tx1"/>
                </a:solidFill>
                <a:latin typeface="Lato Light" panose="020F0502020204030203" pitchFamily="34" charset="0"/>
              </a:defRPr>
            </a:lvl2pPr>
            <a:lvl3pPr marL="1143000" indent="-228600">
              <a:defRPr>
                <a:solidFill>
                  <a:schemeClr val="tx1"/>
                </a:solidFill>
                <a:latin typeface="Lato Light" panose="020F0502020204030203" pitchFamily="34" charset="0"/>
              </a:defRPr>
            </a:lvl3pPr>
            <a:lvl4pPr marL="1600200" indent="-228600">
              <a:defRPr>
                <a:solidFill>
                  <a:schemeClr val="tx1"/>
                </a:solidFill>
                <a:latin typeface="Lato Light" panose="020F0502020204030203" pitchFamily="34" charset="0"/>
              </a:defRPr>
            </a:lvl4pPr>
            <a:lvl5pPr marL="2057400" indent="-228600">
              <a:defRPr>
                <a:solidFill>
                  <a:schemeClr val="tx1"/>
                </a:solidFill>
                <a:latin typeface="Lato Light" panose="020F0502020204030203" pitchFamily="34" charset="0"/>
              </a:defRPr>
            </a:lvl5pPr>
            <a:lvl6pPr marL="2514600" indent="-228600" eaLnBrk="0" fontAlgn="base" hangingPunct="0">
              <a:spcBef>
                <a:spcPct val="0"/>
              </a:spcBef>
              <a:spcAft>
                <a:spcPct val="0"/>
              </a:spcAft>
              <a:defRPr>
                <a:solidFill>
                  <a:schemeClr val="tx1"/>
                </a:solidFill>
                <a:latin typeface="Lato Light" panose="020F0502020204030203" pitchFamily="34" charset="0"/>
              </a:defRPr>
            </a:lvl6pPr>
            <a:lvl7pPr marL="2971800" indent="-228600" eaLnBrk="0" fontAlgn="base" hangingPunct="0">
              <a:spcBef>
                <a:spcPct val="0"/>
              </a:spcBef>
              <a:spcAft>
                <a:spcPct val="0"/>
              </a:spcAft>
              <a:defRPr>
                <a:solidFill>
                  <a:schemeClr val="tx1"/>
                </a:solidFill>
                <a:latin typeface="Lato Light" panose="020F0502020204030203" pitchFamily="34" charset="0"/>
              </a:defRPr>
            </a:lvl7pPr>
            <a:lvl8pPr marL="3429000" indent="-228600" eaLnBrk="0" fontAlgn="base" hangingPunct="0">
              <a:spcBef>
                <a:spcPct val="0"/>
              </a:spcBef>
              <a:spcAft>
                <a:spcPct val="0"/>
              </a:spcAft>
              <a:defRPr>
                <a:solidFill>
                  <a:schemeClr val="tx1"/>
                </a:solidFill>
                <a:latin typeface="Lato Light" panose="020F0502020204030203" pitchFamily="34" charset="0"/>
              </a:defRPr>
            </a:lvl8pPr>
            <a:lvl9pPr marL="3886200" indent="-228600" eaLnBrk="0" fontAlgn="base" hangingPunct="0">
              <a:spcBef>
                <a:spcPct val="0"/>
              </a:spcBef>
              <a:spcAft>
                <a:spcPct val="0"/>
              </a:spcAft>
              <a:defRPr>
                <a:solidFill>
                  <a:schemeClr val="tx1"/>
                </a:solidFill>
                <a:latin typeface="Lato Light" panose="020F0502020204030203" pitchFamily="34" charset="0"/>
              </a:defRPr>
            </a:lvl9pPr>
          </a:lstStyle>
          <a:p>
            <a:pPr algn="ctr" eaLnBrk="1" hangingPunct="1">
              <a:defRPr/>
            </a:pPr>
            <a:fld id="{9FE82781-3ABF-4B60-8543-2A6D4CC3545A}" type="slidenum">
              <a:rPr lang="en-US" altLang="tr-TR" sz="1100" smtClean="0">
                <a:solidFill>
                  <a:schemeClr val="tx2"/>
                </a:solidFill>
              </a:rPr>
              <a:pPr algn="ctr" eaLnBrk="1" hangingPunct="1">
                <a:defRPr/>
              </a:pPr>
              <a:t>‹#›</a:t>
            </a:fld>
            <a:endParaRPr lang="en-US" altLang="tr-TR" sz="1100">
              <a:solidFill>
                <a:schemeClr val="tx2"/>
              </a:solidFill>
            </a:endParaRPr>
          </a:p>
        </p:txBody>
      </p:sp>
      <p:sp>
        <p:nvSpPr>
          <p:cNvPr id="7" name="Picture Placeholder 3"/>
          <p:cNvSpPr>
            <a:spLocks noGrp="1"/>
          </p:cNvSpPr>
          <p:nvPr>
            <p:ph type="pic" sz="quarter" idx="18"/>
          </p:nvPr>
        </p:nvSpPr>
        <p:spPr>
          <a:xfrm>
            <a:off x="804204" y="827532"/>
            <a:ext cx="2560320" cy="5202936"/>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
        <p:nvSpPr>
          <p:cNvPr id="8" name="Picture Placeholder 3"/>
          <p:cNvSpPr>
            <a:spLocks noGrp="1"/>
          </p:cNvSpPr>
          <p:nvPr>
            <p:ph type="pic" sz="quarter" idx="19"/>
          </p:nvPr>
        </p:nvSpPr>
        <p:spPr>
          <a:xfrm>
            <a:off x="3483031" y="827532"/>
            <a:ext cx="2560320" cy="5202936"/>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
        <p:nvSpPr>
          <p:cNvPr id="9" name="Picture Placeholder 3"/>
          <p:cNvSpPr>
            <a:spLocks noGrp="1"/>
          </p:cNvSpPr>
          <p:nvPr>
            <p:ph type="pic" sz="quarter" idx="20"/>
          </p:nvPr>
        </p:nvSpPr>
        <p:spPr>
          <a:xfrm>
            <a:off x="6156857" y="827532"/>
            <a:ext cx="2560320" cy="5202936"/>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
        <p:nvSpPr>
          <p:cNvPr id="10" name="Picture Placeholder 3"/>
          <p:cNvSpPr>
            <a:spLocks noGrp="1"/>
          </p:cNvSpPr>
          <p:nvPr>
            <p:ph type="pic" sz="quarter" idx="21"/>
          </p:nvPr>
        </p:nvSpPr>
        <p:spPr>
          <a:xfrm>
            <a:off x="8835684" y="827532"/>
            <a:ext cx="2560320" cy="5202936"/>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Tree>
    <p:extLst>
      <p:ext uri="{BB962C8B-B14F-4D97-AF65-F5344CB8AC3E}">
        <p14:creationId xmlns:p14="http://schemas.microsoft.com/office/powerpoint/2010/main" val="22812251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Left">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5DC7A04D-99F3-FB33-2EA6-3AFF99ECC8E6}"/>
              </a:ext>
            </a:extLst>
          </p:cNvPr>
          <p:cNvSpPr/>
          <p:nvPr/>
        </p:nvSpPr>
        <p:spPr>
          <a:xfrm>
            <a:off x="11350625" y="6361113"/>
            <a:ext cx="344488" cy="344487"/>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2"/>
              </a:solidFill>
            </a:endParaRPr>
          </a:p>
        </p:txBody>
      </p:sp>
      <p:grpSp>
        <p:nvGrpSpPr>
          <p:cNvPr id="3" name="Group 4">
            <a:extLst>
              <a:ext uri="{FF2B5EF4-FFF2-40B4-BE49-F238E27FC236}">
                <a16:creationId xmlns:a16="http://schemas.microsoft.com/office/drawing/2014/main" id="{B72B587D-C3B0-0F2D-F56C-37361F29B8B2}"/>
              </a:ext>
            </a:extLst>
          </p:cNvPr>
          <p:cNvGrpSpPr>
            <a:grpSpLocks noChangeAspect="1"/>
          </p:cNvGrpSpPr>
          <p:nvPr/>
        </p:nvGrpSpPr>
        <p:grpSpPr bwMode="auto">
          <a:xfrm>
            <a:off x="527050" y="6389688"/>
            <a:ext cx="1039813" cy="284162"/>
            <a:chOff x="297" y="1187"/>
            <a:chExt cx="7085" cy="1944"/>
          </a:xfrm>
        </p:grpSpPr>
        <p:sp>
          <p:nvSpPr>
            <p:cNvPr id="4" name="Freeform 26">
              <a:extLst>
                <a:ext uri="{FF2B5EF4-FFF2-40B4-BE49-F238E27FC236}">
                  <a16:creationId xmlns:a16="http://schemas.microsoft.com/office/drawing/2014/main" id="{D3F5A291-9B14-F385-E933-9752389E0706}"/>
                </a:ext>
              </a:extLst>
            </p:cNvPr>
            <p:cNvSpPr>
              <a:spLocks noEditPoints="1"/>
            </p:cNvSpPr>
            <p:nvPr userDrawn="1"/>
          </p:nvSpPr>
          <p:spPr bwMode="auto">
            <a:xfrm>
              <a:off x="297" y="1189"/>
              <a:ext cx="1266" cy="1105"/>
            </a:xfrm>
            <a:custGeom>
              <a:avLst/>
              <a:gdLst>
                <a:gd name="T0" fmla="*/ 592814223 w 535"/>
                <a:gd name="T1" fmla="*/ 490470457 h 466"/>
                <a:gd name="T2" fmla="*/ 475447313 w 535"/>
                <a:gd name="T3" fmla="*/ 198813566 h 466"/>
                <a:gd name="T4" fmla="*/ 254086917 w 535"/>
                <a:gd name="T5" fmla="*/ 767261907 h 466"/>
                <a:gd name="T6" fmla="*/ 205935911 w 535"/>
                <a:gd name="T7" fmla="*/ 898255873 h 466"/>
                <a:gd name="T8" fmla="*/ 135177273 w 535"/>
                <a:gd name="T9" fmla="*/ 1082812292 h 466"/>
                <a:gd name="T10" fmla="*/ 135177273 w 535"/>
                <a:gd name="T11" fmla="*/ 1079972834 h 466"/>
                <a:gd name="T12" fmla="*/ 102568007 w 535"/>
                <a:gd name="T13" fmla="*/ 1104057219 h 466"/>
                <a:gd name="T14" fmla="*/ 25381052 w 535"/>
                <a:gd name="T15" fmla="*/ 1104057219 h 466"/>
                <a:gd name="T16" fmla="*/ 0 w 535"/>
                <a:gd name="T17" fmla="*/ 1087116478 h 466"/>
                <a:gd name="T18" fmla="*/ 2031267 w 535"/>
                <a:gd name="T19" fmla="*/ 1078264271 h 466"/>
                <a:gd name="T20" fmla="*/ 4806699 w 535"/>
                <a:gd name="T21" fmla="*/ 1068152912 h 466"/>
                <a:gd name="T22" fmla="*/ 423281075 w 535"/>
                <a:gd name="T23" fmla="*/ 19018883 h 466"/>
                <a:gd name="T24" fmla="*/ 425157884 w 535"/>
                <a:gd name="T25" fmla="*/ 16871626 h 466"/>
                <a:gd name="T26" fmla="*/ 423281075 w 535"/>
                <a:gd name="T27" fmla="*/ 19018883 h 466"/>
                <a:gd name="T28" fmla="*/ 430186005 w 535"/>
                <a:gd name="T29" fmla="*/ 7115093 h 466"/>
                <a:gd name="T30" fmla="*/ 453467932 w 535"/>
                <a:gd name="T31" fmla="*/ 0 h 466"/>
                <a:gd name="T32" fmla="*/ 500809590 w 535"/>
                <a:gd name="T33" fmla="*/ 0 h 466"/>
                <a:gd name="T34" fmla="*/ 522062318 w 535"/>
                <a:gd name="T35" fmla="*/ 7115093 h 466"/>
                <a:gd name="T36" fmla="*/ 528624526 w 535"/>
                <a:gd name="T37" fmla="*/ 19018883 h 466"/>
                <a:gd name="T38" fmla="*/ 530657417 w 535"/>
                <a:gd name="T39" fmla="*/ 19018883 h 466"/>
                <a:gd name="T40" fmla="*/ 532753721 w 535"/>
                <a:gd name="T41" fmla="*/ 23986629 h 466"/>
                <a:gd name="T42" fmla="*/ 530657417 w 535"/>
                <a:gd name="T43" fmla="*/ 21137875 h 466"/>
                <a:gd name="T44" fmla="*/ 656507488 w 535"/>
                <a:gd name="T45" fmla="*/ 336755356 h 466"/>
                <a:gd name="T46" fmla="*/ 592814223 w 535"/>
                <a:gd name="T47" fmla="*/ 490470457 h 466"/>
                <a:gd name="T48" fmla="*/ 1063415281 w 535"/>
                <a:gd name="T49" fmla="*/ 1007003229 h 466"/>
                <a:gd name="T50" fmla="*/ 1020096784 w 535"/>
                <a:gd name="T51" fmla="*/ 898255873 h 466"/>
                <a:gd name="T52" fmla="*/ 862287051 w 535"/>
                <a:gd name="T53" fmla="*/ 490470457 h 466"/>
                <a:gd name="T54" fmla="*/ 745075518 w 535"/>
                <a:gd name="T55" fmla="*/ 198813566 h 466"/>
                <a:gd name="T56" fmla="*/ 524093625 w 535"/>
                <a:gd name="T57" fmla="*/ 767261907 h 466"/>
                <a:gd name="T58" fmla="*/ 473909525 w 535"/>
                <a:gd name="T59" fmla="*/ 898255873 h 466"/>
                <a:gd name="T60" fmla="*/ 405184384 w 535"/>
                <a:gd name="T61" fmla="*/ 1082812292 h 466"/>
                <a:gd name="T62" fmla="*/ 405184384 w 535"/>
                <a:gd name="T63" fmla="*/ 1079972834 h 466"/>
                <a:gd name="T64" fmla="*/ 372851835 w 535"/>
                <a:gd name="T65" fmla="*/ 1104057219 h 466"/>
                <a:gd name="T66" fmla="*/ 295029932 w 535"/>
                <a:gd name="T67" fmla="*/ 1104057219 h 466"/>
                <a:gd name="T68" fmla="*/ 269628205 w 535"/>
                <a:gd name="T69" fmla="*/ 1087116478 h 466"/>
                <a:gd name="T70" fmla="*/ 272403609 w 535"/>
                <a:gd name="T71" fmla="*/ 1078264271 h 466"/>
                <a:gd name="T72" fmla="*/ 274527635 w 535"/>
                <a:gd name="T73" fmla="*/ 1068152912 h 466"/>
                <a:gd name="T74" fmla="*/ 693246507 w 535"/>
                <a:gd name="T75" fmla="*/ 19018883 h 466"/>
                <a:gd name="T76" fmla="*/ 694891188 w 535"/>
                <a:gd name="T77" fmla="*/ 16871626 h 466"/>
                <a:gd name="T78" fmla="*/ 693246507 w 535"/>
                <a:gd name="T79" fmla="*/ 19018883 h 466"/>
                <a:gd name="T80" fmla="*/ 699814170 w 535"/>
                <a:gd name="T81" fmla="*/ 7115093 h 466"/>
                <a:gd name="T82" fmla="*/ 722963600 w 535"/>
                <a:gd name="T83" fmla="*/ 0 h 466"/>
                <a:gd name="T84" fmla="*/ 770453496 w 535"/>
                <a:gd name="T85" fmla="*/ 0 h 466"/>
                <a:gd name="T86" fmla="*/ 791690909 w 535"/>
                <a:gd name="T87" fmla="*/ 7115093 h 466"/>
                <a:gd name="T88" fmla="*/ 798593889 w 535"/>
                <a:gd name="T89" fmla="*/ 19018883 h 466"/>
                <a:gd name="T90" fmla="*/ 800282813 w 535"/>
                <a:gd name="T91" fmla="*/ 19018883 h 466"/>
                <a:gd name="T92" fmla="*/ 800282813 w 535"/>
                <a:gd name="T93" fmla="*/ 23986629 h 466"/>
                <a:gd name="T94" fmla="*/ 800282813 w 535"/>
                <a:gd name="T95" fmla="*/ 21137875 h 466"/>
                <a:gd name="T96" fmla="*/ 1221874959 w 535"/>
                <a:gd name="T97" fmla="*/ 1068152912 h 466"/>
                <a:gd name="T98" fmla="*/ 1223907795 w 535"/>
                <a:gd name="T99" fmla="*/ 1073239556 h 466"/>
                <a:gd name="T100" fmla="*/ 1223907795 w 535"/>
                <a:gd name="T101" fmla="*/ 1087116478 h 466"/>
                <a:gd name="T102" fmla="*/ 1198604492 w 535"/>
                <a:gd name="T103" fmla="*/ 1104057219 h 466"/>
                <a:gd name="T104" fmla="*/ 1123315401 w 535"/>
                <a:gd name="T105" fmla="*/ 1104057219 h 466"/>
                <a:gd name="T106" fmla="*/ 1091504023 w 535"/>
                <a:gd name="T107" fmla="*/ 1082812292 h 466"/>
                <a:gd name="T108" fmla="*/ 1063415281 w 535"/>
                <a:gd name="T109" fmla="*/ 1007003229 h 4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35" h="466">
                  <a:moveTo>
                    <a:pt x="259" y="207"/>
                  </a:moveTo>
                  <a:cubicBezTo>
                    <a:pt x="208" y="84"/>
                    <a:pt x="208" y="84"/>
                    <a:pt x="208" y="84"/>
                  </a:cubicBezTo>
                  <a:cubicBezTo>
                    <a:pt x="111" y="324"/>
                    <a:pt x="111" y="324"/>
                    <a:pt x="111" y="324"/>
                  </a:cubicBezTo>
                  <a:cubicBezTo>
                    <a:pt x="90" y="379"/>
                    <a:pt x="90" y="379"/>
                    <a:pt x="90" y="379"/>
                  </a:cubicBezTo>
                  <a:cubicBezTo>
                    <a:pt x="59" y="457"/>
                    <a:pt x="59" y="457"/>
                    <a:pt x="59" y="457"/>
                  </a:cubicBezTo>
                  <a:cubicBezTo>
                    <a:pt x="59" y="456"/>
                    <a:pt x="59" y="456"/>
                    <a:pt x="59" y="456"/>
                  </a:cubicBezTo>
                  <a:cubicBezTo>
                    <a:pt x="56" y="462"/>
                    <a:pt x="51" y="466"/>
                    <a:pt x="45" y="466"/>
                  </a:cubicBezTo>
                  <a:cubicBezTo>
                    <a:pt x="11" y="466"/>
                    <a:pt x="11" y="466"/>
                    <a:pt x="11" y="466"/>
                  </a:cubicBezTo>
                  <a:cubicBezTo>
                    <a:pt x="4" y="466"/>
                    <a:pt x="0" y="464"/>
                    <a:pt x="0" y="459"/>
                  </a:cubicBezTo>
                  <a:cubicBezTo>
                    <a:pt x="0" y="458"/>
                    <a:pt x="0" y="457"/>
                    <a:pt x="1" y="455"/>
                  </a:cubicBezTo>
                  <a:cubicBezTo>
                    <a:pt x="2" y="451"/>
                    <a:pt x="2" y="451"/>
                    <a:pt x="2" y="451"/>
                  </a:cubicBezTo>
                  <a:cubicBezTo>
                    <a:pt x="185" y="8"/>
                    <a:pt x="185" y="8"/>
                    <a:pt x="185" y="8"/>
                  </a:cubicBezTo>
                  <a:cubicBezTo>
                    <a:pt x="185" y="8"/>
                    <a:pt x="185" y="7"/>
                    <a:pt x="186" y="7"/>
                  </a:cubicBezTo>
                  <a:cubicBezTo>
                    <a:pt x="185" y="8"/>
                    <a:pt x="185" y="8"/>
                    <a:pt x="185" y="8"/>
                  </a:cubicBezTo>
                  <a:cubicBezTo>
                    <a:pt x="188" y="3"/>
                    <a:pt x="188" y="3"/>
                    <a:pt x="188" y="3"/>
                  </a:cubicBezTo>
                  <a:cubicBezTo>
                    <a:pt x="190" y="1"/>
                    <a:pt x="193" y="0"/>
                    <a:pt x="198" y="0"/>
                  </a:cubicBezTo>
                  <a:cubicBezTo>
                    <a:pt x="219" y="0"/>
                    <a:pt x="219" y="0"/>
                    <a:pt x="219" y="0"/>
                  </a:cubicBezTo>
                  <a:cubicBezTo>
                    <a:pt x="224" y="0"/>
                    <a:pt x="227" y="1"/>
                    <a:pt x="228" y="3"/>
                  </a:cubicBezTo>
                  <a:cubicBezTo>
                    <a:pt x="231" y="8"/>
                    <a:pt x="231" y="8"/>
                    <a:pt x="231" y="8"/>
                  </a:cubicBezTo>
                  <a:cubicBezTo>
                    <a:pt x="231" y="8"/>
                    <a:pt x="231" y="8"/>
                    <a:pt x="232" y="8"/>
                  </a:cubicBezTo>
                  <a:cubicBezTo>
                    <a:pt x="233" y="10"/>
                    <a:pt x="233" y="10"/>
                    <a:pt x="233" y="10"/>
                  </a:cubicBezTo>
                  <a:cubicBezTo>
                    <a:pt x="232" y="9"/>
                    <a:pt x="232" y="9"/>
                    <a:pt x="232" y="9"/>
                  </a:cubicBezTo>
                  <a:cubicBezTo>
                    <a:pt x="287" y="142"/>
                    <a:pt x="287" y="142"/>
                    <a:pt x="287" y="142"/>
                  </a:cubicBezTo>
                  <a:lnTo>
                    <a:pt x="259" y="207"/>
                  </a:lnTo>
                  <a:close/>
                  <a:moveTo>
                    <a:pt x="465" y="425"/>
                  </a:moveTo>
                  <a:cubicBezTo>
                    <a:pt x="446" y="379"/>
                    <a:pt x="446" y="379"/>
                    <a:pt x="446" y="379"/>
                  </a:cubicBezTo>
                  <a:cubicBezTo>
                    <a:pt x="377" y="207"/>
                    <a:pt x="377" y="207"/>
                    <a:pt x="377" y="207"/>
                  </a:cubicBezTo>
                  <a:cubicBezTo>
                    <a:pt x="326" y="84"/>
                    <a:pt x="326" y="84"/>
                    <a:pt x="326" y="84"/>
                  </a:cubicBezTo>
                  <a:cubicBezTo>
                    <a:pt x="229" y="324"/>
                    <a:pt x="229" y="324"/>
                    <a:pt x="229" y="324"/>
                  </a:cubicBezTo>
                  <a:cubicBezTo>
                    <a:pt x="207" y="379"/>
                    <a:pt x="207" y="379"/>
                    <a:pt x="207" y="379"/>
                  </a:cubicBezTo>
                  <a:cubicBezTo>
                    <a:pt x="177" y="457"/>
                    <a:pt x="177" y="457"/>
                    <a:pt x="177" y="457"/>
                  </a:cubicBezTo>
                  <a:cubicBezTo>
                    <a:pt x="177" y="456"/>
                    <a:pt x="177" y="456"/>
                    <a:pt x="177" y="456"/>
                  </a:cubicBezTo>
                  <a:cubicBezTo>
                    <a:pt x="174" y="462"/>
                    <a:pt x="169" y="466"/>
                    <a:pt x="163" y="466"/>
                  </a:cubicBezTo>
                  <a:cubicBezTo>
                    <a:pt x="129" y="466"/>
                    <a:pt x="129" y="466"/>
                    <a:pt x="129" y="466"/>
                  </a:cubicBezTo>
                  <a:cubicBezTo>
                    <a:pt x="122" y="466"/>
                    <a:pt x="118" y="464"/>
                    <a:pt x="118" y="459"/>
                  </a:cubicBezTo>
                  <a:cubicBezTo>
                    <a:pt x="118" y="458"/>
                    <a:pt x="118" y="457"/>
                    <a:pt x="119" y="455"/>
                  </a:cubicBezTo>
                  <a:cubicBezTo>
                    <a:pt x="120" y="451"/>
                    <a:pt x="120" y="451"/>
                    <a:pt x="120" y="451"/>
                  </a:cubicBezTo>
                  <a:cubicBezTo>
                    <a:pt x="303" y="8"/>
                    <a:pt x="303" y="8"/>
                    <a:pt x="303" y="8"/>
                  </a:cubicBezTo>
                  <a:cubicBezTo>
                    <a:pt x="303" y="8"/>
                    <a:pt x="303" y="7"/>
                    <a:pt x="304" y="7"/>
                  </a:cubicBezTo>
                  <a:cubicBezTo>
                    <a:pt x="303" y="8"/>
                    <a:pt x="303" y="8"/>
                    <a:pt x="303" y="8"/>
                  </a:cubicBezTo>
                  <a:cubicBezTo>
                    <a:pt x="306" y="3"/>
                    <a:pt x="306" y="3"/>
                    <a:pt x="306" y="3"/>
                  </a:cubicBezTo>
                  <a:cubicBezTo>
                    <a:pt x="308" y="1"/>
                    <a:pt x="311" y="0"/>
                    <a:pt x="316" y="0"/>
                  </a:cubicBezTo>
                  <a:cubicBezTo>
                    <a:pt x="337" y="0"/>
                    <a:pt x="337" y="0"/>
                    <a:pt x="337" y="0"/>
                  </a:cubicBezTo>
                  <a:cubicBezTo>
                    <a:pt x="342" y="0"/>
                    <a:pt x="344" y="1"/>
                    <a:pt x="346" y="3"/>
                  </a:cubicBezTo>
                  <a:cubicBezTo>
                    <a:pt x="349" y="8"/>
                    <a:pt x="349" y="8"/>
                    <a:pt x="349" y="8"/>
                  </a:cubicBezTo>
                  <a:cubicBezTo>
                    <a:pt x="349" y="8"/>
                    <a:pt x="349" y="8"/>
                    <a:pt x="350" y="8"/>
                  </a:cubicBezTo>
                  <a:cubicBezTo>
                    <a:pt x="350" y="10"/>
                    <a:pt x="350" y="10"/>
                    <a:pt x="350" y="10"/>
                  </a:cubicBezTo>
                  <a:cubicBezTo>
                    <a:pt x="350" y="9"/>
                    <a:pt x="350" y="9"/>
                    <a:pt x="350" y="9"/>
                  </a:cubicBezTo>
                  <a:cubicBezTo>
                    <a:pt x="534" y="451"/>
                    <a:pt x="534" y="451"/>
                    <a:pt x="534" y="451"/>
                  </a:cubicBezTo>
                  <a:cubicBezTo>
                    <a:pt x="535" y="453"/>
                    <a:pt x="535" y="453"/>
                    <a:pt x="535" y="453"/>
                  </a:cubicBezTo>
                  <a:cubicBezTo>
                    <a:pt x="535" y="455"/>
                    <a:pt x="535" y="457"/>
                    <a:pt x="535" y="459"/>
                  </a:cubicBezTo>
                  <a:cubicBezTo>
                    <a:pt x="535" y="464"/>
                    <a:pt x="532" y="466"/>
                    <a:pt x="524" y="466"/>
                  </a:cubicBezTo>
                  <a:cubicBezTo>
                    <a:pt x="491" y="466"/>
                    <a:pt x="491" y="466"/>
                    <a:pt x="491" y="466"/>
                  </a:cubicBezTo>
                  <a:cubicBezTo>
                    <a:pt x="479" y="466"/>
                    <a:pt x="477" y="456"/>
                    <a:pt x="477" y="457"/>
                  </a:cubicBezTo>
                  <a:lnTo>
                    <a:pt x="465" y="425"/>
                  </a:lnTo>
                  <a:close/>
                </a:path>
              </a:pathLst>
            </a:custGeom>
            <a:solidFill>
              <a:srgbClr val="2580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 name="Freeform 6">
              <a:extLst>
                <a:ext uri="{FF2B5EF4-FFF2-40B4-BE49-F238E27FC236}">
                  <a16:creationId xmlns:a16="http://schemas.microsoft.com/office/drawing/2014/main" id="{6D62CF3A-0EC6-AA79-7930-748DD22F02F0}"/>
                </a:ext>
              </a:extLst>
            </p:cNvPr>
            <p:cNvSpPr>
              <a:spLocks noEditPoints="1"/>
            </p:cNvSpPr>
            <p:nvPr userDrawn="1"/>
          </p:nvSpPr>
          <p:spPr bwMode="auto">
            <a:xfrm>
              <a:off x="1456" y="1189"/>
              <a:ext cx="986" cy="1105"/>
            </a:xfrm>
            <a:custGeom>
              <a:avLst/>
              <a:gdLst>
                <a:gd name="T0" fmla="*/ 26658435 w 417"/>
                <a:gd name="T1" fmla="*/ 1104057219 h 466"/>
                <a:gd name="T2" fmla="*/ 0 w 417"/>
                <a:gd name="T3" fmla="*/ 1084997487 h 466"/>
                <a:gd name="T4" fmla="*/ 0 w 417"/>
                <a:gd name="T5" fmla="*/ 1071148297 h 466"/>
                <a:gd name="T6" fmla="*/ 2016564 w 417"/>
                <a:gd name="T7" fmla="*/ 1065967725 h 466"/>
                <a:gd name="T8" fmla="*/ 440005146 w 417"/>
                <a:gd name="T9" fmla="*/ 19018883 h 466"/>
                <a:gd name="T10" fmla="*/ 469546985 w 417"/>
                <a:gd name="T11" fmla="*/ 0 h 466"/>
                <a:gd name="T12" fmla="*/ 474377529 w 417"/>
                <a:gd name="T13" fmla="*/ 0 h 466"/>
                <a:gd name="T14" fmla="*/ 505945896 w 417"/>
                <a:gd name="T15" fmla="*/ 21137875 h 466"/>
                <a:gd name="T16" fmla="*/ 612172944 w 417"/>
                <a:gd name="T17" fmla="*/ 284828039 h 466"/>
                <a:gd name="T18" fmla="*/ 830540312 w 417"/>
                <a:gd name="T19" fmla="*/ 805128453 h 466"/>
                <a:gd name="T20" fmla="*/ 936767478 w 417"/>
                <a:gd name="T21" fmla="*/ 1065967725 h 466"/>
                <a:gd name="T22" fmla="*/ 936767478 w 417"/>
                <a:gd name="T23" fmla="*/ 1065967725 h 466"/>
                <a:gd name="T24" fmla="*/ 941198430 w 417"/>
                <a:gd name="T25" fmla="*/ 1084997487 h 466"/>
                <a:gd name="T26" fmla="*/ 914535082 w 417"/>
                <a:gd name="T27" fmla="*/ 1104057219 h 466"/>
                <a:gd name="T28" fmla="*/ 26658435 w 417"/>
                <a:gd name="T29" fmla="*/ 1104057219 h 466"/>
                <a:gd name="T30" fmla="*/ 173692259 w 417"/>
                <a:gd name="T31" fmla="*/ 974102843 h 466"/>
                <a:gd name="T32" fmla="*/ 332252753 w 417"/>
                <a:gd name="T33" fmla="*/ 974102843 h 466"/>
                <a:gd name="T34" fmla="*/ 767506131 w 417"/>
                <a:gd name="T35" fmla="*/ 974102843 h 466"/>
                <a:gd name="T36" fmla="*/ 471651445 w 417"/>
                <a:gd name="T37" fmla="*/ 238808028 h 466"/>
                <a:gd name="T38" fmla="*/ 173692259 w 417"/>
                <a:gd name="T39" fmla="*/ 974102843 h 4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17" h="466">
                  <a:moveTo>
                    <a:pt x="12" y="466"/>
                  </a:moveTo>
                  <a:cubicBezTo>
                    <a:pt x="4" y="466"/>
                    <a:pt x="0" y="463"/>
                    <a:pt x="0" y="458"/>
                  </a:cubicBezTo>
                  <a:cubicBezTo>
                    <a:pt x="0" y="455"/>
                    <a:pt x="0" y="453"/>
                    <a:pt x="0" y="452"/>
                  </a:cubicBezTo>
                  <a:cubicBezTo>
                    <a:pt x="1" y="450"/>
                    <a:pt x="1" y="450"/>
                    <a:pt x="1" y="450"/>
                  </a:cubicBezTo>
                  <a:cubicBezTo>
                    <a:pt x="195" y="8"/>
                    <a:pt x="195" y="8"/>
                    <a:pt x="195" y="8"/>
                  </a:cubicBezTo>
                  <a:cubicBezTo>
                    <a:pt x="196" y="5"/>
                    <a:pt x="197" y="0"/>
                    <a:pt x="208" y="0"/>
                  </a:cubicBezTo>
                  <a:cubicBezTo>
                    <a:pt x="210" y="0"/>
                    <a:pt x="210" y="0"/>
                    <a:pt x="210" y="0"/>
                  </a:cubicBezTo>
                  <a:cubicBezTo>
                    <a:pt x="222" y="0"/>
                    <a:pt x="222" y="7"/>
                    <a:pt x="224" y="9"/>
                  </a:cubicBezTo>
                  <a:cubicBezTo>
                    <a:pt x="239" y="46"/>
                    <a:pt x="255" y="83"/>
                    <a:pt x="271" y="120"/>
                  </a:cubicBezTo>
                  <a:cubicBezTo>
                    <a:pt x="368" y="340"/>
                    <a:pt x="368" y="340"/>
                    <a:pt x="368" y="340"/>
                  </a:cubicBezTo>
                  <a:cubicBezTo>
                    <a:pt x="384" y="377"/>
                    <a:pt x="400" y="414"/>
                    <a:pt x="415" y="450"/>
                  </a:cubicBezTo>
                  <a:cubicBezTo>
                    <a:pt x="415" y="450"/>
                    <a:pt x="415" y="450"/>
                    <a:pt x="415" y="450"/>
                  </a:cubicBezTo>
                  <a:cubicBezTo>
                    <a:pt x="417" y="458"/>
                    <a:pt x="417" y="458"/>
                    <a:pt x="417" y="458"/>
                  </a:cubicBezTo>
                  <a:cubicBezTo>
                    <a:pt x="417" y="463"/>
                    <a:pt x="413" y="466"/>
                    <a:pt x="405" y="466"/>
                  </a:cubicBezTo>
                  <a:lnTo>
                    <a:pt x="12" y="466"/>
                  </a:lnTo>
                  <a:close/>
                  <a:moveTo>
                    <a:pt x="77" y="411"/>
                  </a:moveTo>
                  <a:cubicBezTo>
                    <a:pt x="147" y="411"/>
                    <a:pt x="147" y="411"/>
                    <a:pt x="147" y="411"/>
                  </a:cubicBezTo>
                  <a:cubicBezTo>
                    <a:pt x="340" y="411"/>
                    <a:pt x="340" y="411"/>
                    <a:pt x="340" y="411"/>
                  </a:cubicBezTo>
                  <a:cubicBezTo>
                    <a:pt x="209" y="101"/>
                    <a:pt x="209" y="101"/>
                    <a:pt x="209" y="101"/>
                  </a:cubicBezTo>
                  <a:lnTo>
                    <a:pt x="77" y="411"/>
                  </a:lnTo>
                  <a:close/>
                </a:path>
              </a:pathLst>
            </a:custGeom>
            <a:solidFill>
              <a:srgbClr val="1993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 name="Freeform 7">
              <a:extLst>
                <a:ext uri="{FF2B5EF4-FFF2-40B4-BE49-F238E27FC236}">
                  <a16:creationId xmlns:a16="http://schemas.microsoft.com/office/drawing/2014/main" id="{222266F0-E8D8-FF32-3CA4-0572D40BD91B}"/>
                </a:ext>
              </a:extLst>
            </p:cNvPr>
            <p:cNvSpPr>
              <a:spLocks noEditPoints="1"/>
            </p:cNvSpPr>
            <p:nvPr userDrawn="1"/>
          </p:nvSpPr>
          <p:spPr bwMode="auto">
            <a:xfrm>
              <a:off x="2501" y="1189"/>
              <a:ext cx="1594" cy="1942"/>
            </a:xfrm>
            <a:custGeom>
              <a:avLst/>
              <a:gdLst>
                <a:gd name="T0" fmla="*/ 1483443497 w 674"/>
                <a:gd name="T1" fmla="*/ 1714655374 h 819"/>
                <a:gd name="T2" fmla="*/ 1526729097 w 674"/>
                <a:gd name="T3" fmla="*/ 1761916426 h 819"/>
                <a:gd name="T4" fmla="*/ 1526729097 w 674"/>
                <a:gd name="T5" fmla="*/ 1892482889 h 819"/>
                <a:gd name="T6" fmla="*/ 1483443497 w 674"/>
                <a:gd name="T7" fmla="*/ 1939529634 h 819"/>
                <a:gd name="T8" fmla="*/ 45037621 w 674"/>
                <a:gd name="T9" fmla="*/ 1939529634 h 819"/>
                <a:gd name="T10" fmla="*/ 2021131 w 674"/>
                <a:gd name="T11" fmla="*/ 1892482889 h 819"/>
                <a:gd name="T12" fmla="*/ 2021131 w 674"/>
                <a:gd name="T13" fmla="*/ 1747816468 h 819"/>
                <a:gd name="T14" fmla="*/ 4779945 w 674"/>
                <a:gd name="T15" fmla="*/ 1718918526 h 819"/>
                <a:gd name="T16" fmla="*/ 1173181872 w 674"/>
                <a:gd name="T17" fmla="*/ 224874255 h 819"/>
                <a:gd name="T18" fmla="*/ 67999529 w 674"/>
                <a:gd name="T19" fmla="*/ 224874255 h 819"/>
                <a:gd name="T20" fmla="*/ 23082570 w 674"/>
                <a:gd name="T21" fmla="*/ 177827380 h 819"/>
                <a:gd name="T22" fmla="*/ 23082570 w 674"/>
                <a:gd name="T23" fmla="*/ 39995312 h 819"/>
                <a:gd name="T24" fmla="*/ 67999529 w 674"/>
                <a:gd name="T25" fmla="*/ 0 h 819"/>
                <a:gd name="T26" fmla="*/ 1415437178 w 674"/>
                <a:gd name="T27" fmla="*/ 0 h 819"/>
                <a:gd name="T28" fmla="*/ 1460854109 w 674"/>
                <a:gd name="T29" fmla="*/ 45085377 h 819"/>
                <a:gd name="T30" fmla="*/ 1460854109 w 674"/>
                <a:gd name="T31" fmla="*/ 191701471 h 819"/>
                <a:gd name="T32" fmla="*/ 1458729657 w 674"/>
                <a:gd name="T33" fmla="*/ 205471911 h 819"/>
                <a:gd name="T34" fmla="*/ 1451728403 w 674"/>
                <a:gd name="T35" fmla="*/ 224874255 h 819"/>
                <a:gd name="T36" fmla="*/ 1453837196 w 674"/>
                <a:gd name="T37" fmla="*/ 220773085 h 819"/>
                <a:gd name="T38" fmla="*/ 298805398 w 674"/>
                <a:gd name="T39" fmla="*/ 1714655374 h 819"/>
                <a:gd name="T40" fmla="*/ 892477599 w 674"/>
                <a:gd name="T41" fmla="*/ 1714655374 h 819"/>
                <a:gd name="T42" fmla="*/ 1483443497 w 674"/>
                <a:gd name="T43" fmla="*/ 1714655374 h 819"/>
                <a:gd name="T44" fmla="*/ 901071203 w 674"/>
                <a:gd name="T45" fmla="*/ 1338067130 h 819"/>
                <a:gd name="T46" fmla="*/ 1485464242 w 674"/>
                <a:gd name="T47" fmla="*/ 1338067130 h 819"/>
                <a:gd name="T48" fmla="*/ 1526729097 w 674"/>
                <a:gd name="T49" fmla="*/ 1380181100 h 819"/>
                <a:gd name="T50" fmla="*/ 1526729097 w 674"/>
                <a:gd name="T51" fmla="*/ 1518014804 h 819"/>
                <a:gd name="T52" fmla="*/ 1485464242 w 674"/>
                <a:gd name="T53" fmla="*/ 1565124966 h 819"/>
                <a:gd name="T54" fmla="*/ 899479284 w 674"/>
                <a:gd name="T55" fmla="*/ 1565124966 h 819"/>
                <a:gd name="T56" fmla="*/ 858051680 w 674"/>
                <a:gd name="T57" fmla="*/ 1525126678 h 819"/>
                <a:gd name="T58" fmla="*/ 858051680 w 674"/>
                <a:gd name="T59" fmla="*/ 1385323779 h 819"/>
                <a:gd name="T60" fmla="*/ 872788267 w 674"/>
                <a:gd name="T61" fmla="*/ 1354121744 h 819"/>
                <a:gd name="T62" fmla="*/ 901071203 w 674"/>
                <a:gd name="T63" fmla="*/ 1338067130 h 81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74" h="819">
                  <a:moveTo>
                    <a:pt x="655" y="724"/>
                  </a:moveTo>
                  <a:cubicBezTo>
                    <a:pt x="654" y="724"/>
                    <a:pt x="674" y="721"/>
                    <a:pt x="674" y="744"/>
                  </a:cubicBezTo>
                  <a:cubicBezTo>
                    <a:pt x="674" y="799"/>
                    <a:pt x="674" y="799"/>
                    <a:pt x="674" y="799"/>
                  </a:cubicBezTo>
                  <a:cubicBezTo>
                    <a:pt x="674" y="809"/>
                    <a:pt x="666" y="819"/>
                    <a:pt x="655" y="819"/>
                  </a:cubicBezTo>
                  <a:cubicBezTo>
                    <a:pt x="20" y="819"/>
                    <a:pt x="20" y="819"/>
                    <a:pt x="20" y="819"/>
                  </a:cubicBezTo>
                  <a:cubicBezTo>
                    <a:pt x="10" y="819"/>
                    <a:pt x="0" y="811"/>
                    <a:pt x="1" y="799"/>
                  </a:cubicBezTo>
                  <a:cubicBezTo>
                    <a:pt x="1" y="738"/>
                    <a:pt x="1" y="738"/>
                    <a:pt x="1" y="738"/>
                  </a:cubicBezTo>
                  <a:cubicBezTo>
                    <a:pt x="0" y="735"/>
                    <a:pt x="2" y="730"/>
                    <a:pt x="2" y="726"/>
                  </a:cubicBezTo>
                  <a:cubicBezTo>
                    <a:pt x="518" y="95"/>
                    <a:pt x="518" y="95"/>
                    <a:pt x="518" y="95"/>
                  </a:cubicBezTo>
                  <a:cubicBezTo>
                    <a:pt x="30" y="95"/>
                    <a:pt x="30" y="95"/>
                    <a:pt x="30" y="95"/>
                  </a:cubicBezTo>
                  <a:cubicBezTo>
                    <a:pt x="15" y="95"/>
                    <a:pt x="10" y="88"/>
                    <a:pt x="10" y="75"/>
                  </a:cubicBezTo>
                  <a:cubicBezTo>
                    <a:pt x="10" y="17"/>
                    <a:pt x="10" y="17"/>
                    <a:pt x="10" y="17"/>
                  </a:cubicBezTo>
                  <a:cubicBezTo>
                    <a:pt x="10" y="5"/>
                    <a:pt x="15" y="0"/>
                    <a:pt x="30" y="0"/>
                  </a:cubicBezTo>
                  <a:cubicBezTo>
                    <a:pt x="625" y="0"/>
                    <a:pt x="625" y="0"/>
                    <a:pt x="625" y="0"/>
                  </a:cubicBezTo>
                  <a:cubicBezTo>
                    <a:pt x="637" y="0"/>
                    <a:pt x="645" y="6"/>
                    <a:pt x="645" y="19"/>
                  </a:cubicBezTo>
                  <a:cubicBezTo>
                    <a:pt x="645" y="81"/>
                    <a:pt x="645" y="81"/>
                    <a:pt x="645" y="81"/>
                  </a:cubicBezTo>
                  <a:cubicBezTo>
                    <a:pt x="645" y="82"/>
                    <a:pt x="645" y="85"/>
                    <a:pt x="644" y="87"/>
                  </a:cubicBezTo>
                  <a:cubicBezTo>
                    <a:pt x="641" y="95"/>
                    <a:pt x="641" y="95"/>
                    <a:pt x="641" y="95"/>
                  </a:cubicBezTo>
                  <a:cubicBezTo>
                    <a:pt x="642" y="93"/>
                    <a:pt x="642" y="93"/>
                    <a:pt x="642" y="93"/>
                  </a:cubicBezTo>
                  <a:cubicBezTo>
                    <a:pt x="132" y="724"/>
                    <a:pt x="132" y="724"/>
                    <a:pt x="132" y="724"/>
                  </a:cubicBezTo>
                  <a:cubicBezTo>
                    <a:pt x="394" y="724"/>
                    <a:pt x="394" y="724"/>
                    <a:pt x="394" y="724"/>
                  </a:cubicBezTo>
                  <a:lnTo>
                    <a:pt x="655" y="724"/>
                  </a:lnTo>
                  <a:close/>
                  <a:moveTo>
                    <a:pt x="398" y="565"/>
                  </a:moveTo>
                  <a:cubicBezTo>
                    <a:pt x="656" y="565"/>
                    <a:pt x="656" y="565"/>
                    <a:pt x="656" y="565"/>
                  </a:cubicBezTo>
                  <a:cubicBezTo>
                    <a:pt x="666" y="565"/>
                    <a:pt x="674" y="573"/>
                    <a:pt x="674" y="583"/>
                  </a:cubicBezTo>
                  <a:cubicBezTo>
                    <a:pt x="674" y="641"/>
                    <a:pt x="674" y="641"/>
                    <a:pt x="674" y="641"/>
                  </a:cubicBezTo>
                  <a:cubicBezTo>
                    <a:pt x="674" y="652"/>
                    <a:pt x="666" y="661"/>
                    <a:pt x="656" y="661"/>
                  </a:cubicBezTo>
                  <a:cubicBezTo>
                    <a:pt x="397" y="661"/>
                    <a:pt x="397" y="661"/>
                    <a:pt x="397" y="661"/>
                  </a:cubicBezTo>
                  <a:cubicBezTo>
                    <a:pt x="386" y="661"/>
                    <a:pt x="379" y="654"/>
                    <a:pt x="379" y="644"/>
                  </a:cubicBezTo>
                  <a:cubicBezTo>
                    <a:pt x="379" y="585"/>
                    <a:pt x="379" y="585"/>
                    <a:pt x="379" y="585"/>
                  </a:cubicBezTo>
                  <a:cubicBezTo>
                    <a:pt x="380" y="580"/>
                    <a:pt x="382" y="576"/>
                    <a:pt x="385" y="572"/>
                  </a:cubicBezTo>
                  <a:cubicBezTo>
                    <a:pt x="385" y="572"/>
                    <a:pt x="386" y="565"/>
                    <a:pt x="398" y="565"/>
                  </a:cubicBezTo>
                  <a:close/>
                </a:path>
              </a:pathLst>
            </a:custGeom>
            <a:solidFill>
              <a:srgbClr val="9EBE5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 name="Freeform 8">
              <a:extLst>
                <a:ext uri="{FF2B5EF4-FFF2-40B4-BE49-F238E27FC236}">
                  <a16:creationId xmlns:a16="http://schemas.microsoft.com/office/drawing/2014/main" id="{2C8B7E2A-44BC-296E-E0BF-FE41C932B010}"/>
                </a:ext>
              </a:extLst>
            </p:cNvPr>
            <p:cNvSpPr>
              <a:spLocks noEditPoints="1"/>
            </p:cNvSpPr>
            <p:nvPr userDrawn="1"/>
          </p:nvSpPr>
          <p:spPr bwMode="auto">
            <a:xfrm>
              <a:off x="4133" y="1189"/>
              <a:ext cx="986" cy="1105"/>
            </a:xfrm>
            <a:custGeom>
              <a:avLst/>
              <a:gdLst>
                <a:gd name="T0" fmla="*/ 26658435 w 417"/>
                <a:gd name="T1" fmla="*/ 1104057219 h 466"/>
                <a:gd name="T2" fmla="*/ 2016564 w 417"/>
                <a:gd name="T3" fmla="*/ 1084997487 h 466"/>
                <a:gd name="T4" fmla="*/ 2016564 w 417"/>
                <a:gd name="T5" fmla="*/ 1071148297 h 466"/>
                <a:gd name="T6" fmla="*/ 4768183 w 417"/>
                <a:gd name="T7" fmla="*/ 1065967725 h 466"/>
                <a:gd name="T8" fmla="*/ 440005146 w 417"/>
                <a:gd name="T9" fmla="*/ 19018883 h 466"/>
                <a:gd name="T10" fmla="*/ 471651445 w 417"/>
                <a:gd name="T11" fmla="*/ 0 h 466"/>
                <a:gd name="T12" fmla="*/ 476419656 w 417"/>
                <a:gd name="T13" fmla="*/ 0 h 466"/>
                <a:gd name="T14" fmla="*/ 505945896 w 417"/>
                <a:gd name="T15" fmla="*/ 21137875 h 466"/>
                <a:gd name="T16" fmla="*/ 612172944 w 417"/>
                <a:gd name="T17" fmla="*/ 284828039 h 466"/>
                <a:gd name="T18" fmla="*/ 833293680 w 417"/>
                <a:gd name="T19" fmla="*/ 805128453 h 466"/>
                <a:gd name="T20" fmla="*/ 939517011 w 417"/>
                <a:gd name="T21" fmla="*/ 1065967725 h 466"/>
                <a:gd name="T22" fmla="*/ 936767478 w 417"/>
                <a:gd name="T23" fmla="*/ 1065967725 h 466"/>
                <a:gd name="T24" fmla="*/ 941198430 w 417"/>
                <a:gd name="T25" fmla="*/ 1084997487 h 466"/>
                <a:gd name="T26" fmla="*/ 916425650 w 417"/>
                <a:gd name="T27" fmla="*/ 1104057219 h 466"/>
                <a:gd name="T28" fmla="*/ 26658435 w 417"/>
                <a:gd name="T29" fmla="*/ 1104057219 h 466"/>
                <a:gd name="T30" fmla="*/ 173692259 w 417"/>
                <a:gd name="T31" fmla="*/ 974102843 h 466"/>
                <a:gd name="T32" fmla="*/ 332252753 w 417"/>
                <a:gd name="T33" fmla="*/ 974102843 h 466"/>
                <a:gd name="T34" fmla="*/ 767506131 w 417"/>
                <a:gd name="T35" fmla="*/ 974102843 h 466"/>
                <a:gd name="T36" fmla="*/ 471651445 w 417"/>
                <a:gd name="T37" fmla="*/ 238808028 h 466"/>
                <a:gd name="T38" fmla="*/ 173692259 w 417"/>
                <a:gd name="T39" fmla="*/ 974102843 h 4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17" h="466">
                  <a:moveTo>
                    <a:pt x="12" y="466"/>
                  </a:moveTo>
                  <a:cubicBezTo>
                    <a:pt x="4" y="466"/>
                    <a:pt x="0" y="463"/>
                    <a:pt x="1" y="458"/>
                  </a:cubicBezTo>
                  <a:cubicBezTo>
                    <a:pt x="0" y="455"/>
                    <a:pt x="0" y="453"/>
                    <a:pt x="1" y="452"/>
                  </a:cubicBezTo>
                  <a:cubicBezTo>
                    <a:pt x="2" y="450"/>
                    <a:pt x="2" y="450"/>
                    <a:pt x="2" y="450"/>
                  </a:cubicBezTo>
                  <a:cubicBezTo>
                    <a:pt x="195" y="8"/>
                    <a:pt x="195" y="8"/>
                    <a:pt x="195" y="8"/>
                  </a:cubicBezTo>
                  <a:cubicBezTo>
                    <a:pt x="197" y="5"/>
                    <a:pt x="198" y="0"/>
                    <a:pt x="209" y="0"/>
                  </a:cubicBezTo>
                  <a:cubicBezTo>
                    <a:pt x="211" y="0"/>
                    <a:pt x="211" y="0"/>
                    <a:pt x="211" y="0"/>
                  </a:cubicBezTo>
                  <a:cubicBezTo>
                    <a:pt x="222" y="0"/>
                    <a:pt x="223" y="7"/>
                    <a:pt x="224" y="9"/>
                  </a:cubicBezTo>
                  <a:cubicBezTo>
                    <a:pt x="239" y="46"/>
                    <a:pt x="255" y="83"/>
                    <a:pt x="271" y="120"/>
                  </a:cubicBezTo>
                  <a:cubicBezTo>
                    <a:pt x="369" y="340"/>
                    <a:pt x="369" y="340"/>
                    <a:pt x="369" y="340"/>
                  </a:cubicBezTo>
                  <a:cubicBezTo>
                    <a:pt x="385" y="377"/>
                    <a:pt x="401" y="414"/>
                    <a:pt x="416" y="450"/>
                  </a:cubicBezTo>
                  <a:cubicBezTo>
                    <a:pt x="415" y="450"/>
                    <a:pt x="415" y="450"/>
                    <a:pt x="415" y="450"/>
                  </a:cubicBezTo>
                  <a:cubicBezTo>
                    <a:pt x="417" y="458"/>
                    <a:pt x="417" y="458"/>
                    <a:pt x="417" y="458"/>
                  </a:cubicBezTo>
                  <a:cubicBezTo>
                    <a:pt x="417" y="463"/>
                    <a:pt x="414" y="466"/>
                    <a:pt x="406" y="466"/>
                  </a:cubicBezTo>
                  <a:lnTo>
                    <a:pt x="12" y="466"/>
                  </a:lnTo>
                  <a:close/>
                  <a:moveTo>
                    <a:pt x="77" y="411"/>
                  </a:moveTo>
                  <a:cubicBezTo>
                    <a:pt x="147" y="411"/>
                    <a:pt x="147" y="411"/>
                    <a:pt x="147" y="411"/>
                  </a:cubicBezTo>
                  <a:cubicBezTo>
                    <a:pt x="340" y="411"/>
                    <a:pt x="340" y="411"/>
                    <a:pt x="340" y="411"/>
                  </a:cubicBezTo>
                  <a:cubicBezTo>
                    <a:pt x="209" y="101"/>
                    <a:pt x="209" y="101"/>
                    <a:pt x="209" y="101"/>
                  </a:cubicBezTo>
                  <a:lnTo>
                    <a:pt x="77" y="411"/>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 name="Freeform 9">
              <a:extLst>
                <a:ext uri="{FF2B5EF4-FFF2-40B4-BE49-F238E27FC236}">
                  <a16:creationId xmlns:a16="http://schemas.microsoft.com/office/drawing/2014/main" id="{ECFEEEFA-C2F8-A1DE-F0CB-E729F81903A0}"/>
                </a:ext>
              </a:extLst>
            </p:cNvPr>
            <p:cNvSpPr>
              <a:spLocks noEditPoints="1"/>
            </p:cNvSpPr>
            <p:nvPr userDrawn="1"/>
          </p:nvSpPr>
          <p:spPr bwMode="auto">
            <a:xfrm>
              <a:off x="5259" y="1187"/>
              <a:ext cx="941" cy="1107"/>
            </a:xfrm>
            <a:custGeom>
              <a:avLst/>
              <a:gdLst>
                <a:gd name="T0" fmla="*/ 897379222 w 398"/>
                <a:gd name="T1" fmla="*/ 30594420 h 467"/>
                <a:gd name="T2" fmla="*/ 890358234 w 398"/>
                <a:gd name="T3" fmla="*/ 1076168270 h 467"/>
                <a:gd name="T4" fmla="*/ 863748004 w 398"/>
                <a:gd name="T5" fmla="*/ 1100058818 h 467"/>
                <a:gd name="T6" fmla="*/ 771485685 w 398"/>
                <a:gd name="T7" fmla="*/ 1100058818 h 467"/>
                <a:gd name="T8" fmla="*/ 125893508 w 398"/>
                <a:gd name="T9" fmla="*/ 184128005 h 467"/>
                <a:gd name="T10" fmla="*/ 122136901 w 398"/>
                <a:gd name="T11" fmla="*/ 754173992 h 467"/>
                <a:gd name="T12" fmla="*/ 376580847 w 398"/>
                <a:gd name="T13" fmla="*/ 754173992 h 467"/>
                <a:gd name="T14" fmla="*/ 398430025 w 398"/>
                <a:gd name="T15" fmla="*/ 777275989 h 467"/>
                <a:gd name="T16" fmla="*/ 398430025 w 398"/>
                <a:gd name="T17" fmla="*/ 854743724 h 467"/>
                <a:gd name="T18" fmla="*/ 376580847 w 398"/>
                <a:gd name="T19" fmla="*/ 883384289 h 467"/>
                <a:gd name="T20" fmla="*/ 24536535 w 398"/>
                <a:gd name="T21" fmla="*/ 878310296 h 467"/>
                <a:gd name="T22" fmla="*/ 23013058 w 398"/>
                <a:gd name="T23" fmla="*/ 878310296 h 467"/>
                <a:gd name="T24" fmla="*/ 0 w 398"/>
                <a:gd name="T25" fmla="*/ 859366371 h 467"/>
                <a:gd name="T26" fmla="*/ 6865536 w 398"/>
                <a:gd name="T27" fmla="*/ 25974653 h 467"/>
                <a:gd name="T28" fmla="*/ 31374522 w 398"/>
                <a:gd name="T29" fmla="*/ 2072546 h 467"/>
                <a:gd name="T30" fmla="*/ 125893508 w 398"/>
                <a:gd name="T31" fmla="*/ 2072546 h 467"/>
                <a:gd name="T32" fmla="*/ 148746381 w 398"/>
                <a:gd name="T33" fmla="*/ 13823806 h 467"/>
                <a:gd name="T34" fmla="*/ 768580627 w 398"/>
                <a:gd name="T35" fmla="*/ 885333514 h 467"/>
                <a:gd name="T36" fmla="*/ 775022528 w 398"/>
                <a:gd name="T37" fmla="*/ 23886284 h 467"/>
                <a:gd name="T38" fmla="*/ 798083455 w 398"/>
                <a:gd name="T39" fmla="*/ 7074865 h 467"/>
                <a:gd name="T40" fmla="*/ 870741434 w 398"/>
                <a:gd name="T41" fmla="*/ 7074865 h 467"/>
                <a:gd name="T42" fmla="*/ 888769892 w 398"/>
                <a:gd name="T43" fmla="*/ 13823806 h 467"/>
                <a:gd name="T44" fmla="*/ 897379222 w 398"/>
                <a:gd name="T45" fmla="*/ 30594420 h 467"/>
                <a:gd name="T46" fmla="*/ 502483131 w 398"/>
                <a:gd name="T47" fmla="*/ 967923553 h 467"/>
                <a:gd name="T48" fmla="*/ 525479561 w 398"/>
                <a:gd name="T49" fmla="*/ 991784983 h 467"/>
                <a:gd name="T50" fmla="*/ 525479561 w 398"/>
                <a:gd name="T51" fmla="*/ 1069462303 h 467"/>
                <a:gd name="T52" fmla="*/ 502483131 w 398"/>
                <a:gd name="T53" fmla="*/ 1097986322 h 467"/>
                <a:gd name="T54" fmla="*/ 23013058 w 398"/>
                <a:gd name="T55" fmla="*/ 1097986322 h 467"/>
                <a:gd name="T56" fmla="*/ 0 w 398"/>
                <a:gd name="T57" fmla="*/ 1074095937 h 467"/>
                <a:gd name="T58" fmla="*/ 0 w 398"/>
                <a:gd name="T59" fmla="*/ 993579494 h 467"/>
                <a:gd name="T60" fmla="*/ 24536535 w 398"/>
                <a:gd name="T61" fmla="*/ 967923553 h 467"/>
                <a:gd name="T62" fmla="*/ 264174943 w 398"/>
                <a:gd name="T63" fmla="*/ 967923553 h 467"/>
                <a:gd name="T64" fmla="*/ 502483131 w 398"/>
                <a:gd name="T65" fmla="*/ 967923553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98" h="467">
                  <a:moveTo>
                    <a:pt x="398" y="13"/>
                  </a:moveTo>
                  <a:cubicBezTo>
                    <a:pt x="395" y="457"/>
                    <a:pt x="395" y="457"/>
                    <a:pt x="395" y="457"/>
                  </a:cubicBezTo>
                  <a:cubicBezTo>
                    <a:pt x="395" y="464"/>
                    <a:pt x="390" y="467"/>
                    <a:pt x="383" y="467"/>
                  </a:cubicBezTo>
                  <a:cubicBezTo>
                    <a:pt x="342" y="467"/>
                    <a:pt x="342" y="467"/>
                    <a:pt x="342" y="467"/>
                  </a:cubicBezTo>
                  <a:cubicBezTo>
                    <a:pt x="56" y="78"/>
                    <a:pt x="56" y="78"/>
                    <a:pt x="56" y="78"/>
                  </a:cubicBezTo>
                  <a:cubicBezTo>
                    <a:pt x="54" y="320"/>
                    <a:pt x="54" y="320"/>
                    <a:pt x="54" y="320"/>
                  </a:cubicBezTo>
                  <a:cubicBezTo>
                    <a:pt x="167" y="320"/>
                    <a:pt x="167" y="320"/>
                    <a:pt x="167" y="320"/>
                  </a:cubicBezTo>
                  <a:cubicBezTo>
                    <a:pt x="173" y="320"/>
                    <a:pt x="177" y="324"/>
                    <a:pt x="177" y="330"/>
                  </a:cubicBezTo>
                  <a:cubicBezTo>
                    <a:pt x="177" y="363"/>
                    <a:pt x="177" y="363"/>
                    <a:pt x="177" y="363"/>
                  </a:cubicBezTo>
                  <a:cubicBezTo>
                    <a:pt x="177" y="369"/>
                    <a:pt x="173" y="375"/>
                    <a:pt x="167" y="375"/>
                  </a:cubicBezTo>
                  <a:cubicBezTo>
                    <a:pt x="11" y="373"/>
                    <a:pt x="11" y="373"/>
                    <a:pt x="11" y="373"/>
                  </a:cubicBezTo>
                  <a:cubicBezTo>
                    <a:pt x="10" y="373"/>
                    <a:pt x="10" y="373"/>
                    <a:pt x="10" y="373"/>
                  </a:cubicBezTo>
                  <a:cubicBezTo>
                    <a:pt x="4" y="373"/>
                    <a:pt x="1" y="370"/>
                    <a:pt x="0" y="365"/>
                  </a:cubicBezTo>
                  <a:cubicBezTo>
                    <a:pt x="3" y="11"/>
                    <a:pt x="3" y="11"/>
                    <a:pt x="3" y="11"/>
                  </a:cubicBezTo>
                  <a:cubicBezTo>
                    <a:pt x="3" y="5"/>
                    <a:pt x="7" y="0"/>
                    <a:pt x="14" y="1"/>
                  </a:cubicBezTo>
                  <a:cubicBezTo>
                    <a:pt x="56" y="1"/>
                    <a:pt x="56" y="1"/>
                    <a:pt x="56" y="1"/>
                  </a:cubicBezTo>
                  <a:cubicBezTo>
                    <a:pt x="60" y="1"/>
                    <a:pt x="64" y="3"/>
                    <a:pt x="66" y="6"/>
                  </a:cubicBezTo>
                  <a:cubicBezTo>
                    <a:pt x="341" y="376"/>
                    <a:pt x="341" y="376"/>
                    <a:pt x="341" y="376"/>
                  </a:cubicBezTo>
                  <a:cubicBezTo>
                    <a:pt x="344" y="10"/>
                    <a:pt x="344" y="10"/>
                    <a:pt x="344" y="10"/>
                  </a:cubicBezTo>
                  <a:cubicBezTo>
                    <a:pt x="345" y="5"/>
                    <a:pt x="349" y="3"/>
                    <a:pt x="354" y="3"/>
                  </a:cubicBezTo>
                  <a:cubicBezTo>
                    <a:pt x="386" y="3"/>
                    <a:pt x="386" y="3"/>
                    <a:pt x="386" y="3"/>
                  </a:cubicBezTo>
                  <a:cubicBezTo>
                    <a:pt x="389" y="3"/>
                    <a:pt x="391" y="4"/>
                    <a:pt x="394" y="6"/>
                  </a:cubicBezTo>
                  <a:cubicBezTo>
                    <a:pt x="396" y="7"/>
                    <a:pt x="398" y="10"/>
                    <a:pt x="398" y="13"/>
                  </a:cubicBezTo>
                  <a:close/>
                  <a:moveTo>
                    <a:pt x="223" y="411"/>
                  </a:moveTo>
                  <a:cubicBezTo>
                    <a:pt x="229" y="411"/>
                    <a:pt x="233" y="415"/>
                    <a:pt x="233" y="421"/>
                  </a:cubicBezTo>
                  <a:cubicBezTo>
                    <a:pt x="233" y="454"/>
                    <a:pt x="233" y="454"/>
                    <a:pt x="233" y="454"/>
                  </a:cubicBezTo>
                  <a:cubicBezTo>
                    <a:pt x="233" y="460"/>
                    <a:pt x="230" y="466"/>
                    <a:pt x="223" y="466"/>
                  </a:cubicBezTo>
                  <a:cubicBezTo>
                    <a:pt x="10" y="466"/>
                    <a:pt x="10" y="466"/>
                    <a:pt x="10" y="466"/>
                  </a:cubicBezTo>
                  <a:cubicBezTo>
                    <a:pt x="4" y="466"/>
                    <a:pt x="0" y="462"/>
                    <a:pt x="0" y="456"/>
                  </a:cubicBezTo>
                  <a:cubicBezTo>
                    <a:pt x="0" y="422"/>
                    <a:pt x="0" y="422"/>
                    <a:pt x="0" y="422"/>
                  </a:cubicBezTo>
                  <a:cubicBezTo>
                    <a:pt x="0" y="416"/>
                    <a:pt x="4" y="411"/>
                    <a:pt x="11" y="411"/>
                  </a:cubicBezTo>
                  <a:cubicBezTo>
                    <a:pt x="117" y="411"/>
                    <a:pt x="117" y="411"/>
                    <a:pt x="117" y="411"/>
                  </a:cubicBezTo>
                  <a:lnTo>
                    <a:pt x="223" y="411"/>
                  </a:lnTo>
                  <a:close/>
                </a:path>
              </a:pathLst>
            </a:custGeom>
            <a:solidFill>
              <a:srgbClr val="C03B2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9" name="Freeform 10">
              <a:extLst>
                <a:ext uri="{FF2B5EF4-FFF2-40B4-BE49-F238E27FC236}">
                  <a16:creationId xmlns:a16="http://schemas.microsoft.com/office/drawing/2014/main" id="{5BB45757-59EF-CE3A-7BF5-EC9DBE51EDB8}"/>
                </a:ext>
              </a:extLst>
            </p:cNvPr>
            <p:cNvSpPr>
              <a:spLocks noEditPoints="1"/>
            </p:cNvSpPr>
            <p:nvPr userDrawn="1"/>
          </p:nvSpPr>
          <p:spPr bwMode="auto">
            <a:xfrm>
              <a:off x="6280" y="1189"/>
              <a:ext cx="1102" cy="1105"/>
            </a:xfrm>
            <a:custGeom>
              <a:avLst/>
              <a:gdLst>
                <a:gd name="T0" fmla="*/ 154128366 w 466"/>
                <a:gd name="T1" fmla="*/ 943010351 h 466"/>
                <a:gd name="T2" fmla="*/ 0 w 466"/>
                <a:gd name="T3" fmla="*/ 552442640 h 466"/>
                <a:gd name="T4" fmla="*/ 154128366 w 466"/>
                <a:gd name="T5" fmla="*/ 163833771 h 466"/>
                <a:gd name="T6" fmla="*/ 527029454 w 466"/>
                <a:gd name="T7" fmla="*/ 0 h 466"/>
                <a:gd name="T8" fmla="*/ 900145882 w 466"/>
                <a:gd name="T9" fmla="*/ 163833771 h 466"/>
                <a:gd name="T10" fmla="*/ 1054209675 w 466"/>
                <a:gd name="T11" fmla="*/ 552442640 h 466"/>
                <a:gd name="T12" fmla="*/ 900145882 w 466"/>
                <a:gd name="T13" fmla="*/ 943010351 h 466"/>
                <a:gd name="T14" fmla="*/ 527029454 w 466"/>
                <a:gd name="T15" fmla="*/ 1104057219 h 466"/>
                <a:gd name="T16" fmla="*/ 154128366 w 466"/>
                <a:gd name="T17" fmla="*/ 943010351 h 466"/>
                <a:gd name="T18" fmla="*/ 237118879 w 466"/>
                <a:gd name="T19" fmla="*/ 248554821 h 466"/>
                <a:gd name="T20" fmla="*/ 117706387 w 466"/>
                <a:gd name="T21" fmla="*/ 552442640 h 466"/>
                <a:gd name="T22" fmla="*/ 237118879 w 466"/>
                <a:gd name="T23" fmla="*/ 855407497 h 466"/>
                <a:gd name="T24" fmla="*/ 527029454 w 466"/>
                <a:gd name="T25" fmla="*/ 983016883 h 466"/>
                <a:gd name="T26" fmla="*/ 817155276 w 466"/>
                <a:gd name="T27" fmla="*/ 855407497 h 466"/>
                <a:gd name="T28" fmla="*/ 938406617 w 466"/>
                <a:gd name="T29" fmla="*/ 552442640 h 466"/>
                <a:gd name="T30" fmla="*/ 817155276 w 466"/>
                <a:gd name="T31" fmla="*/ 248554821 h 466"/>
                <a:gd name="T32" fmla="*/ 527029454 w 466"/>
                <a:gd name="T33" fmla="*/ 121039414 h 466"/>
                <a:gd name="T34" fmla="*/ 237118879 w 466"/>
                <a:gd name="T35" fmla="*/ 248554821 h 4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6" h="466">
                  <a:moveTo>
                    <a:pt x="68" y="398"/>
                  </a:moveTo>
                  <a:cubicBezTo>
                    <a:pt x="24" y="354"/>
                    <a:pt x="2" y="299"/>
                    <a:pt x="0" y="233"/>
                  </a:cubicBezTo>
                  <a:cubicBezTo>
                    <a:pt x="2" y="167"/>
                    <a:pt x="24" y="112"/>
                    <a:pt x="68" y="69"/>
                  </a:cubicBezTo>
                  <a:cubicBezTo>
                    <a:pt x="112" y="24"/>
                    <a:pt x="167" y="2"/>
                    <a:pt x="233" y="0"/>
                  </a:cubicBezTo>
                  <a:cubicBezTo>
                    <a:pt x="299" y="2"/>
                    <a:pt x="354" y="24"/>
                    <a:pt x="398" y="69"/>
                  </a:cubicBezTo>
                  <a:cubicBezTo>
                    <a:pt x="442" y="112"/>
                    <a:pt x="465" y="167"/>
                    <a:pt x="466" y="233"/>
                  </a:cubicBezTo>
                  <a:cubicBezTo>
                    <a:pt x="465" y="299"/>
                    <a:pt x="442" y="354"/>
                    <a:pt x="398" y="398"/>
                  </a:cubicBezTo>
                  <a:cubicBezTo>
                    <a:pt x="354" y="441"/>
                    <a:pt x="299" y="464"/>
                    <a:pt x="233" y="466"/>
                  </a:cubicBezTo>
                  <a:cubicBezTo>
                    <a:pt x="167" y="464"/>
                    <a:pt x="112" y="441"/>
                    <a:pt x="68" y="398"/>
                  </a:cubicBezTo>
                  <a:close/>
                  <a:moveTo>
                    <a:pt x="105" y="105"/>
                  </a:moveTo>
                  <a:cubicBezTo>
                    <a:pt x="70" y="139"/>
                    <a:pt x="53" y="181"/>
                    <a:pt x="52" y="233"/>
                  </a:cubicBezTo>
                  <a:cubicBezTo>
                    <a:pt x="53" y="284"/>
                    <a:pt x="70" y="327"/>
                    <a:pt x="105" y="361"/>
                  </a:cubicBezTo>
                  <a:cubicBezTo>
                    <a:pt x="139" y="395"/>
                    <a:pt x="181" y="413"/>
                    <a:pt x="233" y="415"/>
                  </a:cubicBezTo>
                  <a:cubicBezTo>
                    <a:pt x="284" y="413"/>
                    <a:pt x="327" y="395"/>
                    <a:pt x="361" y="361"/>
                  </a:cubicBezTo>
                  <a:cubicBezTo>
                    <a:pt x="395" y="327"/>
                    <a:pt x="413" y="284"/>
                    <a:pt x="415" y="233"/>
                  </a:cubicBezTo>
                  <a:cubicBezTo>
                    <a:pt x="413" y="181"/>
                    <a:pt x="395" y="139"/>
                    <a:pt x="361" y="105"/>
                  </a:cubicBezTo>
                  <a:cubicBezTo>
                    <a:pt x="327" y="71"/>
                    <a:pt x="284" y="53"/>
                    <a:pt x="233" y="51"/>
                  </a:cubicBezTo>
                  <a:cubicBezTo>
                    <a:pt x="181" y="53"/>
                    <a:pt x="139" y="71"/>
                    <a:pt x="105" y="105"/>
                  </a:cubicBezTo>
                  <a:close/>
                </a:path>
              </a:pathLst>
            </a:custGeom>
            <a:solidFill>
              <a:srgbClr val="64324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0" name="Freeform 11">
              <a:extLst>
                <a:ext uri="{FF2B5EF4-FFF2-40B4-BE49-F238E27FC236}">
                  <a16:creationId xmlns:a16="http://schemas.microsoft.com/office/drawing/2014/main" id="{890E3883-B68E-9A93-9E02-50896C01B667}"/>
                </a:ext>
              </a:extLst>
            </p:cNvPr>
            <p:cNvSpPr>
              <a:spLocks noEditPoints="1"/>
            </p:cNvSpPr>
            <p:nvPr userDrawn="1"/>
          </p:nvSpPr>
          <p:spPr bwMode="auto">
            <a:xfrm>
              <a:off x="4230" y="2552"/>
              <a:ext cx="334" cy="551"/>
            </a:xfrm>
            <a:custGeom>
              <a:avLst/>
              <a:gdLst>
                <a:gd name="T0" fmla="*/ 0 w 334"/>
                <a:gd name="T1" fmla="*/ 0 h 551"/>
                <a:gd name="T2" fmla="*/ 334 w 334"/>
                <a:gd name="T3" fmla="*/ 0 h 551"/>
                <a:gd name="T4" fmla="*/ 334 w 334"/>
                <a:gd name="T5" fmla="*/ 31 h 551"/>
                <a:gd name="T6" fmla="*/ 0 w 334"/>
                <a:gd name="T7" fmla="*/ 31 h 551"/>
                <a:gd name="T8" fmla="*/ 0 w 334"/>
                <a:gd name="T9" fmla="*/ 0 h 551"/>
                <a:gd name="T10" fmla="*/ 156 w 334"/>
                <a:gd name="T11" fmla="*/ 50 h 551"/>
                <a:gd name="T12" fmla="*/ 156 w 334"/>
                <a:gd name="T13" fmla="*/ 551 h 551"/>
                <a:gd name="T14" fmla="*/ 128 w 334"/>
                <a:gd name="T15" fmla="*/ 551 h 551"/>
                <a:gd name="T16" fmla="*/ 128 w 334"/>
                <a:gd name="T17" fmla="*/ 79 h 551"/>
                <a:gd name="T18" fmla="*/ 0 w 334"/>
                <a:gd name="T19" fmla="*/ 79 h 551"/>
                <a:gd name="T20" fmla="*/ 0 w 334"/>
                <a:gd name="T21" fmla="*/ 50 h 551"/>
                <a:gd name="T22" fmla="*/ 156 w 334"/>
                <a:gd name="T23" fmla="*/ 50 h 551"/>
                <a:gd name="T24" fmla="*/ 334 w 334"/>
                <a:gd name="T25" fmla="*/ 50 h 551"/>
                <a:gd name="T26" fmla="*/ 334 w 334"/>
                <a:gd name="T27" fmla="*/ 79 h 551"/>
                <a:gd name="T28" fmla="*/ 206 w 334"/>
                <a:gd name="T29" fmla="*/ 79 h 551"/>
                <a:gd name="T30" fmla="*/ 206 w 334"/>
                <a:gd name="T31" fmla="*/ 551 h 551"/>
                <a:gd name="T32" fmla="*/ 175 w 334"/>
                <a:gd name="T33" fmla="*/ 551 h 551"/>
                <a:gd name="T34" fmla="*/ 175 w 334"/>
                <a:gd name="T35" fmla="*/ 50 h 551"/>
                <a:gd name="T36" fmla="*/ 334 w 334"/>
                <a:gd name="T37" fmla="*/ 50 h 5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34" h="551">
                  <a:moveTo>
                    <a:pt x="0" y="0"/>
                  </a:moveTo>
                  <a:lnTo>
                    <a:pt x="334" y="0"/>
                  </a:lnTo>
                  <a:lnTo>
                    <a:pt x="334" y="31"/>
                  </a:lnTo>
                  <a:lnTo>
                    <a:pt x="0" y="31"/>
                  </a:lnTo>
                  <a:lnTo>
                    <a:pt x="0" y="0"/>
                  </a:lnTo>
                  <a:close/>
                  <a:moveTo>
                    <a:pt x="156" y="50"/>
                  </a:moveTo>
                  <a:lnTo>
                    <a:pt x="156" y="551"/>
                  </a:lnTo>
                  <a:lnTo>
                    <a:pt x="128" y="551"/>
                  </a:lnTo>
                  <a:lnTo>
                    <a:pt x="128" y="79"/>
                  </a:lnTo>
                  <a:lnTo>
                    <a:pt x="0" y="79"/>
                  </a:lnTo>
                  <a:lnTo>
                    <a:pt x="0" y="50"/>
                  </a:lnTo>
                  <a:lnTo>
                    <a:pt x="156" y="50"/>
                  </a:lnTo>
                  <a:close/>
                  <a:moveTo>
                    <a:pt x="334" y="50"/>
                  </a:moveTo>
                  <a:lnTo>
                    <a:pt x="334" y="79"/>
                  </a:lnTo>
                  <a:lnTo>
                    <a:pt x="206" y="79"/>
                  </a:lnTo>
                  <a:lnTo>
                    <a:pt x="206" y="551"/>
                  </a:lnTo>
                  <a:lnTo>
                    <a:pt x="175" y="551"/>
                  </a:lnTo>
                  <a:lnTo>
                    <a:pt x="175" y="50"/>
                  </a:lnTo>
                  <a:lnTo>
                    <a:pt x="334" y="50"/>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1" name="Freeform 12">
              <a:extLst>
                <a:ext uri="{FF2B5EF4-FFF2-40B4-BE49-F238E27FC236}">
                  <a16:creationId xmlns:a16="http://schemas.microsoft.com/office/drawing/2014/main" id="{552B3189-39F7-8E17-1BE2-E2E4E8ADB0A2}"/>
                </a:ext>
              </a:extLst>
            </p:cNvPr>
            <p:cNvSpPr>
              <a:spLocks noEditPoints="1"/>
            </p:cNvSpPr>
            <p:nvPr userDrawn="1"/>
          </p:nvSpPr>
          <p:spPr bwMode="auto">
            <a:xfrm>
              <a:off x="4599" y="2552"/>
              <a:ext cx="312" cy="551"/>
            </a:xfrm>
            <a:custGeom>
              <a:avLst/>
              <a:gdLst>
                <a:gd name="T0" fmla="*/ 295891719 w 132"/>
                <a:gd name="T1" fmla="*/ 0 h 232"/>
                <a:gd name="T2" fmla="*/ 295891719 w 132"/>
                <a:gd name="T3" fmla="*/ 31976658 h 232"/>
                <a:gd name="T4" fmla="*/ 111981461 w 132"/>
                <a:gd name="T5" fmla="*/ 31976658 h 232"/>
                <a:gd name="T6" fmla="*/ 51443210 w 132"/>
                <a:gd name="T7" fmla="*/ 58299493 h 232"/>
                <a:gd name="T8" fmla="*/ 26510905 w 132"/>
                <a:gd name="T9" fmla="*/ 122107630 h 232"/>
                <a:gd name="T10" fmla="*/ 26510905 w 132"/>
                <a:gd name="T11" fmla="*/ 442759715 h 232"/>
                <a:gd name="T12" fmla="*/ 51443210 w 132"/>
                <a:gd name="T13" fmla="*/ 508305993 h 232"/>
                <a:gd name="T14" fmla="*/ 111981461 w 132"/>
                <a:gd name="T15" fmla="*/ 535913430 h 232"/>
                <a:gd name="T16" fmla="*/ 295891719 w 132"/>
                <a:gd name="T17" fmla="*/ 535913430 h 232"/>
                <a:gd name="T18" fmla="*/ 295891719 w 132"/>
                <a:gd name="T19" fmla="*/ 564828430 h 232"/>
                <a:gd name="T20" fmla="*/ 111981461 w 132"/>
                <a:gd name="T21" fmla="*/ 564828430 h 232"/>
                <a:gd name="T22" fmla="*/ 33265636 w 132"/>
                <a:gd name="T23" fmla="*/ 527724589 h 232"/>
                <a:gd name="T24" fmla="*/ 0 w 132"/>
                <a:gd name="T25" fmla="*/ 442759715 h 232"/>
                <a:gd name="T26" fmla="*/ 0 w 132"/>
                <a:gd name="T27" fmla="*/ 122107630 h 232"/>
                <a:gd name="T28" fmla="*/ 33265636 w 132"/>
                <a:gd name="T29" fmla="*/ 37103839 h 232"/>
                <a:gd name="T30" fmla="*/ 111981461 w 132"/>
                <a:gd name="T31" fmla="*/ 0 h 232"/>
                <a:gd name="T32" fmla="*/ 295891719 w 132"/>
                <a:gd name="T33" fmla="*/ 0 h 232"/>
                <a:gd name="T34" fmla="*/ 47376772 w 132"/>
                <a:gd name="T35" fmla="*/ 122107630 h 232"/>
                <a:gd name="T36" fmla="*/ 65404189 w 132"/>
                <a:gd name="T37" fmla="*/ 70832843 h 232"/>
                <a:gd name="T38" fmla="*/ 111981461 w 132"/>
                <a:gd name="T39" fmla="*/ 51413739 h 232"/>
                <a:gd name="T40" fmla="*/ 295891719 w 132"/>
                <a:gd name="T41" fmla="*/ 51413739 h 232"/>
                <a:gd name="T42" fmla="*/ 295891719 w 132"/>
                <a:gd name="T43" fmla="*/ 79781492 h 232"/>
                <a:gd name="T44" fmla="*/ 111981461 w 132"/>
                <a:gd name="T45" fmla="*/ 79781492 h 232"/>
                <a:gd name="T46" fmla="*/ 85443339 w 132"/>
                <a:gd name="T47" fmla="*/ 92335711 h 232"/>
                <a:gd name="T48" fmla="*/ 73893437 w 132"/>
                <a:gd name="T49" fmla="*/ 122107630 h 232"/>
                <a:gd name="T50" fmla="*/ 73893437 w 132"/>
                <a:gd name="T51" fmla="*/ 202009418 h 232"/>
                <a:gd name="T52" fmla="*/ 295891719 w 132"/>
                <a:gd name="T53" fmla="*/ 202009418 h 232"/>
                <a:gd name="T54" fmla="*/ 295891719 w 132"/>
                <a:gd name="T55" fmla="*/ 233836064 h 232"/>
                <a:gd name="T56" fmla="*/ 47376772 w 132"/>
                <a:gd name="T57" fmla="*/ 233836064 h 232"/>
                <a:gd name="T58" fmla="*/ 47376772 w 132"/>
                <a:gd name="T59" fmla="*/ 122107630 h 232"/>
                <a:gd name="T60" fmla="*/ 47376772 w 132"/>
                <a:gd name="T61" fmla="*/ 253283286 h 232"/>
                <a:gd name="T62" fmla="*/ 295891719 w 132"/>
                <a:gd name="T63" fmla="*/ 253283286 h 232"/>
                <a:gd name="T64" fmla="*/ 295891719 w 132"/>
                <a:gd name="T65" fmla="*/ 283050061 h 232"/>
                <a:gd name="T66" fmla="*/ 73893437 w 132"/>
                <a:gd name="T67" fmla="*/ 283050061 h 232"/>
                <a:gd name="T68" fmla="*/ 73893437 w 132"/>
                <a:gd name="T69" fmla="*/ 442759715 h 232"/>
                <a:gd name="T70" fmla="*/ 85443339 w 132"/>
                <a:gd name="T71" fmla="*/ 472485538 h 232"/>
                <a:gd name="T72" fmla="*/ 111981461 w 132"/>
                <a:gd name="T73" fmla="*/ 484506888 h 232"/>
                <a:gd name="T74" fmla="*/ 295891719 w 132"/>
                <a:gd name="T75" fmla="*/ 484506888 h 232"/>
                <a:gd name="T76" fmla="*/ 295891719 w 132"/>
                <a:gd name="T77" fmla="*/ 513431020 h 232"/>
                <a:gd name="T78" fmla="*/ 111981461 w 132"/>
                <a:gd name="T79" fmla="*/ 513431020 h 232"/>
                <a:gd name="T80" fmla="*/ 65404189 w 132"/>
                <a:gd name="T81" fmla="*/ 494012295 h 232"/>
                <a:gd name="T82" fmla="*/ 47376772 w 132"/>
                <a:gd name="T83" fmla="*/ 442759715 h 232"/>
                <a:gd name="T84" fmla="*/ 47376772 w 132"/>
                <a:gd name="T85" fmla="*/ 253283286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132" y="0"/>
                  </a:moveTo>
                  <a:cubicBezTo>
                    <a:pt x="132" y="13"/>
                    <a:pt x="132" y="13"/>
                    <a:pt x="132" y="13"/>
                  </a:cubicBezTo>
                  <a:cubicBezTo>
                    <a:pt x="50" y="13"/>
                    <a:pt x="50" y="13"/>
                    <a:pt x="50" y="13"/>
                  </a:cubicBezTo>
                  <a:cubicBezTo>
                    <a:pt x="39" y="13"/>
                    <a:pt x="31" y="16"/>
                    <a:pt x="23" y="24"/>
                  </a:cubicBezTo>
                  <a:cubicBezTo>
                    <a:pt x="16" y="31"/>
                    <a:pt x="12" y="40"/>
                    <a:pt x="12" y="50"/>
                  </a:cubicBezTo>
                  <a:cubicBezTo>
                    <a:pt x="12" y="182"/>
                    <a:pt x="12" y="182"/>
                    <a:pt x="12" y="182"/>
                  </a:cubicBezTo>
                  <a:cubicBezTo>
                    <a:pt x="12" y="193"/>
                    <a:pt x="16" y="201"/>
                    <a:pt x="23" y="209"/>
                  </a:cubicBezTo>
                  <a:cubicBezTo>
                    <a:pt x="31" y="216"/>
                    <a:pt x="39" y="220"/>
                    <a:pt x="50" y="220"/>
                  </a:cubicBezTo>
                  <a:cubicBezTo>
                    <a:pt x="132" y="220"/>
                    <a:pt x="132" y="220"/>
                    <a:pt x="132" y="220"/>
                  </a:cubicBezTo>
                  <a:cubicBezTo>
                    <a:pt x="132" y="232"/>
                    <a:pt x="132" y="232"/>
                    <a:pt x="132" y="232"/>
                  </a:cubicBezTo>
                  <a:cubicBezTo>
                    <a:pt x="50" y="232"/>
                    <a:pt x="50" y="232"/>
                    <a:pt x="50" y="232"/>
                  </a:cubicBezTo>
                  <a:cubicBezTo>
                    <a:pt x="36" y="232"/>
                    <a:pt x="24" y="227"/>
                    <a:pt x="15" y="217"/>
                  </a:cubicBezTo>
                  <a:cubicBezTo>
                    <a:pt x="5" y="208"/>
                    <a:pt x="0" y="196"/>
                    <a:pt x="0" y="182"/>
                  </a:cubicBezTo>
                  <a:cubicBezTo>
                    <a:pt x="0" y="50"/>
                    <a:pt x="0" y="50"/>
                    <a:pt x="0" y="50"/>
                  </a:cubicBezTo>
                  <a:cubicBezTo>
                    <a:pt x="0" y="36"/>
                    <a:pt x="5" y="25"/>
                    <a:pt x="15" y="15"/>
                  </a:cubicBezTo>
                  <a:cubicBezTo>
                    <a:pt x="24" y="5"/>
                    <a:pt x="36" y="0"/>
                    <a:pt x="50" y="0"/>
                  </a:cubicBezTo>
                  <a:lnTo>
                    <a:pt x="132" y="0"/>
                  </a:lnTo>
                  <a:close/>
                  <a:moveTo>
                    <a:pt x="21" y="50"/>
                  </a:moveTo>
                  <a:cubicBezTo>
                    <a:pt x="21" y="42"/>
                    <a:pt x="24" y="35"/>
                    <a:pt x="29" y="29"/>
                  </a:cubicBezTo>
                  <a:cubicBezTo>
                    <a:pt x="35" y="24"/>
                    <a:pt x="42" y="21"/>
                    <a:pt x="50" y="21"/>
                  </a:cubicBezTo>
                  <a:cubicBezTo>
                    <a:pt x="132" y="21"/>
                    <a:pt x="132" y="21"/>
                    <a:pt x="132" y="21"/>
                  </a:cubicBezTo>
                  <a:cubicBezTo>
                    <a:pt x="132" y="33"/>
                    <a:pt x="132" y="33"/>
                    <a:pt x="132" y="33"/>
                  </a:cubicBezTo>
                  <a:cubicBezTo>
                    <a:pt x="50" y="33"/>
                    <a:pt x="50" y="33"/>
                    <a:pt x="50" y="33"/>
                  </a:cubicBezTo>
                  <a:cubicBezTo>
                    <a:pt x="45" y="33"/>
                    <a:pt x="41" y="35"/>
                    <a:pt x="38" y="38"/>
                  </a:cubicBezTo>
                  <a:cubicBezTo>
                    <a:pt x="35" y="42"/>
                    <a:pt x="33" y="45"/>
                    <a:pt x="33" y="50"/>
                  </a:cubicBezTo>
                  <a:cubicBezTo>
                    <a:pt x="33" y="83"/>
                    <a:pt x="33" y="83"/>
                    <a:pt x="33" y="83"/>
                  </a:cubicBezTo>
                  <a:cubicBezTo>
                    <a:pt x="132" y="83"/>
                    <a:pt x="132" y="83"/>
                    <a:pt x="132" y="83"/>
                  </a:cubicBezTo>
                  <a:cubicBezTo>
                    <a:pt x="132" y="96"/>
                    <a:pt x="132" y="96"/>
                    <a:pt x="132" y="96"/>
                  </a:cubicBezTo>
                  <a:cubicBezTo>
                    <a:pt x="21" y="96"/>
                    <a:pt x="21" y="96"/>
                    <a:pt x="21" y="96"/>
                  </a:cubicBezTo>
                  <a:lnTo>
                    <a:pt x="21" y="50"/>
                  </a:lnTo>
                  <a:close/>
                  <a:moveTo>
                    <a:pt x="21" y="104"/>
                  </a:moveTo>
                  <a:cubicBezTo>
                    <a:pt x="132" y="104"/>
                    <a:pt x="132" y="104"/>
                    <a:pt x="132" y="104"/>
                  </a:cubicBezTo>
                  <a:cubicBezTo>
                    <a:pt x="132" y="116"/>
                    <a:pt x="132" y="116"/>
                    <a:pt x="132" y="116"/>
                  </a:cubicBezTo>
                  <a:cubicBezTo>
                    <a:pt x="33" y="116"/>
                    <a:pt x="33" y="116"/>
                    <a:pt x="33" y="116"/>
                  </a:cubicBezTo>
                  <a:cubicBezTo>
                    <a:pt x="33" y="182"/>
                    <a:pt x="33" y="182"/>
                    <a:pt x="33" y="182"/>
                  </a:cubicBezTo>
                  <a:cubicBezTo>
                    <a:pt x="33" y="187"/>
                    <a:pt x="35" y="191"/>
                    <a:pt x="38" y="194"/>
                  </a:cubicBezTo>
                  <a:cubicBezTo>
                    <a:pt x="41" y="197"/>
                    <a:pt x="45" y="199"/>
                    <a:pt x="50" y="199"/>
                  </a:cubicBezTo>
                  <a:cubicBezTo>
                    <a:pt x="132" y="199"/>
                    <a:pt x="132" y="199"/>
                    <a:pt x="132" y="199"/>
                  </a:cubicBezTo>
                  <a:cubicBezTo>
                    <a:pt x="132" y="211"/>
                    <a:pt x="132" y="211"/>
                    <a:pt x="132" y="211"/>
                  </a:cubicBezTo>
                  <a:cubicBezTo>
                    <a:pt x="50" y="211"/>
                    <a:pt x="50" y="211"/>
                    <a:pt x="50" y="211"/>
                  </a:cubicBezTo>
                  <a:cubicBezTo>
                    <a:pt x="42" y="211"/>
                    <a:pt x="35" y="209"/>
                    <a:pt x="29" y="203"/>
                  </a:cubicBezTo>
                  <a:cubicBezTo>
                    <a:pt x="24" y="197"/>
                    <a:pt x="21" y="190"/>
                    <a:pt x="21" y="182"/>
                  </a:cubicBezTo>
                  <a:lnTo>
                    <a:pt x="21" y="104"/>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13">
              <a:extLst>
                <a:ext uri="{FF2B5EF4-FFF2-40B4-BE49-F238E27FC236}">
                  <a16:creationId xmlns:a16="http://schemas.microsoft.com/office/drawing/2014/main" id="{B287A890-86F9-06BA-4F07-70EE5CBB3C2E}"/>
                </a:ext>
              </a:extLst>
            </p:cNvPr>
            <p:cNvSpPr>
              <a:spLocks noEditPoints="1"/>
            </p:cNvSpPr>
            <p:nvPr userDrawn="1"/>
          </p:nvSpPr>
          <p:spPr bwMode="auto">
            <a:xfrm>
              <a:off x="4958" y="2552"/>
              <a:ext cx="391" cy="551"/>
            </a:xfrm>
            <a:custGeom>
              <a:avLst/>
              <a:gdLst>
                <a:gd name="T0" fmla="*/ 309548631 w 165"/>
                <a:gd name="T1" fmla="*/ 0 h 232"/>
                <a:gd name="T2" fmla="*/ 363029971 w 165"/>
                <a:gd name="T3" fmla="*/ 24547155 h 232"/>
                <a:gd name="T4" fmla="*/ 386832786 w 165"/>
                <a:gd name="T5" fmla="*/ 79781492 h 232"/>
                <a:gd name="T6" fmla="*/ 386832786 w 165"/>
                <a:gd name="T7" fmla="*/ 564828430 h 232"/>
                <a:gd name="T8" fmla="*/ 358797870 w 165"/>
                <a:gd name="T9" fmla="*/ 564828430 h 232"/>
                <a:gd name="T10" fmla="*/ 358797870 w 165"/>
                <a:gd name="T11" fmla="*/ 79781492 h 232"/>
                <a:gd name="T12" fmla="*/ 344252405 w 165"/>
                <a:gd name="T13" fmla="*/ 46120372 h 232"/>
                <a:gd name="T14" fmla="*/ 309548631 w 165"/>
                <a:gd name="T15" fmla="*/ 31976658 h 232"/>
                <a:gd name="T16" fmla="*/ 77129169 w 165"/>
                <a:gd name="T17" fmla="*/ 31976658 h 232"/>
                <a:gd name="T18" fmla="*/ 42581549 w 165"/>
                <a:gd name="T19" fmla="*/ 46120372 h 232"/>
                <a:gd name="T20" fmla="*/ 27493911 w 165"/>
                <a:gd name="T21" fmla="*/ 79781492 h 232"/>
                <a:gd name="T22" fmla="*/ 27493911 w 165"/>
                <a:gd name="T23" fmla="*/ 564828430 h 232"/>
                <a:gd name="T24" fmla="*/ 0 w 165"/>
                <a:gd name="T25" fmla="*/ 564828430 h 232"/>
                <a:gd name="T26" fmla="*/ 0 w 165"/>
                <a:gd name="T27" fmla="*/ 79781492 h 232"/>
                <a:gd name="T28" fmla="*/ 20815816 w 165"/>
                <a:gd name="T29" fmla="*/ 24547155 h 232"/>
                <a:gd name="T30" fmla="*/ 77129169 w 165"/>
                <a:gd name="T31" fmla="*/ 0 h 232"/>
                <a:gd name="T32" fmla="*/ 309548631 w 165"/>
                <a:gd name="T33" fmla="*/ 0 h 232"/>
                <a:gd name="T34" fmla="*/ 182772758 w 165"/>
                <a:gd name="T35" fmla="*/ 51413739 h 232"/>
                <a:gd name="T36" fmla="*/ 182772758 w 165"/>
                <a:gd name="T37" fmla="*/ 263208180 h 232"/>
                <a:gd name="T38" fmla="*/ 154391061 w 165"/>
                <a:gd name="T39" fmla="*/ 263208180 h 232"/>
                <a:gd name="T40" fmla="*/ 154391061 w 165"/>
                <a:gd name="T41" fmla="*/ 79781492 h 232"/>
                <a:gd name="T42" fmla="*/ 77129169 w 165"/>
                <a:gd name="T43" fmla="*/ 79781492 h 232"/>
                <a:gd name="T44" fmla="*/ 77129169 w 165"/>
                <a:gd name="T45" fmla="*/ 564828430 h 232"/>
                <a:gd name="T46" fmla="*/ 46283478 w 165"/>
                <a:gd name="T47" fmla="*/ 564828430 h 232"/>
                <a:gd name="T48" fmla="*/ 46283478 w 165"/>
                <a:gd name="T49" fmla="*/ 79781492 h 232"/>
                <a:gd name="T50" fmla="*/ 56311393 w 165"/>
                <a:gd name="T51" fmla="*/ 60526659 h 232"/>
                <a:gd name="T52" fmla="*/ 77129169 w 165"/>
                <a:gd name="T53" fmla="*/ 51413739 h 232"/>
                <a:gd name="T54" fmla="*/ 182772758 w 165"/>
                <a:gd name="T55" fmla="*/ 51413739 h 232"/>
                <a:gd name="T56" fmla="*/ 309548631 w 165"/>
                <a:gd name="T57" fmla="*/ 51413739 h 232"/>
                <a:gd name="T58" fmla="*/ 329989272 w 165"/>
                <a:gd name="T59" fmla="*/ 60526659 h 232"/>
                <a:gd name="T60" fmla="*/ 337199511 w 165"/>
                <a:gd name="T61" fmla="*/ 79781492 h 232"/>
                <a:gd name="T62" fmla="*/ 337199511 w 165"/>
                <a:gd name="T63" fmla="*/ 564828430 h 232"/>
                <a:gd name="T64" fmla="*/ 309548631 w 165"/>
                <a:gd name="T65" fmla="*/ 564828430 h 232"/>
                <a:gd name="T66" fmla="*/ 309548631 w 165"/>
                <a:gd name="T67" fmla="*/ 79781492 h 232"/>
                <a:gd name="T68" fmla="*/ 232402284 w 165"/>
                <a:gd name="T69" fmla="*/ 79781492 h 232"/>
                <a:gd name="T70" fmla="*/ 232402284 w 165"/>
                <a:gd name="T71" fmla="*/ 263208180 h 232"/>
                <a:gd name="T72" fmla="*/ 203534936 w 165"/>
                <a:gd name="T73" fmla="*/ 263208180 h 232"/>
                <a:gd name="T74" fmla="*/ 203534936 w 165"/>
                <a:gd name="T75" fmla="*/ 51413739 h 232"/>
                <a:gd name="T76" fmla="*/ 309548631 w 165"/>
                <a:gd name="T77" fmla="*/ 51413739 h 23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65" h="232">
                  <a:moveTo>
                    <a:pt x="132" y="0"/>
                  </a:moveTo>
                  <a:cubicBezTo>
                    <a:pt x="141" y="0"/>
                    <a:pt x="149" y="4"/>
                    <a:pt x="155" y="10"/>
                  </a:cubicBezTo>
                  <a:cubicBezTo>
                    <a:pt x="162" y="16"/>
                    <a:pt x="165" y="24"/>
                    <a:pt x="165" y="33"/>
                  </a:cubicBezTo>
                  <a:cubicBezTo>
                    <a:pt x="165" y="232"/>
                    <a:pt x="165" y="232"/>
                    <a:pt x="165" y="232"/>
                  </a:cubicBezTo>
                  <a:cubicBezTo>
                    <a:pt x="153" y="232"/>
                    <a:pt x="153" y="232"/>
                    <a:pt x="153" y="232"/>
                  </a:cubicBezTo>
                  <a:cubicBezTo>
                    <a:pt x="153" y="33"/>
                    <a:pt x="153" y="33"/>
                    <a:pt x="153" y="33"/>
                  </a:cubicBezTo>
                  <a:cubicBezTo>
                    <a:pt x="153" y="28"/>
                    <a:pt x="151" y="23"/>
                    <a:pt x="147" y="19"/>
                  </a:cubicBezTo>
                  <a:cubicBezTo>
                    <a:pt x="143" y="15"/>
                    <a:pt x="138" y="13"/>
                    <a:pt x="132" y="13"/>
                  </a:cubicBezTo>
                  <a:cubicBezTo>
                    <a:pt x="33" y="13"/>
                    <a:pt x="33" y="13"/>
                    <a:pt x="33" y="13"/>
                  </a:cubicBezTo>
                  <a:cubicBezTo>
                    <a:pt x="27" y="13"/>
                    <a:pt x="22" y="15"/>
                    <a:pt x="18" y="19"/>
                  </a:cubicBezTo>
                  <a:cubicBezTo>
                    <a:pt x="14" y="23"/>
                    <a:pt x="12" y="28"/>
                    <a:pt x="12" y="33"/>
                  </a:cubicBezTo>
                  <a:cubicBezTo>
                    <a:pt x="12" y="232"/>
                    <a:pt x="12" y="232"/>
                    <a:pt x="12" y="232"/>
                  </a:cubicBezTo>
                  <a:cubicBezTo>
                    <a:pt x="0" y="232"/>
                    <a:pt x="0" y="232"/>
                    <a:pt x="0" y="232"/>
                  </a:cubicBezTo>
                  <a:cubicBezTo>
                    <a:pt x="0" y="33"/>
                    <a:pt x="0" y="33"/>
                    <a:pt x="0" y="33"/>
                  </a:cubicBezTo>
                  <a:cubicBezTo>
                    <a:pt x="0" y="24"/>
                    <a:pt x="3" y="16"/>
                    <a:pt x="9" y="10"/>
                  </a:cubicBezTo>
                  <a:cubicBezTo>
                    <a:pt x="16" y="4"/>
                    <a:pt x="24" y="0"/>
                    <a:pt x="33" y="0"/>
                  </a:cubicBezTo>
                  <a:lnTo>
                    <a:pt x="132" y="0"/>
                  </a:lnTo>
                  <a:close/>
                  <a:moveTo>
                    <a:pt x="78" y="21"/>
                  </a:moveTo>
                  <a:cubicBezTo>
                    <a:pt x="78" y="108"/>
                    <a:pt x="78" y="108"/>
                    <a:pt x="78" y="108"/>
                  </a:cubicBezTo>
                  <a:cubicBezTo>
                    <a:pt x="66" y="108"/>
                    <a:pt x="66" y="108"/>
                    <a:pt x="66" y="108"/>
                  </a:cubicBezTo>
                  <a:cubicBezTo>
                    <a:pt x="66" y="33"/>
                    <a:pt x="66" y="33"/>
                    <a:pt x="66" y="33"/>
                  </a:cubicBezTo>
                  <a:cubicBezTo>
                    <a:pt x="33" y="33"/>
                    <a:pt x="33" y="33"/>
                    <a:pt x="33" y="33"/>
                  </a:cubicBezTo>
                  <a:cubicBezTo>
                    <a:pt x="33" y="232"/>
                    <a:pt x="33" y="232"/>
                    <a:pt x="33" y="232"/>
                  </a:cubicBezTo>
                  <a:cubicBezTo>
                    <a:pt x="20" y="232"/>
                    <a:pt x="20" y="232"/>
                    <a:pt x="20" y="232"/>
                  </a:cubicBezTo>
                  <a:cubicBezTo>
                    <a:pt x="20" y="33"/>
                    <a:pt x="20" y="33"/>
                    <a:pt x="20" y="33"/>
                  </a:cubicBezTo>
                  <a:cubicBezTo>
                    <a:pt x="20" y="30"/>
                    <a:pt x="21" y="27"/>
                    <a:pt x="24" y="25"/>
                  </a:cubicBezTo>
                  <a:cubicBezTo>
                    <a:pt x="26" y="22"/>
                    <a:pt x="29" y="21"/>
                    <a:pt x="33" y="21"/>
                  </a:cubicBezTo>
                  <a:lnTo>
                    <a:pt x="78" y="21"/>
                  </a:lnTo>
                  <a:close/>
                  <a:moveTo>
                    <a:pt x="132" y="21"/>
                  </a:moveTo>
                  <a:cubicBezTo>
                    <a:pt x="135" y="21"/>
                    <a:pt x="138" y="22"/>
                    <a:pt x="141" y="25"/>
                  </a:cubicBezTo>
                  <a:cubicBezTo>
                    <a:pt x="143" y="27"/>
                    <a:pt x="144" y="30"/>
                    <a:pt x="144" y="33"/>
                  </a:cubicBezTo>
                  <a:cubicBezTo>
                    <a:pt x="144" y="232"/>
                    <a:pt x="144" y="232"/>
                    <a:pt x="144" y="232"/>
                  </a:cubicBezTo>
                  <a:cubicBezTo>
                    <a:pt x="132" y="232"/>
                    <a:pt x="132" y="232"/>
                    <a:pt x="132" y="232"/>
                  </a:cubicBezTo>
                  <a:cubicBezTo>
                    <a:pt x="132" y="33"/>
                    <a:pt x="132" y="33"/>
                    <a:pt x="132" y="33"/>
                  </a:cubicBezTo>
                  <a:cubicBezTo>
                    <a:pt x="99" y="33"/>
                    <a:pt x="99" y="33"/>
                    <a:pt x="99" y="33"/>
                  </a:cubicBezTo>
                  <a:cubicBezTo>
                    <a:pt x="99" y="108"/>
                    <a:pt x="99" y="108"/>
                    <a:pt x="99" y="108"/>
                  </a:cubicBezTo>
                  <a:cubicBezTo>
                    <a:pt x="87" y="108"/>
                    <a:pt x="87" y="108"/>
                    <a:pt x="87" y="108"/>
                  </a:cubicBezTo>
                  <a:cubicBezTo>
                    <a:pt x="87" y="21"/>
                    <a:pt x="87" y="21"/>
                    <a:pt x="87" y="21"/>
                  </a:cubicBezTo>
                  <a:lnTo>
                    <a:pt x="132" y="21"/>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3" name="Freeform 14">
              <a:extLst>
                <a:ext uri="{FF2B5EF4-FFF2-40B4-BE49-F238E27FC236}">
                  <a16:creationId xmlns:a16="http://schemas.microsoft.com/office/drawing/2014/main" id="{3CD17C53-BDC4-0BB2-0C9C-38634B0EF7F1}"/>
                </a:ext>
              </a:extLst>
            </p:cNvPr>
            <p:cNvSpPr>
              <a:spLocks noEditPoints="1"/>
            </p:cNvSpPr>
            <p:nvPr userDrawn="1"/>
          </p:nvSpPr>
          <p:spPr bwMode="auto">
            <a:xfrm>
              <a:off x="5412" y="2552"/>
              <a:ext cx="313" cy="551"/>
            </a:xfrm>
            <a:custGeom>
              <a:avLst/>
              <a:gdLst>
                <a:gd name="T0" fmla="*/ 234667157 w 132"/>
                <a:gd name="T1" fmla="*/ 0 h 232"/>
                <a:gd name="T2" fmla="*/ 291517195 w 132"/>
                <a:gd name="T3" fmla="*/ 24547155 h 232"/>
                <a:gd name="T4" fmla="*/ 312488786 w 132"/>
                <a:gd name="T5" fmla="*/ 79781492 h 232"/>
                <a:gd name="T6" fmla="*/ 312488786 w 132"/>
                <a:gd name="T7" fmla="*/ 202009418 h 232"/>
                <a:gd name="T8" fmla="*/ 291517195 w 132"/>
                <a:gd name="T9" fmla="*/ 258572736 h 232"/>
                <a:gd name="T10" fmla="*/ 234667157 w 132"/>
                <a:gd name="T11" fmla="*/ 283050061 h 232"/>
                <a:gd name="T12" fmla="*/ 77977488 w 132"/>
                <a:gd name="T13" fmla="*/ 283050061 h 232"/>
                <a:gd name="T14" fmla="*/ 77977488 w 132"/>
                <a:gd name="T15" fmla="*/ 564828430 h 232"/>
                <a:gd name="T16" fmla="*/ 46760663 w 132"/>
                <a:gd name="T17" fmla="*/ 564828430 h 232"/>
                <a:gd name="T18" fmla="*/ 46760663 w 132"/>
                <a:gd name="T19" fmla="*/ 253283286 h 232"/>
                <a:gd name="T20" fmla="*/ 234667157 w 132"/>
                <a:gd name="T21" fmla="*/ 253283286 h 232"/>
                <a:gd name="T22" fmla="*/ 269717845 w 132"/>
                <a:gd name="T23" fmla="*/ 238499835 h 232"/>
                <a:gd name="T24" fmla="*/ 284788810 w 132"/>
                <a:gd name="T25" fmla="*/ 202009418 h 232"/>
                <a:gd name="T26" fmla="*/ 284788810 w 132"/>
                <a:gd name="T27" fmla="*/ 79781492 h 232"/>
                <a:gd name="T28" fmla="*/ 269717845 w 132"/>
                <a:gd name="T29" fmla="*/ 46120372 h 232"/>
                <a:gd name="T30" fmla="*/ 234667157 w 132"/>
                <a:gd name="T31" fmla="*/ 31976658 h 232"/>
                <a:gd name="T32" fmla="*/ 115836743 w 132"/>
                <a:gd name="T33" fmla="*/ 31976658 h 232"/>
                <a:gd name="T34" fmla="*/ 54699961 w 132"/>
                <a:gd name="T35" fmla="*/ 58299493 h 232"/>
                <a:gd name="T36" fmla="*/ 27860863 w 132"/>
                <a:gd name="T37" fmla="*/ 122107630 h 232"/>
                <a:gd name="T38" fmla="*/ 27860863 w 132"/>
                <a:gd name="T39" fmla="*/ 564828430 h 232"/>
                <a:gd name="T40" fmla="*/ 0 w 132"/>
                <a:gd name="T41" fmla="*/ 564828430 h 232"/>
                <a:gd name="T42" fmla="*/ 0 w 132"/>
                <a:gd name="T43" fmla="*/ 122107630 h 232"/>
                <a:gd name="T44" fmla="*/ 32885075 w 132"/>
                <a:gd name="T45" fmla="*/ 37103839 h 232"/>
                <a:gd name="T46" fmla="*/ 115836743 w 132"/>
                <a:gd name="T47" fmla="*/ 0 h 232"/>
                <a:gd name="T48" fmla="*/ 234667157 w 132"/>
                <a:gd name="T49" fmla="*/ 0 h 232"/>
                <a:gd name="T50" fmla="*/ 262918698 w 132"/>
                <a:gd name="T51" fmla="*/ 202009418 h 232"/>
                <a:gd name="T52" fmla="*/ 255645496 w 132"/>
                <a:gd name="T53" fmla="*/ 224358826 h 232"/>
                <a:gd name="T54" fmla="*/ 234667157 w 132"/>
                <a:gd name="T55" fmla="*/ 233836064 h 232"/>
                <a:gd name="T56" fmla="*/ 46760663 w 132"/>
                <a:gd name="T57" fmla="*/ 233836064 h 232"/>
                <a:gd name="T58" fmla="*/ 46760663 w 132"/>
                <a:gd name="T59" fmla="*/ 122107630 h 232"/>
                <a:gd name="T60" fmla="*/ 69064519 w 132"/>
                <a:gd name="T61" fmla="*/ 70832843 h 232"/>
                <a:gd name="T62" fmla="*/ 115836743 w 132"/>
                <a:gd name="T63" fmla="*/ 51413739 h 232"/>
                <a:gd name="T64" fmla="*/ 234667157 w 132"/>
                <a:gd name="T65" fmla="*/ 51413739 h 232"/>
                <a:gd name="T66" fmla="*/ 255645496 w 132"/>
                <a:gd name="T67" fmla="*/ 60526659 h 232"/>
                <a:gd name="T68" fmla="*/ 262918698 w 132"/>
                <a:gd name="T69" fmla="*/ 79781492 h 232"/>
                <a:gd name="T70" fmla="*/ 262918698 w 132"/>
                <a:gd name="T71" fmla="*/ 202009418 h 232"/>
                <a:gd name="T72" fmla="*/ 77977488 w 132"/>
                <a:gd name="T73" fmla="*/ 202009418 h 232"/>
                <a:gd name="T74" fmla="*/ 234667157 w 132"/>
                <a:gd name="T75" fmla="*/ 202009418 h 232"/>
                <a:gd name="T76" fmla="*/ 234667157 w 132"/>
                <a:gd name="T77" fmla="*/ 79781492 h 232"/>
                <a:gd name="T78" fmla="*/ 115836743 w 132"/>
                <a:gd name="T79" fmla="*/ 79781492 h 232"/>
                <a:gd name="T80" fmla="*/ 89678239 w 132"/>
                <a:gd name="T81" fmla="*/ 92335711 h 232"/>
                <a:gd name="T82" fmla="*/ 77977488 w 132"/>
                <a:gd name="T83" fmla="*/ 122107630 h 232"/>
                <a:gd name="T84" fmla="*/ 77977488 w 132"/>
                <a:gd name="T85" fmla="*/ 202009418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99" y="0"/>
                  </a:moveTo>
                  <a:cubicBezTo>
                    <a:pt x="108" y="0"/>
                    <a:pt x="116" y="4"/>
                    <a:pt x="123" y="10"/>
                  </a:cubicBezTo>
                  <a:cubicBezTo>
                    <a:pt x="129" y="16"/>
                    <a:pt x="132" y="24"/>
                    <a:pt x="132" y="33"/>
                  </a:cubicBezTo>
                  <a:cubicBezTo>
                    <a:pt x="132" y="83"/>
                    <a:pt x="132" y="83"/>
                    <a:pt x="132" y="83"/>
                  </a:cubicBezTo>
                  <a:cubicBezTo>
                    <a:pt x="132" y="92"/>
                    <a:pt x="129" y="100"/>
                    <a:pt x="123" y="106"/>
                  </a:cubicBezTo>
                  <a:cubicBezTo>
                    <a:pt x="116" y="113"/>
                    <a:pt x="108" y="116"/>
                    <a:pt x="99" y="116"/>
                  </a:cubicBezTo>
                  <a:cubicBezTo>
                    <a:pt x="33" y="116"/>
                    <a:pt x="33" y="116"/>
                    <a:pt x="33" y="116"/>
                  </a:cubicBezTo>
                  <a:cubicBezTo>
                    <a:pt x="33" y="232"/>
                    <a:pt x="33" y="232"/>
                    <a:pt x="33" y="232"/>
                  </a:cubicBezTo>
                  <a:cubicBezTo>
                    <a:pt x="20" y="232"/>
                    <a:pt x="20" y="232"/>
                    <a:pt x="20" y="232"/>
                  </a:cubicBezTo>
                  <a:cubicBezTo>
                    <a:pt x="20" y="104"/>
                    <a:pt x="20" y="104"/>
                    <a:pt x="20" y="104"/>
                  </a:cubicBezTo>
                  <a:cubicBezTo>
                    <a:pt x="99" y="104"/>
                    <a:pt x="99" y="104"/>
                    <a:pt x="99" y="104"/>
                  </a:cubicBezTo>
                  <a:cubicBezTo>
                    <a:pt x="105" y="104"/>
                    <a:pt x="110" y="102"/>
                    <a:pt x="114" y="98"/>
                  </a:cubicBezTo>
                  <a:cubicBezTo>
                    <a:pt x="118" y="94"/>
                    <a:pt x="120" y="89"/>
                    <a:pt x="120" y="83"/>
                  </a:cubicBezTo>
                  <a:cubicBezTo>
                    <a:pt x="120" y="33"/>
                    <a:pt x="120" y="33"/>
                    <a:pt x="120" y="33"/>
                  </a:cubicBezTo>
                  <a:cubicBezTo>
                    <a:pt x="120" y="28"/>
                    <a:pt x="118" y="23"/>
                    <a:pt x="114" y="19"/>
                  </a:cubicBezTo>
                  <a:cubicBezTo>
                    <a:pt x="110" y="15"/>
                    <a:pt x="105" y="13"/>
                    <a:pt x="99" y="13"/>
                  </a:cubicBezTo>
                  <a:cubicBezTo>
                    <a:pt x="49" y="13"/>
                    <a:pt x="49" y="13"/>
                    <a:pt x="49" y="13"/>
                  </a:cubicBezTo>
                  <a:cubicBezTo>
                    <a:pt x="39" y="13"/>
                    <a:pt x="30" y="16"/>
                    <a:pt x="23" y="24"/>
                  </a:cubicBezTo>
                  <a:cubicBezTo>
                    <a:pt x="16" y="31"/>
                    <a:pt x="12" y="40"/>
                    <a:pt x="12" y="50"/>
                  </a:cubicBezTo>
                  <a:cubicBezTo>
                    <a:pt x="12" y="232"/>
                    <a:pt x="12" y="232"/>
                    <a:pt x="12" y="232"/>
                  </a:cubicBezTo>
                  <a:cubicBezTo>
                    <a:pt x="0" y="232"/>
                    <a:pt x="0" y="232"/>
                    <a:pt x="0" y="232"/>
                  </a:cubicBezTo>
                  <a:cubicBezTo>
                    <a:pt x="0" y="50"/>
                    <a:pt x="0" y="50"/>
                    <a:pt x="0" y="50"/>
                  </a:cubicBezTo>
                  <a:cubicBezTo>
                    <a:pt x="0" y="36"/>
                    <a:pt x="5" y="25"/>
                    <a:pt x="14" y="15"/>
                  </a:cubicBezTo>
                  <a:cubicBezTo>
                    <a:pt x="24" y="5"/>
                    <a:pt x="36" y="0"/>
                    <a:pt x="49" y="0"/>
                  </a:cubicBezTo>
                  <a:lnTo>
                    <a:pt x="99" y="0"/>
                  </a:lnTo>
                  <a:close/>
                  <a:moveTo>
                    <a:pt x="111" y="83"/>
                  </a:moveTo>
                  <a:cubicBezTo>
                    <a:pt x="111" y="87"/>
                    <a:pt x="110" y="89"/>
                    <a:pt x="108" y="92"/>
                  </a:cubicBezTo>
                  <a:cubicBezTo>
                    <a:pt x="105" y="94"/>
                    <a:pt x="102" y="96"/>
                    <a:pt x="99" y="96"/>
                  </a:cubicBezTo>
                  <a:cubicBezTo>
                    <a:pt x="20" y="96"/>
                    <a:pt x="20" y="96"/>
                    <a:pt x="20" y="96"/>
                  </a:cubicBezTo>
                  <a:cubicBezTo>
                    <a:pt x="20" y="50"/>
                    <a:pt x="20" y="50"/>
                    <a:pt x="20" y="50"/>
                  </a:cubicBezTo>
                  <a:cubicBezTo>
                    <a:pt x="20" y="42"/>
                    <a:pt x="23" y="35"/>
                    <a:pt x="29" y="29"/>
                  </a:cubicBezTo>
                  <a:cubicBezTo>
                    <a:pt x="35" y="24"/>
                    <a:pt x="41" y="21"/>
                    <a:pt x="49" y="21"/>
                  </a:cubicBezTo>
                  <a:cubicBezTo>
                    <a:pt x="99" y="21"/>
                    <a:pt x="99" y="21"/>
                    <a:pt x="99" y="21"/>
                  </a:cubicBezTo>
                  <a:cubicBezTo>
                    <a:pt x="102" y="21"/>
                    <a:pt x="105" y="22"/>
                    <a:pt x="108" y="25"/>
                  </a:cubicBezTo>
                  <a:cubicBezTo>
                    <a:pt x="110" y="27"/>
                    <a:pt x="111" y="30"/>
                    <a:pt x="111" y="33"/>
                  </a:cubicBezTo>
                  <a:lnTo>
                    <a:pt x="111" y="83"/>
                  </a:lnTo>
                  <a:close/>
                  <a:moveTo>
                    <a:pt x="33" y="83"/>
                  </a:moveTo>
                  <a:cubicBezTo>
                    <a:pt x="99" y="83"/>
                    <a:pt x="99" y="83"/>
                    <a:pt x="99" y="83"/>
                  </a:cubicBezTo>
                  <a:cubicBezTo>
                    <a:pt x="99" y="33"/>
                    <a:pt x="99" y="33"/>
                    <a:pt x="99" y="33"/>
                  </a:cubicBezTo>
                  <a:cubicBezTo>
                    <a:pt x="49" y="33"/>
                    <a:pt x="49" y="33"/>
                    <a:pt x="49" y="33"/>
                  </a:cubicBezTo>
                  <a:cubicBezTo>
                    <a:pt x="45" y="33"/>
                    <a:pt x="41" y="35"/>
                    <a:pt x="38" y="38"/>
                  </a:cubicBezTo>
                  <a:cubicBezTo>
                    <a:pt x="34" y="42"/>
                    <a:pt x="33" y="45"/>
                    <a:pt x="33" y="50"/>
                  </a:cubicBezTo>
                  <a:lnTo>
                    <a:pt x="33" y="83"/>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5">
              <a:extLst>
                <a:ext uri="{FF2B5EF4-FFF2-40B4-BE49-F238E27FC236}">
                  <a16:creationId xmlns:a16="http://schemas.microsoft.com/office/drawing/2014/main" id="{D3C82388-6200-F3D3-FB95-B82CEE714FF8}"/>
                </a:ext>
              </a:extLst>
            </p:cNvPr>
            <p:cNvSpPr>
              <a:spLocks noEditPoints="1"/>
            </p:cNvSpPr>
            <p:nvPr userDrawn="1"/>
          </p:nvSpPr>
          <p:spPr bwMode="auto">
            <a:xfrm>
              <a:off x="5774" y="2552"/>
              <a:ext cx="312" cy="551"/>
            </a:xfrm>
            <a:custGeom>
              <a:avLst/>
              <a:gdLst>
                <a:gd name="T0" fmla="*/ 26510905 w 132"/>
                <a:gd name="T1" fmla="*/ 442759715 h 232"/>
                <a:gd name="T2" fmla="*/ 51443210 w 132"/>
                <a:gd name="T3" fmla="*/ 508305993 h 232"/>
                <a:gd name="T4" fmla="*/ 110103249 w 132"/>
                <a:gd name="T5" fmla="*/ 535913430 h 232"/>
                <a:gd name="T6" fmla="*/ 295891719 w 132"/>
                <a:gd name="T7" fmla="*/ 535913430 h 232"/>
                <a:gd name="T8" fmla="*/ 295891719 w 132"/>
                <a:gd name="T9" fmla="*/ 564828430 h 232"/>
                <a:gd name="T10" fmla="*/ 110103249 w 132"/>
                <a:gd name="T11" fmla="*/ 564828430 h 232"/>
                <a:gd name="T12" fmla="*/ 31262608 w 132"/>
                <a:gd name="T13" fmla="*/ 527724589 h 232"/>
                <a:gd name="T14" fmla="*/ 0 w 132"/>
                <a:gd name="T15" fmla="*/ 442759715 h 232"/>
                <a:gd name="T16" fmla="*/ 0 w 132"/>
                <a:gd name="T17" fmla="*/ 0 h 232"/>
                <a:gd name="T18" fmla="*/ 26510905 w 132"/>
                <a:gd name="T19" fmla="*/ 0 h 232"/>
                <a:gd name="T20" fmla="*/ 26510905 w 132"/>
                <a:gd name="T21" fmla="*/ 442759715 h 232"/>
                <a:gd name="T22" fmla="*/ 295891719 w 132"/>
                <a:gd name="T23" fmla="*/ 484506888 h 232"/>
                <a:gd name="T24" fmla="*/ 295891719 w 132"/>
                <a:gd name="T25" fmla="*/ 513431020 h 232"/>
                <a:gd name="T26" fmla="*/ 110103249 w 132"/>
                <a:gd name="T27" fmla="*/ 513431020 h 232"/>
                <a:gd name="T28" fmla="*/ 65404189 w 132"/>
                <a:gd name="T29" fmla="*/ 494012295 h 232"/>
                <a:gd name="T30" fmla="*/ 44482705 w 132"/>
                <a:gd name="T31" fmla="*/ 442759715 h 232"/>
                <a:gd name="T32" fmla="*/ 44482705 w 132"/>
                <a:gd name="T33" fmla="*/ 0 h 232"/>
                <a:gd name="T34" fmla="*/ 73893437 w 132"/>
                <a:gd name="T35" fmla="*/ 0 h 232"/>
                <a:gd name="T36" fmla="*/ 73893437 w 132"/>
                <a:gd name="T37" fmla="*/ 442759715 h 232"/>
                <a:gd name="T38" fmla="*/ 85443339 w 132"/>
                <a:gd name="T39" fmla="*/ 472485538 h 232"/>
                <a:gd name="T40" fmla="*/ 110103249 w 132"/>
                <a:gd name="T41" fmla="*/ 484506888 h 232"/>
                <a:gd name="T42" fmla="*/ 295891719 w 132"/>
                <a:gd name="T43" fmla="*/ 484506888 h 2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2" h="232">
                  <a:moveTo>
                    <a:pt x="12" y="182"/>
                  </a:moveTo>
                  <a:cubicBezTo>
                    <a:pt x="12" y="193"/>
                    <a:pt x="16" y="201"/>
                    <a:pt x="23" y="209"/>
                  </a:cubicBezTo>
                  <a:cubicBezTo>
                    <a:pt x="30" y="216"/>
                    <a:pt x="39" y="220"/>
                    <a:pt x="49" y="220"/>
                  </a:cubicBezTo>
                  <a:cubicBezTo>
                    <a:pt x="132" y="220"/>
                    <a:pt x="132" y="220"/>
                    <a:pt x="132" y="220"/>
                  </a:cubicBezTo>
                  <a:cubicBezTo>
                    <a:pt x="132" y="232"/>
                    <a:pt x="132" y="232"/>
                    <a:pt x="132" y="232"/>
                  </a:cubicBezTo>
                  <a:cubicBezTo>
                    <a:pt x="49" y="232"/>
                    <a:pt x="49" y="232"/>
                    <a:pt x="49" y="232"/>
                  </a:cubicBezTo>
                  <a:cubicBezTo>
                    <a:pt x="36" y="232"/>
                    <a:pt x="24" y="227"/>
                    <a:pt x="14" y="217"/>
                  </a:cubicBezTo>
                  <a:cubicBezTo>
                    <a:pt x="4" y="208"/>
                    <a:pt x="0" y="196"/>
                    <a:pt x="0" y="182"/>
                  </a:cubicBezTo>
                  <a:cubicBezTo>
                    <a:pt x="0" y="0"/>
                    <a:pt x="0" y="0"/>
                    <a:pt x="0" y="0"/>
                  </a:cubicBezTo>
                  <a:cubicBezTo>
                    <a:pt x="12" y="0"/>
                    <a:pt x="12" y="0"/>
                    <a:pt x="12" y="0"/>
                  </a:cubicBezTo>
                  <a:lnTo>
                    <a:pt x="12" y="182"/>
                  </a:lnTo>
                  <a:close/>
                  <a:moveTo>
                    <a:pt x="132" y="199"/>
                  </a:moveTo>
                  <a:cubicBezTo>
                    <a:pt x="132" y="211"/>
                    <a:pt x="132" y="211"/>
                    <a:pt x="132" y="211"/>
                  </a:cubicBezTo>
                  <a:cubicBezTo>
                    <a:pt x="49" y="211"/>
                    <a:pt x="49" y="211"/>
                    <a:pt x="49" y="211"/>
                  </a:cubicBezTo>
                  <a:cubicBezTo>
                    <a:pt x="41" y="211"/>
                    <a:pt x="34" y="209"/>
                    <a:pt x="29" y="203"/>
                  </a:cubicBezTo>
                  <a:cubicBezTo>
                    <a:pt x="23" y="197"/>
                    <a:pt x="20" y="190"/>
                    <a:pt x="20" y="182"/>
                  </a:cubicBezTo>
                  <a:cubicBezTo>
                    <a:pt x="20" y="0"/>
                    <a:pt x="20" y="0"/>
                    <a:pt x="20" y="0"/>
                  </a:cubicBezTo>
                  <a:cubicBezTo>
                    <a:pt x="33" y="0"/>
                    <a:pt x="33" y="0"/>
                    <a:pt x="33" y="0"/>
                  </a:cubicBezTo>
                  <a:cubicBezTo>
                    <a:pt x="33" y="182"/>
                    <a:pt x="33" y="182"/>
                    <a:pt x="33" y="182"/>
                  </a:cubicBezTo>
                  <a:cubicBezTo>
                    <a:pt x="33" y="187"/>
                    <a:pt x="34" y="191"/>
                    <a:pt x="38" y="194"/>
                  </a:cubicBezTo>
                  <a:cubicBezTo>
                    <a:pt x="41" y="197"/>
                    <a:pt x="45" y="199"/>
                    <a:pt x="49" y="199"/>
                  </a:cubicBezTo>
                  <a:lnTo>
                    <a:pt x="132" y="199"/>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5" name="Freeform 16">
              <a:extLst>
                <a:ext uri="{FF2B5EF4-FFF2-40B4-BE49-F238E27FC236}">
                  <a16:creationId xmlns:a16="http://schemas.microsoft.com/office/drawing/2014/main" id="{4BCD6F1A-4B4D-BD75-906D-D72250BFBBD5}"/>
                </a:ext>
              </a:extLst>
            </p:cNvPr>
            <p:cNvSpPr>
              <a:spLocks noEditPoints="1"/>
            </p:cNvSpPr>
            <p:nvPr userDrawn="1"/>
          </p:nvSpPr>
          <p:spPr bwMode="auto">
            <a:xfrm>
              <a:off x="6120" y="2552"/>
              <a:ext cx="331" cy="551"/>
            </a:xfrm>
            <a:custGeom>
              <a:avLst/>
              <a:gdLst>
                <a:gd name="T0" fmla="*/ 315628455 w 140"/>
                <a:gd name="T1" fmla="*/ 0 h 232"/>
                <a:gd name="T2" fmla="*/ 315628455 w 140"/>
                <a:gd name="T3" fmla="*/ 564828430 h 232"/>
                <a:gd name="T4" fmla="*/ 288722604 w 140"/>
                <a:gd name="T5" fmla="*/ 564828430 h 232"/>
                <a:gd name="T6" fmla="*/ 288722604 w 140"/>
                <a:gd name="T7" fmla="*/ 31976658 h 232"/>
                <a:gd name="T8" fmla="*/ 110489077 w 140"/>
                <a:gd name="T9" fmla="*/ 31976658 h 232"/>
                <a:gd name="T10" fmla="*/ 51651254 w 140"/>
                <a:gd name="T11" fmla="*/ 58299493 h 232"/>
                <a:gd name="T12" fmla="*/ 26606139 w 140"/>
                <a:gd name="T13" fmla="*/ 122107630 h 232"/>
                <a:gd name="T14" fmla="*/ 26606139 w 140"/>
                <a:gd name="T15" fmla="*/ 564828430 h 232"/>
                <a:gd name="T16" fmla="*/ 0 w 140"/>
                <a:gd name="T17" fmla="*/ 564828430 h 232"/>
                <a:gd name="T18" fmla="*/ 0 w 140"/>
                <a:gd name="T19" fmla="*/ 122107630 h 232"/>
                <a:gd name="T20" fmla="*/ 31354195 w 140"/>
                <a:gd name="T21" fmla="*/ 37103839 h 232"/>
                <a:gd name="T22" fmla="*/ 110489077 w 140"/>
                <a:gd name="T23" fmla="*/ 0 h 232"/>
                <a:gd name="T24" fmla="*/ 315628455 w 140"/>
                <a:gd name="T25" fmla="*/ 0 h 232"/>
                <a:gd name="T26" fmla="*/ 44631525 w 140"/>
                <a:gd name="T27" fmla="*/ 122107630 h 232"/>
                <a:gd name="T28" fmla="*/ 65649001 w 140"/>
                <a:gd name="T29" fmla="*/ 70832843 h 232"/>
                <a:gd name="T30" fmla="*/ 110489077 w 140"/>
                <a:gd name="T31" fmla="*/ 51413739 h 232"/>
                <a:gd name="T32" fmla="*/ 270477527 w 140"/>
                <a:gd name="T33" fmla="*/ 51413739 h 232"/>
                <a:gd name="T34" fmla="*/ 270477527 w 140"/>
                <a:gd name="T35" fmla="*/ 233836064 h 232"/>
                <a:gd name="T36" fmla="*/ 44631525 w 140"/>
                <a:gd name="T37" fmla="*/ 233836064 h 232"/>
                <a:gd name="T38" fmla="*/ 44631525 w 140"/>
                <a:gd name="T39" fmla="*/ 122107630 h 232"/>
                <a:gd name="T40" fmla="*/ 270477527 w 140"/>
                <a:gd name="T41" fmla="*/ 253283286 h 232"/>
                <a:gd name="T42" fmla="*/ 270477527 w 140"/>
                <a:gd name="T43" fmla="*/ 564828430 h 232"/>
                <a:gd name="T44" fmla="*/ 241121972 w 140"/>
                <a:gd name="T45" fmla="*/ 564828430 h 232"/>
                <a:gd name="T46" fmla="*/ 241121972 w 140"/>
                <a:gd name="T47" fmla="*/ 283050061 h 232"/>
                <a:gd name="T48" fmla="*/ 74130275 w 140"/>
                <a:gd name="T49" fmla="*/ 283050061 h 232"/>
                <a:gd name="T50" fmla="*/ 74130275 w 140"/>
                <a:gd name="T51" fmla="*/ 564828430 h 232"/>
                <a:gd name="T52" fmla="*/ 44631525 w 140"/>
                <a:gd name="T53" fmla="*/ 564828430 h 232"/>
                <a:gd name="T54" fmla="*/ 44631525 w 140"/>
                <a:gd name="T55" fmla="*/ 253283286 h 232"/>
                <a:gd name="T56" fmla="*/ 270477527 w 140"/>
                <a:gd name="T57" fmla="*/ 253283286 h 232"/>
                <a:gd name="T58" fmla="*/ 241121972 w 140"/>
                <a:gd name="T59" fmla="*/ 79781492 h 232"/>
                <a:gd name="T60" fmla="*/ 110489077 w 140"/>
                <a:gd name="T61" fmla="*/ 79781492 h 232"/>
                <a:gd name="T62" fmla="*/ 85974132 w 140"/>
                <a:gd name="T63" fmla="*/ 92335711 h 232"/>
                <a:gd name="T64" fmla="*/ 74130275 w 140"/>
                <a:gd name="T65" fmla="*/ 122107630 h 232"/>
                <a:gd name="T66" fmla="*/ 74130275 w 140"/>
                <a:gd name="T67" fmla="*/ 202009418 h 232"/>
                <a:gd name="T68" fmla="*/ 241121972 w 140"/>
                <a:gd name="T69" fmla="*/ 202009418 h 232"/>
                <a:gd name="T70" fmla="*/ 241121972 w 140"/>
                <a:gd name="T71" fmla="*/ 79781492 h 23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40" h="232">
                  <a:moveTo>
                    <a:pt x="140" y="0"/>
                  </a:moveTo>
                  <a:cubicBezTo>
                    <a:pt x="140" y="232"/>
                    <a:pt x="140" y="232"/>
                    <a:pt x="140" y="232"/>
                  </a:cubicBezTo>
                  <a:cubicBezTo>
                    <a:pt x="128" y="232"/>
                    <a:pt x="128" y="232"/>
                    <a:pt x="128" y="232"/>
                  </a:cubicBezTo>
                  <a:cubicBezTo>
                    <a:pt x="128" y="13"/>
                    <a:pt x="128" y="13"/>
                    <a:pt x="128" y="13"/>
                  </a:cubicBezTo>
                  <a:cubicBezTo>
                    <a:pt x="49" y="13"/>
                    <a:pt x="49" y="13"/>
                    <a:pt x="49" y="13"/>
                  </a:cubicBezTo>
                  <a:cubicBezTo>
                    <a:pt x="39" y="13"/>
                    <a:pt x="30" y="16"/>
                    <a:pt x="23" y="24"/>
                  </a:cubicBezTo>
                  <a:cubicBezTo>
                    <a:pt x="16" y="31"/>
                    <a:pt x="12" y="40"/>
                    <a:pt x="12" y="50"/>
                  </a:cubicBezTo>
                  <a:cubicBezTo>
                    <a:pt x="12" y="232"/>
                    <a:pt x="12" y="232"/>
                    <a:pt x="12" y="232"/>
                  </a:cubicBezTo>
                  <a:cubicBezTo>
                    <a:pt x="0" y="232"/>
                    <a:pt x="0" y="232"/>
                    <a:pt x="0" y="232"/>
                  </a:cubicBezTo>
                  <a:cubicBezTo>
                    <a:pt x="0" y="50"/>
                    <a:pt x="0" y="50"/>
                    <a:pt x="0" y="50"/>
                  </a:cubicBezTo>
                  <a:cubicBezTo>
                    <a:pt x="0" y="36"/>
                    <a:pt x="5" y="25"/>
                    <a:pt x="14" y="15"/>
                  </a:cubicBezTo>
                  <a:cubicBezTo>
                    <a:pt x="24" y="5"/>
                    <a:pt x="36" y="0"/>
                    <a:pt x="49" y="0"/>
                  </a:cubicBezTo>
                  <a:lnTo>
                    <a:pt x="140" y="0"/>
                  </a:lnTo>
                  <a:close/>
                  <a:moveTo>
                    <a:pt x="20" y="50"/>
                  </a:moveTo>
                  <a:cubicBezTo>
                    <a:pt x="20" y="42"/>
                    <a:pt x="23" y="35"/>
                    <a:pt x="29" y="29"/>
                  </a:cubicBezTo>
                  <a:cubicBezTo>
                    <a:pt x="35" y="24"/>
                    <a:pt x="41" y="21"/>
                    <a:pt x="49" y="21"/>
                  </a:cubicBezTo>
                  <a:cubicBezTo>
                    <a:pt x="120" y="21"/>
                    <a:pt x="120" y="21"/>
                    <a:pt x="120" y="21"/>
                  </a:cubicBezTo>
                  <a:cubicBezTo>
                    <a:pt x="120" y="96"/>
                    <a:pt x="120" y="96"/>
                    <a:pt x="120" y="96"/>
                  </a:cubicBezTo>
                  <a:cubicBezTo>
                    <a:pt x="20" y="96"/>
                    <a:pt x="20" y="96"/>
                    <a:pt x="20" y="96"/>
                  </a:cubicBezTo>
                  <a:lnTo>
                    <a:pt x="20" y="50"/>
                  </a:lnTo>
                  <a:close/>
                  <a:moveTo>
                    <a:pt x="120" y="104"/>
                  </a:moveTo>
                  <a:cubicBezTo>
                    <a:pt x="120" y="232"/>
                    <a:pt x="120" y="232"/>
                    <a:pt x="120" y="232"/>
                  </a:cubicBezTo>
                  <a:cubicBezTo>
                    <a:pt x="107" y="232"/>
                    <a:pt x="107" y="232"/>
                    <a:pt x="107" y="232"/>
                  </a:cubicBezTo>
                  <a:cubicBezTo>
                    <a:pt x="107" y="116"/>
                    <a:pt x="107" y="116"/>
                    <a:pt x="107" y="116"/>
                  </a:cubicBezTo>
                  <a:cubicBezTo>
                    <a:pt x="33" y="116"/>
                    <a:pt x="33" y="116"/>
                    <a:pt x="33" y="116"/>
                  </a:cubicBezTo>
                  <a:cubicBezTo>
                    <a:pt x="33" y="232"/>
                    <a:pt x="33" y="232"/>
                    <a:pt x="33" y="232"/>
                  </a:cubicBezTo>
                  <a:cubicBezTo>
                    <a:pt x="20" y="232"/>
                    <a:pt x="20" y="232"/>
                    <a:pt x="20" y="232"/>
                  </a:cubicBezTo>
                  <a:cubicBezTo>
                    <a:pt x="20" y="104"/>
                    <a:pt x="20" y="104"/>
                    <a:pt x="20" y="104"/>
                  </a:cubicBezTo>
                  <a:lnTo>
                    <a:pt x="120" y="104"/>
                  </a:lnTo>
                  <a:close/>
                  <a:moveTo>
                    <a:pt x="107" y="33"/>
                  </a:moveTo>
                  <a:cubicBezTo>
                    <a:pt x="49" y="33"/>
                    <a:pt x="49" y="33"/>
                    <a:pt x="49" y="33"/>
                  </a:cubicBezTo>
                  <a:cubicBezTo>
                    <a:pt x="45" y="33"/>
                    <a:pt x="41" y="35"/>
                    <a:pt x="38" y="38"/>
                  </a:cubicBezTo>
                  <a:cubicBezTo>
                    <a:pt x="34" y="42"/>
                    <a:pt x="33" y="45"/>
                    <a:pt x="33" y="50"/>
                  </a:cubicBezTo>
                  <a:cubicBezTo>
                    <a:pt x="33" y="83"/>
                    <a:pt x="33" y="83"/>
                    <a:pt x="33" y="83"/>
                  </a:cubicBezTo>
                  <a:cubicBezTo>
                    <a:pt x="107" y="83"/>
                    <a:pt x="107" y="83"/>
                    <a:pt x="107" y="83"/>
                  </a:cubicBezTo>
                  <a:lnTo>
                    <a:pt x="107" y="33"/>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6" name="Freeform 17">
              <a:extLst>
                <a:ext uri="{FF2B5EF4-FFF2-40B4-BE49-F238E27FC236}">
                  <a16:creationId xmlns:a16="http://schemas.microsoft.com/office/drawing/2014/main" id="{F63B0573-6FB1-683B-BCA1-BE72EED7C59F}"/>
                </a:ext>
              </a:extLst>
            </p:cNvPr>
            <p:cNvSpPr>
              <a:spLocks noEditPoints="1"/>
            </p:cNvSpPr>
            <p:nvPr userDrawn="1"/>
          </p:nvSpPr>
          <p:spPr bwMode="auto">
            <a:xfrm>
              <a:off x="6517" y="2552"/>
              <a:ext cx="331" cy="551"/>
            </a:xfrm>
            <a:custGeom>
              <a:avLst/>
              <a:gdLst>
                <a:gd name="T0" fmla="*/ 0 w 331"/>
                <a:gd name="T1" fmla="*/ 0 h 551"/>
                <a:gd name="T2" fmla="*/ 331 w 331"/>
                <a:gd name="T3" fmla="*/ 0 h 551"/>
                <a:gd name="T4" fmla="*/ 331 w 331"/>
                <a:gd name="T5" fmla="*/ 31 h 551"/>
                <a:gd name="T6" fmla="*/ 0 w 331"/>
                <a:gd name="T7" fmla="*/ 31 h 551"/>
                <a:gd name="T8" fmla="*/ 0 w 331"/>
                <a:gd name="T9" fmla="*/ 0 h 551"/>
                <a:gd name="T10" fmla="*/ 156 w 331"/>
                <a:gd name="T11" fmla="*/ 50 h 551"/>
                <a:gd name="T12" fmla="*/ 156 w 331"/>
                <a:gd name="T13" fmla="*/ 551 h 551"/>
                <a:gd name="T14" fmla="*/ 128 w 331"/>
                <a:gd name="T15" fmla="*/ 551 h 551"/>
                <a:gd name="T16" fmla="*/ 128 w 331"/>
                <a:gd name="T17" fmla="*/ 79 h 551"/>
                <a:gd name="T18" fmla="*/ 0 w 331"/>
                <a:gd name="T19" fmla="*/ 79 h 551"/>
                <a:gd name="T20" fmla="*/ 0 w 331"/>
                <a:gd name="T21" fmla="*/ 50 h 551"/>
                <a:gd name="T22" fmla="*/ 156 w 331"/>
                <a:gd name="T23" fmla="*/ 50 h 551"/>
                <a:gd name="T24" fmla="*/ 331 w 331"/>
                <a:gd name="T25" fmla="*/ 50 h 551"/>
                <a:gd name="T26" fmla="*/ 331 w 331"/>
                <a:gd name="T27" fmla="*/ 79 h 551"/>
                <a:gd name="T28" fmla="*/ 206 w 331"/>
                <a:gd name="T29" fmla="*/ 79 h 551"/>
                <a:gd name="T30" fmla="*/ 206 w 331"/>
                <a:gd name="T31" fmla="*/ 551 h 551"/>
                <a:gd name="T32" fmla="*/ 175 w 331"/>
                <a:gd name="T33" fmla="*/ 551 h 551"/>
                <a:gd name="T34" fmla="*/ 175 w 331"/>
                <a:gd name="T35" fmla="*/ 50 h 551"/>
                <a:gd name="T36" fmla="*/ 331 w 331"/>
                <a:gd name="T37" fmla="*/ 50 h 5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31" h="551">
                  <a:moveTo>
                    <a:pt x="0" y="0"/>
                  </a:moveTo>
                  <a:lnTo>
                    <a:pt x="331" y="0"/>
                  </a:lnTo>
                  <a:lnTo>
                    <a:pt x="331" y="31"/>
                  </a:lnTo>
                  <a:lnTo>
                    <a:pt x="0" y="31"/>
                  </a:lnTo>
                  <a:lnTo>
                    <a:pt x="0" y="0"/>
                  </a:lnTo>
                  <a:close/>
                  <a:moveTo>
                    <a:pt x="156" y="50"/>
                  </a:moveTo>
                  <a:lnTo>
                    <a:pt x="156" y="551"/>
                  </a:lnTo>
                  <a:lnTo>
                    <a:pt x="128" y="551"/>
                  </a:lnTo>
                  <a:lnTo>
                    <a:pt x="128" y="79"/>
                  </a:lnTo>
                  <a:lnTo>
                    <a:pt x="0" y="79"/>
                  </a:lnTo>
                  <a:lnTo>
                    <a:pt x="0" y="50"/>
                  </a:lnTo>
                  <a:lnTo>
                    <a:pt x="156" y="50"/>
                  </a:lnTo>
                  <a:close/>
                  <a:moveTo>
                    <a:pt x="331" y="50"/>
                  </a:moveTo>
                  <a:lnTo>
                    <a:pt x="331" y="79"/>
                  </a:lnTo>
                  <a:lnTo>
                    <a:pt x="206" y="79"/>
                  </a:lnTo>
                  <a:lnTo>
                    <a:pt x="206" y="551"/>
                  </a:lnTo>
                  <a:lnTo>
                    <a:pt x="175" y="551"/>
                  </a:lnTo>
                  <a:lnTo>
                    <a:pt x="175" y="50"/>
                  </a:lnTo>
                  <a:lnTo>
                    <a:pt x="331" y="50"/>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 name="Freeform 18">
              <a:extLst>
                <a:ext uri="{FF2B5EF4-FFF2-40B4-BE49-F238E27FC236}">
                  <a16:creationId xmlns:a16="http://schemas.microsoft.com/office/drawing/2014/main" id="{09BBE7D9-3CBC-3D14-6897-1040B86F4771}"/>
                </a:ext>
              </a:extLst>
            </p:cNvPr>
            <p:cNvSpPr>
              <a:spLocks noEditPoints="1"/>
            </p:cNvSpPr>
            <p:nvPr userDrawn="1"/>
          </p:nvSpPr>
          <p:spPr bwMode="auto">
            <a:xfrm>
              <a:off x="6886" y="2552"/>
              <a:ext cx="312" cy="551"/>
            </a:xfrm>
            <a:custGeom>
              <a:avLst/>
              <a:gdLst>
                <a:gd name="T0" fmla="*/ 295891719 w 132"/>
                <a:gd name="T1" fmla="*/ 0 h 232"/>
                <a:gd name="T2" fmla="*/ 295891719 w 132"/>
                <a:gd name="T3" fmla="*/ 31976658 h 232"/>
                <a:gd name="T4" fmla="*/ 110103249 w 132"/>
                <a:gd name="T5" fmla="*/ 31976658 h 232"/>
                <a:gd name="T6" fmla="*/ 51443210 w 132"/>
                <a:gd name="T7" fmla="*/ 58299493 h 232"/>
                <a:gd name="T8" fmla="*/ 26510905 w 132"/>
                <a:gd name="T9" fmla="*/ 122107630 h 232"/>
                <a:gd name="T10" fmla="*/ 26510905 w 132"/>
                <a:gd name="T11" fmla="*/ 442759715 h 232"/>
                <a:gd name="T12" fmla="*/ 51443210 w 132"/>
                <a:gd name="T13" fmla="*/ 508305993 h 232"/>
                <a:gd name="T14" fmla="*/ 110103249 w 132"/>
                <a:gd name="T15" fmla="*/ 535913430 h 232"/>
                <a:gd name="T16" fmla="*/ 295891719 w 132"/>
                <a:gd name="T17" fmla="*/ 535913430 h 232"/>
                <a:gd name="T18" fmla="*/ 295891719 w 132"/>
                <a:gd name="T19" fmla="*/ 564828430 h 232"/>
                <a:gd name="T20" fmla="*/ 110103249 w 132"/>
                <a:gd name="T21" fmla="*/ 564828430 h 232"/>
                <a:gd name="T22" fmla="*/ 31262608 w 132"/>
                <a:gd name="T23" fmla="*/ 527724589 h 232"/>
                <a:gd name="T24" fmla="*/ 0 w 132"/>
                <a:gd name="T25" fmla="*/ 442759715 h 232"/>
                <a:gd name="T26" fmla="*/ 0 w 132"/>
                <a:gd name="T27" fmla="*/ 122107630 h 232"/>
                <a:gd name="T28" fmla="*/ 31262608 w 132"/>
                <a:gd name="T29" fmla="*/ 37103839 h 232"/>
                <a:gd name="T30" fmla="*/ 110103249 w 132"/>
                <a:gd name="T31" fmla="*/ 0 h 232"/>
                <a:gd name="T32" fmla="*/ 295891719 w 132"/>
                <a:gd name="T33" fmla="*/ 0 h 232"/>
                <a:gd name="T34" fmla="*/ 44482705 w 132"/>
                <a:gd name="T35" fmla="*/ 122107630 h 232"/>
                <a:gd name="T36" fmla="*/ 65404189 w 132"/>
                <a:gd name="T37" fmla="*/ 70832843 h 232"/>
                <a:gd name="T38" fmla="*/ 111981461 w 132"/>
                <a:gd name="T39" fmla="*/ 51413739 h 232"/>
                <a:gd name="T40" fmla="*/ 295891719 w 132"/>
                <a:gd name="T41" fmla="*/ 51413739 h 232"/>
                <a:gd name="T42" fmla="*/ 295891719 w 132"/>
                <a:gd name="T43" fmla="*/ 79781492 h 232"/>
                <a:gd name="T44" fmla="*/ 111981461 w 132"/>
                <a:gd name="T45" fmla="*/ 79781492 h 232"/>
                <a:gd name="T46" fmla="*/ 85443339 w 132"/>
                <a:gd name="T47" fmla="*/ 92335711 h 232"/>
                <a:gd name="T48" fmla="*/ 73893437 w 132"/>
                <a:gd name="T49" fmla="*/ 122107630 h 232"/>
                <a:gd name="T50" fmla="*/ 73893437 w 132"/>
                <a:gd name="T51" fmla="*/ 202009418 h 232"/>
                <a:gd name="T52" fmla="*/ 295891719 w 132"/>
                <a:gd name="T53" fmla="*/ 202009418 h 232"/>
                <a:gd name="T54" fmla="*/ 295891719 w 132"/>
                <a:gd name="T55" fmla="*/ 233836064 h 232"/>
                <a:gd name="T56" fmla="*/ 44482705 w 132"/>
                <a:gd name="T57" fmla="*/ 233836064 h 232"/>
                <a:gd name="T58" fmla="*/ 44482705 w 132"/>
                <a:gd name="T59" fmla="*/ 122107630 h 232"/>
                <a:gd name="T60" fmla="*/ 44482705 w 132"/>
                <a:gd name="T61" fmla="*/ 253283286 h 232"/>
                <a:gd name="T62" fmla="*/ 295891719 w 132"/>
                <a:gd name="T63" fmla="*/ 253283286 h 232"/>
                <a:gd name="T64" fmla="*/ 295891719 w 132"/>
                <a:gd name="T65" fmla="*/ 283050061 h 232"/>
                <a:gd name="T66" fmla="*/ 73893437 w 132"/>
                <a:gd name="T67" fmla="*/ 283050061 h 232"/>
                <a:gd name="T68" fmla="*/ 73893437 w 132"/>
                <a:gd name="T69" fmla="*/ 442759715 h 232"/>
                <a:gd name="T70" fmla="*/ 85443339 w 132"/>
                <a:gd name="T71" fmla="*/ 472485538 h 232"/>
                <a:gd name="T72" fmla="*/ 111981461 w 132"/>
                <a:gd name="T73" fmla="*/ 484506888 h 232"/>
                <a:gd name="T74" fmla="*/ 295891719 w 132"/>
                <a:gd name="T75" fmla="*/ 484506888 h 232"/>
                <a:gd name="T76" fmla="*/ 295891719 w 132"/>
                <a:gd name="T77" fmla="*/ 513431020 h 232"/>
                <a:gd name="T78" fmla="*/ 111981461 w 132"/>
                <a:gd name="T79" fmla="*/ 513431020 h 232"/>
                <a:gd name="T80" fmla="*/ 65404189 w 132"/>
                <a:gd name="T81" fmla="*/ 494012295 h 232"/>
                <a:gd name="T82" fmla="*/ 44482705 w 132"/>
                <a:gd name="T83" fmla="*/ 442759715 h 232"/>
                <a:gd name="T84" fmla="*/ 44482705 w 132"/>
                <a:gd name="T85" fmla="*/ 253283286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132" y="0"/>
                  </a:moveTo>
                  <a:cubicBezTo>
                    <a:pt x="132" y="13"/>
                    <a:pt x="132" y="13"/>
                    <a:pt x="132" y="13"/>
                  </a:cubicBezTo>
                  <a:cubicBezTo>
                    <a:pt x="49" y="13"/>
                    <a:pt x="49" y="13"/>
                    <a:pt x="49" y="13"/>
                  </a:cubicBezTo>
                  <a:cubicBezTo>
                    <a:pt x="39" y="13"/>
                    <a:pt x="30" y="16"/>
                    <a:pt x="23" y="24"/>
                  </a:cubicBezTo>
                  <a:cubicBezTo>
                    <a:pt x="16" y="31"/>
                    <a:pt x="12" y="40"/>
                    <a:pt x="12" y="50"/>
                  </a:cubicBezTo>
                  <a:cubicBezTo>
                    <a:pt x="12" y="182"/>
                    <a:pt x="12" y="182"/>
                    <a:pt x="12" y="182"/>
                  </a:cubicBezTo>
                  <a:cubicBezTo>
                    <a:pt x="12" y="193"/>
                    <a:pt x="16" y="201"/>
                    <a:pt x="23" y="209"/>
                  </a:cubicBezTo>
                  <a:cubicBezTo>
                    <a:pt x="30" y="216"/>
                    <a:pt x="39" y="220"/>
                    <a:pt x="49" y="220"/>
                  </a:cubicBezTo>
                  <a:cubicBezTo>
                    <a:pt x="132" y="220"/>
                    <a:pt x="132" y="220"/>
                    <a:pt x="132" y="220"/>
                  </a:cubicBezTo>
                  <a:cubicBezTo>
                    <a:pt x="132" y="232"/>
                    <a:pt x="132" y="232"/>
                    <a:pt x="132" y="232"/>
                  </a:cubicBezTo>
                  <a:cubicBezTo>
                    <a:pt x="49" y="232"/>
                    <a:pt x="49" y="232"/>
                    <a:pt x="49" y="232"/>
                  </a:cubicBezTo>
                  <a:cubicBezTo>
                    <a:pt x="36" y="232"/>
                    <a:pt x="24" y="227"/>
                    <a:pt x="14" y="217"/>
                  </a:cubicBezTo>
                  <a:cubicBezTo>
                    <a:pt x="5" y="208"/>
                    <a:pt x="0" y="196"/>
                    <a:pt x="0" y="182"/>
                  </a:cubicBezTo>
                  <a:cubicBezTo>
                    <a:pt x="0" y="50"/>
                    <a:pt x="0" y="50"/>
                    <a:pt x="0" y="50"/>
                  </a:cubicBezTo>
                  <a:cubicBezTo>
                    <a:pt x="0" y="36"/>
                    <a:pt x="5" y="25"/>
                    <a:pt x="14" y="15"/>
                  </a:cubicBezTo>
                  <a:cubicBezTo>
                    <a:pt x="24" y="5"/>
                    <a:pt x="36" y="0"/>
                    <a:pt x="49" y="0"/>
                  </a:cubicBezTo>
                  <a:lnTo>
                    <a:pt x="132" y="0"/>
                  </a:lnTo>
                  <a:close/>
                  <a:moveTo>
                    <a:pt x="20" y="50"/>
                  </a:moveTo>
                  <a:cubicBezTo>
                    <a:pt x="20" y="42"/>
                    <a:pt x="23" y="35"/>
                    <a:pt x="29" y="29"/>
                  </a:cubicBezTo>
                  <a:cubicBezTo>
                    <a:pt x="35" y="24"/>
                    <a:pt x="42" y="21"/>
                    <a:pt x="50" y="21"/>
                  </a:cubicBezTo>
                  <a:cubicBezTo>
                    <a:pt x="132" y="21"/>
                    <a:pt x="132" y="21"/>
                    <a:pt x="132" y="21"/>
                  </a:cubicBezTo>
                  <a:cubicBezTo>
                    <a:pt x="132" y="33"/>
                    <a:pt x="132" y="33"/>
                    <a:pt x="132" y="33"/>
                  </a:cubicBezTo>
                  <a:cubicBezTo>
                    <a:pt x="50" y="33"/>
                    <a:pt x="50" y="33"/>
                    <a:pt x="50" y="33"/>
                  </a:cubicBezTo>
                  <a:cubicBezTo>
                    <a:pt x="45" y="33"/>
                    <a:pt x="41" y="35"/>
                    <a:pt x="38" y="38"/>
                  </a:cubicBezTo>
                  <a:cubicBezTo>
                    <a:pt x="35" y="42"/>
                    <a:pt x="33" y="45"/>
                    <a:pt x="33" y="50"/>
                  </a:cubicBezTo>
                  <a:cubicBezTo>
                    <a:pt x="33" y="83"/>
                    <a:pt x="33" y="83"/>
                    <a:pt x="33" y="83"/>
                  </a:cubicBezTo>
                  <a:cubicBezTo>
                    <a:pt x="132" y="83"/>
                    <a:pt x="132" y="83"/>
                    <a:pt x="132" y="83"/>
                  </a:cubicBezTo>
                  <a:cubicBezTo>
                    <a:pt x="132" y="96"/>
                    <a:pt x="132" y="96"/>
                    <a:pt x="132" y="96"/>
                  </a:cubicBezTo>
                  <a:cubicBezTo>
                    <a:pt x="20" y="96"/>
                    <a:pt x="20" y="96"/>
                    <a:pt x="20" y="96"/>
                  </a:cubicBezTo>
                  <a:lnTo>
                    <a:pt x="20" y="50"/>
                  </a:lnTo>
                  <a:close/>
                  <a:moveTo>
                    <a:pt x="20" y="104"/>
                  </a:moveTo>
                  <a:cubicBezTo>
                    <a:pt x="132" y="104"/>
                    <a:pt x="132" y="104"/>
                    <a:pt x="132" y="104"/>
                  </a:cubicBezTo>
                  <a:cubicBezTo>
                    <a:pt x="132" y="116"/>
                    <a:pt x="132" y="116"/>
                    <a:pt x="132" y="116"/>
                  </a:cubicBezTo>
                  <a:cubicBezTo>
                    <a:pt x="33" y="116"/>
                    <a:pt x="33" y="116"/>
                    <a:pt x="33" y="116"/>
                  </a:cubicBezTo>
                  <a:cubicBezTo>
                    <a:pt x="33" y="182"/>
                    <a:pt x="33" y="182"/>
                    <a:pt x="33" y="182"/>
                  </a:cubicBezTo>
                  <a:cubicBezTo>
                    <a:pt x="33" y="187"/>
                    <a:pt x="35" y="191"/>
                    <a:pt x="38" y="194"/>
                  </a:cubicBezTo>
                  <a:cubicBezTo>
                    <a:pt x="41" y="197"/>
                    <a:pt x="45" y="199"/>
                    <a:pt x="50" y="199"/>
                  </a:cubicBezTo>
                  <a:cubicBezTo>
                    <a:pt x="132" y="199"/>
                    <a:pt x="132" y="199"/>
                    <a:pt x="132" y="199"/>
                  </a:cubicBezTo>
                  <a:cubicBezTo>
                    <a:pt x="132" y="211"/>
                    <a:pt x="132" y="211"/>
                    <a:pt x="132" y="211"/>
                  </a:cubicBezTo>
                  <a:cubicBezTo>
                    <a:pt x="50" y="211"/>
                    <a:pt x="50" y="211"/>
                    <a:pt x="50" y="211"/>
                  </a:cubicBezTo>
                  <a:cubicBezTo>
                    <a:pt x="42" y="211"/>
                    <a:pt x="35" y="209"/>
                    <a:pt x="29" y="203"/>
                  </a:cubicBezTo>
                  <a:cubicBezTo>
                    <a:pt x="23" y="197"/>
                    <a:pt x="20" y="190"/>
                    <a:pt x="20" y="182"/>
                  </a:cubicBezTo>
                  <a:lnTo>
                    <a:pt x="20" y="104"/>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8" name="TextBox 40">
            <a:extLst>
              <a:ext uri="{FF2B5EF4-FFF2-40B4-BE49-F238E27FC236}">
                <a16:creationId xmlns:a16="http://schemas.microsoft.com/office/drawing/2014/main" id="{E96576A2-ABDE-1275-CCC8-81DB58133101}"/>
              </a:ext>
            </a:extLst>
          </p:cNvPr>
          <p:cNvSpPr txBox="1">
            <a:spLocks noChangeArrowheads="1"/>
          </p:cNvSpPr>
          <p:nvPr/>
        </p:nvSpPr>
        <p:spPr bwMode="auto">
          <a:xfrm>
            <a:off x="11345863" y="6402388"/>
            <a:ext cx="354012" cy="261937"/>
          </a:xfrm>
          <a:prstGeom prst="rect">
            <a:avLst/>
          </a:prstGeom>
          <a:noFill/>
          <a:ln>
            <a:noFill/>
          </a:ln>
        </p:spPr>
        <p:txBody>
          <a:bodyPr wrap="none">
            <a:spAutoFit/>
          </a:bodyPr>
          <a:lstStyle>
            <a:lvl1pPr>
              <a:defRPr>
                <a:solidFill>
                  <a:schemeClr val="tx1"/>
                </a:solidFill>
                <a:latin typeface="Lato Light" panose="020F0502020204030203" pitchFamily="34" charset="0"/>
              </a:defRPr>
            </a:lvl1pPr>
            <a:lvl2pPr marL="742950" indent="-285750">
              <a:defRPr>
                <a:solidFill>
                  <a:schemeClr val="tx1"/>
                </a:solidFill>
                <a:latin typeface="Lato Light" panose="020F0502020204030203" pitchFamily="34" charset="0"/>
              </a:defRPr>
            </a:lvl2pPr>
            <a:lvl3pPr marL="1143000" indent="-228600">
              <a:defRPr>
                <a:solidFill>
                  <a:schemeClr val="tx1"/>
                </a:solidFill>
                <a:latin typeface="Lato Light" panose="020F0502020204030203" pitchFamily="34" charset="0"/>
              </a:defRPr>
            </a:lvl3pPr>
            <a:lvl4pPr marL="1600200" indent="-228600">
              <a:defRPr>
                <a:solidFill>
                  <a:schemeClr val="tx1"/>
                </a:solidFill>
                <a:latin typeface="Lato Light" panose="020F0502020204030203" pitchFamily="34" charset="0"/>
              </a:defRPr>
            </a:lvl4pPr>
            <a:lvl5pPr marL="2057400" indent="-228600">
              <a:defRPr>
                <a:solidFill>
                  <a:schemeClr val="tx1"/>
                </a:solidFill>
                <a:latin typeface="Lato Light" panose="020F0502020204030203" pitchFamily="34" charset="0"/>
              </a:defRPr>
            </a:lvl5pPr>
            <a:lvl6pPr marL="2514600" indent="-228600" eaLnBrk="0" fontAlgn="base" hangingPunct="0">
              <a:spcBef>
                <a:spcPct val="0"/>
              </a:spcBef>
              <a:spcAft>
                <a:spcPct val="0"/>
              </a:spcAft>
              <a:defRPr>
                <a:solidFill>
                  <a:schemeClr val="tx1"/>
                </a:solidFill>
                <a:latin typeface="Lato Light" panose="020F0502020204030203" pitchFamily="34" charset="0"/>
              </a:defRPr>
            </a:lvl6pPr>
            <a:lvl7pPr marL="2971800" indent="-228600" eaLnBrk="0" fontAlgn="base" hangingPunct="0">
              <a:spcBef>
                <a:spcPct val="0"/>
              </a:spcBef>
              <a:spcAft>
                <a:spcPct val="0"/>
              </a:spcAft>
              <a:defRPr>
                <a:solidFill>
                  <a:schemeClr val="tx1"/>
                </a:solidFill>
                <a:latin typeface="Lato Light" panose="020F0502020204030203" pitchFamily="34" charset="0"/>
              </a:defRPr>
            </a:lvl7pPr>
            <a:lvl8pPr marL="3429000" indent="-228600" eaLnBrk="0" fontAlgn="base" hangingPunct="0">
              <a:spcBef>
                <a:spcPct val="0"/>
              </a:spcBef>
              <a:spcAft>
                <a:spcPct val="0"/>
              </a:spcAft>
              <a:defRPr>
                <a:solidFill>
                  <a:schemeClr val="tx1"/>
                </a:solidFill>
                <a:latin typeface="Lato Light" panose="020F0502020204030203" pitchFamily="34" charset="0"/>
              </a:defRPr>
            </a:lvl8pPr>
            <a:lvl9pPr marL="3886200" indent="-228600" eaLnBrk="0" fontAlgn="base" hangingPunct="0">
              <a:spcBef>
                <a:spcPct val="0"/>
              </a:spcBef>
              <a:spcAft>
                <a:spcPct val="0"/>
              </a:spcAft>
              <a:defRPr>
                <a:solidFill>
                  <a:schemeClr val="tx1"/>
                </a:solidFill>
                <a:latin typeface="Lato Light" panose="020F0502020204030203" pitchFamily="34" charset="0"/>
              </a:defRPr>
            </a:lvl9pPr>
          </a:lstStyle>
          <a:p>
            <a:pPr algn="ctr" eaLnBrk="1" hangingPunct="1">
              <a:defRPr/>
            </a:pPr>
            <a:fld id="{EF10E8BE-8A19-42C2-AA9E-B41B6CD054A7}" type="slidenum">
              <a:rPr lang="en-US" altLang="tr-TR" sz="1100" smtClean="0">
                <a:solidFill>
                  <a:schemeClr val="tx2"/>
                </a:solidFill>
              </a:rPr>
              <a:pPr algn="ctr" eaLnBrk="1" hangingPunct="1">
                <a:defRPr/>
              </a:pPr>
              <a:t>‹#›</a:t>
            </a:fld>
            <a:endParaRPr lang="en-US" altLang="tr-TR" sz="1100">
              <a:solidFill>
                <a:schemeClr val="tx2"/>
              </a:solidFill>
            </a:endParaRPr>
          </a:p>
        </p:txBody>
      </p:sp>
      <p:sp>
        <p:nvSpPr>
          <p:cNvPr id="21" name="Picture Placeholder 3"/>
          <p:cNvSpPr>
            <a:spLocks noGrp="1"/>
          </p:cNvSpPr>
          <p:nvPr>
            <p:ph type="pic" sz="quarter" idx="18"/>
          </p:nvPr>
        </p:nvSpPr>
        <p:spPr>
          <a:xfrm>
            <a:off x="3960974" y="2085231"/>
            <a:ext cx="1900508" cy="1900508"/>
          </a:xfrm>
          <a:prstGeom prst="ellipse">
            <a:avLst/>
          </a:prstGeo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
        <p:nvSpPr>
          <p:cNvPr id="22" name="Picture Placeholder 3"/>
          <p:cNvSpPr>
            <a:spLocks noGrp="1"/>
          </p:cNvSpPr>
          <p:nvPr>
            <p:ph type="pic" sz="quarter" idx="19"/>
          </p:nvPr>
        </p:nvSpPr>
        <p:spPr>
          <a:xfrm>
            <a:off x="6330101" y="2085231"/>
            <a:ext cx="1900508" cy="1900508"/>
          </a:xfrm>
          <a:prstGeom prst="ellipse">
            <a:avLst/>
          </a:prstGeo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
        <p:nvSpPr>
          <p:cNvPr id="23" name="Picture Placeholder 3"/>
          <p:cNvSpPr>
            <a:spLocks noGrp="1"/>
          </p:cNvSpPr>
          <p:nvPr>
            <p:ph type="pic" sz="quarter" idx="20"/>
          </p:nvPr>
        </p:nvSpPr>
        <p:spPr>
          <a:xfrm>
            <a:off x="8699229" y="2085231"/>
            <a:ext cx="1900508" cy="1900508"/>
          </a:xfrm>
          <a:prstGeom prst="ellipse">
            <a:avLst/>
          </a:prstGeo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
        <p:nvSpPr>
          <p:cNvPr id="24" name="Picture Placeholder 3"/>
          <p:cNvSpPr>
            <a:spLocks noGrp="1"/>
          </p:cNvSpPr>
          <p:nvPr>
            <p:ph type="pic" sz="quarter" idx="21"/>
          </p:nvPr>
        </p:nvSpPr>
        <p:spPr>
          <a:xfrm>
            <a:off x="1591847" y="2085231"/>
            <a:ext cx="1900508" cy="1900508"/>
          </a:xfrm>
          <a:prstGeom prst="ellipse">
            <a:avLst/>
          </a:prstGeo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Tree>
    <p:extLst>
      <p:ext uri="{BB962C8B-B14F-4D97-AF65-F5344CB8AC3E}">
        <p14:creationId xmlns:p14="http://schemas.microsoft.com/office/powerpoint/2010/main" val="39436152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83D4B172-B1C2-6A3A-D140-B74AAAD755B7}"/>
              </a:ext>
            </a:extLst>
          </p:cNvPr>
          <p:cNvSpPr/>
          <p:nvPr/>
        </p:nvSpPr>
        <p:spPr>
          <a:xfrm>
            <a:off x="11350625" y="6361113"/>
            <a:ext cx="344488" cy="344487"/>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2"/>
              </a:solidFill>
            </a:endParaRPr>
          </a:p>
        </p:txBody>
      </p:sp>
      <p:grpSp>
        <p:nvGrpSpPr>
          <p:cNvPr id="3" name="Group 4">
            <a:extLst>
              <a:ext uri="{FF2B5EF4-FFF2-40B4-BE49-F238E27FC236}">
                <a16:creationId xmlns:a16="http://schemas.microsoft.com/office/drawing/2014/main" id="{E77077EA-147D-27B2-54C3-B1D6EF7E937B}"/>
              </a:ext>
            </a:extLst>
          </p:cNvPr>
          <p:cNvGrpSpPr>
            <a:grpSpLocks noChangeAspect="1"/>
          </p:cNvGrpSpPr>
          <p:nvPr/>
        </p:nvGrpSpPr>
        <p:grpSpPr bwMode="auto">
          <a:xfrm>
            <a:off x="527050" y="6389688"/>
            <a:ext cx="1039813" cy="284162"/>
            <a:chOff x="297" y="1187"/>
            <a:chExt cx="7085" cy="1944"/>
          </a:xfrm>
        </p:grpSpPr>
        <p:sp>
          <p:nvSpPr>
            <p:cNvPr id="4" name="Freeform 9">
              <a:extLst>
                <a:ext uri="{FF2B5EF4-FFF2-40B4-BE49-F238E27FC236}">
                  <a16:creationId xmlns:a16="http://schemas.microsoft.com/office/drawing/2014/main" id="{363221FE-D2B3-6047-9C85-18673CF22C73}"/>
                </a:ext>
              </a:extLst>
            </p:cNvPr>
            <p:cNvSpPr>
              <a:spLocks noEditPoints="1"/>
            </p:cNvSpPr>
            <p:nvPr userDrawn="1"/>
          </p:nvSpPr>
          <p:spPr bwMode="auto">
            <a:xfrm>
              <a:off x="297" y="1189"/>
              <a:ext cx="1266" cy="1105"/>
            </a:xfrm>
            <a:custGeom>
              <a:avLst/>
              <a:gdLst>
                <a:gd name="T0" fmla="*/ 592814223 w 535"/>
                <a:gd name="T1" fmla="*/ 490470457 h 466"/>
                <a:gd name="T2" fmla="*/ 475447313 w 535"/>
                <a:gd name="T3" fmla="*/ 198813566 h 466"/>
                <a:gd name="T4" fmla="*/ 254086917 w 535"/>
                <a:gd name="T5" fmla="*/ 767261907 h 466"/>
                <a:gd name="T6" fmla="*/ 205935911 w 535"/>
                <a:gd name="T7" fmla="*/ 898255873 h 466"/>
                <a:gd name="T8" fmla="*/ 135177273 w 535"/>
                <a:gd name="T9" fmla="*/ 1082812292 h 466"/>
                <a:gd name="T10" fmla="*/ 135177273 w 535"/>
                <a:gd name="T11" fmla="*/ 1079972834 h 466"/>
                <a:gd name="T12" fmla="*/ 102568007 w 535"/>
                <a:gd name="T13" fmla="*/ 1104057219 h 466"/>
                <a:gd name="T14" fmla="*/ 25381052 w 535"/>
                <a:gd name="T15" fmla="*/ 1104057219 h 466"/>
                <a:gd name="T16" fmla="*/ 0 w 535"/>
                <a:gd name="T17" fmla="*/ 1087116478 h 466"/>
                <a:gd name="T18" fmla="*/ 2031267 w 535"/>
                <a:gd name="T19" fmla="*/ 1078264271 h 466"/>
                <a:gd name="T20" fmla="*/ 4806699 w 535"/>
                <a:gd name="T21" fmla="*/ 1068152912 h 466"/>
                <a:gd name="T22" fmla="*/ 423281075 w 535"/>
                <a:gd name="T23" fmla="*/ 19018883 h 466"/>
                <a:gd name="T24" fmla="*/ 425157884 w 535"/>
                <a:gd name="T25" fmla="*/ 16871626 h 466"/>
                <a:gd name="T26" fmla="*/ 423281075 w 535"/>
                <a:gd name="T27" fmla="*/ 19018883 h 466"/>
                <a:gd name="T28" fmla="*/ 430186005 w 535"/>
                <a:gd name="T29" fmla="*/ 7115093 h 466"/>
                <a:gd name="T30" fmla="*/ 453467932 w 535"/>
                <a:gd name="T31" fmla="*/ 0 h 466"/>
                <a:gd name="T32" fmla="*/ 500809590 w 535"/>
                <a:gd name="T33" fmla="*/ 0 h 466"/>
                <a:gd name="T34" fmla="*/ 522062318 w 535"/>
                <a:gd name="T35" fmla="*/ 7115093 h 466"/>
                <a:gd name="T36" fmla="*/ 528624526 w 535"/>
                <a:gd name="T37" fmla="*/ 19018883 h 466"/>
                <a:gd name="T38" fmla="*/ 530657417 w 535"/>
                <a:gd name="T39" fmla="*/ 19018883 h 466"/>
                <a:gd name="T40" fmla="*/ 532753721 w 535"/>
                <a:gd name="T41" fmla="*/ 23986629 h 466"/>
                <a:gd name="T42" fmla="*/ 530657417 w 535"/>
                <a:gd name="T43" fmla="*/ 21137875 h 466"/>
                <a:gd name="T44" fmla="*/ 656507488 w 535"/>
                <a:gd name="T45" fmla="*/ 336755356 h 466"/>
                <a:gd name="T46" fmla="*/ 592814223 w 535"/>
                <a:gd name="T47" fmla="*/ 490470457 h 466"/>
                <a:gd name="T48" fmla="*/ 1063415281 w 535"/>
                <a:gd name="T49" fmla="*/ 1007003229 h 466"/>
                <a:gd name="T50" fmla="*/ 1020096784 w 535"/>
                <a:gd name="T51" fmla="*/ 898255873 h 466"/>
                <a:gd name="T52" fmla="*/ 862287051 w 535"/>
                <a:gd name="T53" fmla="*/ 490470457 h 466"/>
                <a:gd name="T54" fmla="*/ 745075518 w 535"/>
                <a:gd name="T55" fmla="*/ 198813566 h 466"/>
                <a:gd name="T56" fmla="*/ 524093625 w 535"/>
                <a:gd name="T57" fmla="*/ 767261907 h 466"/>
                <a:gd name="T58" fmla="*/ 473909525 w 535"/>
                <a:gd name="T59" fmla="*/ 898255873 h 466"/>
                <a:gd name="T60" fmla="*/ 405184384 w 535"/>
                <a:gd name="T61" fmla="*/ 1082812292 h 466"/>
                <a:gd name="T62" fmla="*/ 405184384 w 535"/>
                <a:gd name="T63" fmla="*/ 1079972834 h 466"/>
                <a:gd name="T64" fmla="*/ 372851835 w 535"/>
                <a:gd name="T65" fmla="*/ 1104057219 h 466"/>
                <a:gd name="T66" fmla="*/ 295029932 w 535"/>
                <a:gd name="T67" fmla="*/ 1104057219 h 466"/>
                <a:gd name="T68" fmla="*/ 269628205 w 535"/>
                <a:gd name="T69" fmla="*/ 1087116478 h 466"/>
                <a:gd name="T70" fmla="*/ 272403609 w 535"/>
                <a:gd name="T71" fmla="*/ 1078264271 h 466"/>
                <a:gd name="T72" fmla="*/ 274527635 w 535"/>
                <a:gd name="T73" fmla="*/ 1068152912 h 466"/>
                <a:gd name="T74" fmla="*/ 693246507 w 535"/>
                <a:gd name="T75" fmla="*/ 19018883 h 466"/>
                <a:gd name="T76" fmla="*/ 694891188 w 535"/>
                <a:gd name="T77" fmla="*/ 16871626 h 466"/>
                <a:gd name="T78" fmla="*/ 693246507 w 535"/>
                <a:gd name="T79" fmla="*/ 19018883 h 466"/>
                <a:gd name="T80" fmla="*/ 699814170 w 535"/>
                <a:gd name="T81" fmla="*/ 7115093 h 466"/>
                <a:gd name="T82" fmla="*/ 722963600 w 535"/>
                <a:gd name="T83" fmla="*/ 0 h 466"/>
                <a:gd name="T84" fmla="*/ 770453496 w 535"/>
                <a:gd name="T85" fmla="*/ 0 h 466"/>
                <a:gd name="T86" fmla="*/ 791690909 w 535"/>
                <a:gd name="T87" fmla="*/ 7115093 h 466"/>
                <a:gd name="T88" fmla="*/ 798593889 w 535"/>
                <a:gd name="T89" fmla="*/ 19018883 h 466"/>
                <a:gd name="T90" fmla="*/ 800282813 w 535"/>
                <a:gd name="T91" fmla="*/ 19018883 h 466"/>
                <a:gd name="T92" fmla="*/ 800282813 w 535"/>
                <a:gd name="T93" fmla="*/ 23986629 h 466"/>
                <a:gd name="T94" fmla="*/ 800282813 w 535"/>
                <a:gd name="T95" fmla="*/ 21137875 h 466"/>
                <a:gd name="T96" fmla="*/ 1221874959 w 535"/>
                <a:gd name="T97" fmla="*/ 1068152912 h 466"/>
                <a:gd name="T98" fmla="*/ 1223907795 w 535"/>
                <a:gd name="T99" fmla="*/ 1073239556 h 466"/>
                <a:gd name="T100" fmla="*/ 1223907795 w 535"/>
                <a:gd name="T101" fmla="*/ 1087116478 h 466"/>
                <a:gd name="T102" fmla="*/ 1198604492 w 535"/>
                <a:gd name="T103" fmla="*/ 1104057219 h 466"/>
                <a:gd name="T104" fmla="*/ 1123315401 w 535"/>
                <a:gd name="T105" fmla="*/ 1104057219 h 466"/>
                <a:gd name="T106" fmla="*/ 1091504023 w 535"/>
                <a:gd name="T107" fmla="*/ 1082812292 h 466"/>
                <a:gd name="T108" fmla="*/ 1063415281 w 535"/>
                <a:gd name="T109" fmla="*/ 1007003229 h 4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35" h="466">
                  <a:moveTo>
                    <a:pt x="259" y="207"/>
                  </a:moveTo>
                  <a:cubicBezTo>
                    <a:pt x="208" y="84"/>
                    <a:pt x="208" y="84"/>
                    <a:pt x="208" y="84"/>
                  </a:cubicBezTo>
                  <a:cubicBezTo>
                    <a:pt x="111" y="324"/>
                    <a:pt x="111" y="324"/>
                    <a:pt x="111" y="324"/>
                  </a:cubicBezTo>
                  <a:cubicBezTo>
                    <a:pt x="90" y="379"/>
                    <a:pt x="90" y="379"/>
                    <a:pt x="90" y="379"/>
                  </a:cubicBezTo>
                  <a:cubicBezTo>
                    <a:pt x="59" y="457"/>
                    <a:pt x="59" y="457"/>
                    <a:pt x="59" y="457"/>
                  </a:cubicBezTo>
                  <a:cubicBezTo>
                    <a:pt x="59" y="456"/>
                    <a:pt x="59" y="456"/>
                    <a:pt x="59" y="456"/>
                  </a:cubicBezTo>
                  <a:cubicBezTo>
                    <a:pt x="56" y="462"/>
                    <a:pt x="51" y="466"/>
                    <a:pt x="45" y="466"/>
                  </a:cubicBezTo>
                  <a:cubicBezTo>
                    <a:pt x="11" y="466"/>
                    <a:pt x="11" y="466"/>
                    <a:pt x="11" y="466"/>
                  </a:cubicBezTo>
                  <a:cubicBezTo>
                    <a:pt x="4" y="466"/>
                    <a:pt x="0" y="464"/>
                    <a:pt x="0" y="459"/>
                  </a:cubicBezTo>
                  <a:cubicBezTo>
                    <a:pt x="0" y="458"/>
                    <a:pt x="0" y="457"/>
                    <a:pt x="1" y="455"/>
                  </a:cubicBezTo>
                  <a:cubicBezTo>
                    <a:pt x="2" y="451"/>
                    <a:pt x="2" y="451"/>
                    <a:pt x="2" y="451"/>
                  </a:cubicBezTo>
                  <a:cubicBezTo>
                    <a:pt x="185" y="8"/>
                    <a:pt x="185" y="8"/>
                    <a:pt x="185" y="8"/>
                  </a:cubicBezTo>
                  <a:cubicBezTo>
                    <a:pt x="185" y="8"/>
                    <a:pt x="185" y="7"/>
                    <a:pt x="186" y="7"/>
                  </a:cubicBezTo>
                  <a:cubicBezTo>
                    <a:pt x="185" y="8"/>
                    <a:pt x="185" y="8"/>
                    <a:pt x="185" y="8"/>
                  </a:cubicBezTo>
                  <a:cubicBezTo>
                    <a:pt x="188" y="3"/>
                    <a:pt x="188" y="3"/>
                    <a:pt x="188" y="3"/>
                  </a:cubicBezTo>
                  <a:cubicBezTo>
                    <a:pt x="190" y="1"/>
                    <a:pt x="193" y="0"/>
                    <a:pt x="198" y="0"/>
                  </a:cubicBezTo>
                  <a:cubicBezTo>
                    <a:pt x="219" y="0"/>
                    <a:pt x="219" y="0"/>
                    <a:pt x="219" y="0"/>
                  </a:cubicBezTo>
                  <a:cubicBezTo>
                    <a:pt x="224" y="0"/>
                    <a:pt x="227" y="1"/>
                    <a:pt x="228" y="3"/>
                  </a:cubicBezTo>
                  <a:cubicBezTo>
                    <a:pt x="231" y="8"/>
                    <a:pt x="231" y="8"/>
                    <a:pt x="231" y="8"/>
                  </a:cubicBezTo>
                  <a:cubicBezTo>
                    <a:pt x="231" y="8"/>
                    <a:pt x="231" y="8"/>
                    <a:pt x="232" y="8"/>
                  </a:cubicBezTo>
                  <a:cubicBezTo>
                    <a:pt x="233" y="10"/>
                    <a:pt x="233" y="10"/>
                    <a:pt x="233" y="10"/>
                  </a:cubicBezTo>
                  <a:cubicBezTo>
                    <a:pt x="232" y="9"/>
                    <a:pt x="232" y="9"/>
                    <a:pt x="232" y="9"/>
                  </a:cubicBezTo>
                  <a:cubicBezTo>
                    <a:pt x="287" y="142"/>
                    <a:pt x="287" y="142"/>
                    <a:pt x="287" y="142"/>
                  </a:cubicBezTo>
                  <a:lnTo>
                    <a:pt x="259" y="207"/>
                  </a:lnTo>
                  <a:close/>
                  <a:moveTo>
                    <a:pt x="465" y="425"/>
                  </a:moveTo>
                  <a:cubicBezTo>
                    <a:pt x="446" y="379"/>
                    <a:pt x="446" y="379"/>
                    <a:pt x="446" y="379"/>
                  </a:cubicBezTo>
                  <a:cubicBezTo>
                    <a:pt x="377" y="207"/>
                    <a:pt x="377" y="207"/>
                    <a:pt x="377" y="207"/>
                  </a:cubicBezTo>
                  <a:cubicBezTo>
                    <a:pt x="326" y="84"/>
                    <a:pt x="326" y="84"/>
                    <a:pt x="326" y="84"/>
                  </a:cubicBezTo>
                  <a:cubicBezTo>
                    <a:pt x="229" y="324"/>
                    <a:pt x="229" y="324"/>
                    <a:pt x="229" y="324"/>
                  </a:cubicBezTo>
                  <a:cubicBezTo>
                    <a:pt x="207" y="379"/>
                    <a:pt x="207" y="379"/>
                    <a:pt x="207" y="379"/>
                  </a:cubicBezTo>
                  <a:cubicBezTo>
                    <a:pt x="177" y="457"/>
                    <a:pt x="177" y="457"/>
                    <a:pt x="177" y="457"/>
                  </a:cubicBezTo>
                  <a:cubicBezTo>
                    <a:pt x="177" y="456"/>
                    <a:pt x="177" y="456"/>
                    <a:pt x="177" y="456"/>
                  </a:cubicBezTo>
                  <a:cubicBezTo>
                    <a:pt x="174" y="462"/>
                    <a:pt x="169" y="466"/>
                    <a:pt x="163" y="466"/>
                  </a:cubicBezTo>
                  <a:cubicBezTo>
                    <a:pt x="129" y="466"/>
                    <a:pt x="129" y="466"/>
                    <a:pt x="129" y="466"/>
                  </a:cubicBezTo>
                  <a:cubicBezTo>
                    <a:pt x="122" y="466"/>
                    <a:pt x="118" y="464"/>
                    <a:pt x="118" y="459"/>
                  </a:cubicBezTo>
                  <a:cubicBezTo>
                    <a:pt x="118" y="458"/>
                    <a:pt x="118" y="457"/>
                    <a:pt x="119" y="455"/>
                  </a:cubicBezTo>
                  <a:cubicBezTo>
                    <a:pt x="120" y="451"/>
                    <a:pt x="120" y="451"/>
                    <a:pt x="120" y="451"/>
                  </a:cubicBezTo>
                  <a:cubicBezTo>
                    <a:pt x="303" y="8"/>
                    <a:pt x="303" y="8"/>
                    <a:pt x="303" y="8"/>
                  </a:cubicBezTo>
                  <a:cubicBezTo>
                    <a:pt x="303" y="8"/>
                    <a:pt x="303" y="7"/>
                    <a:pt x="304" y="7"/>
                  </a:cubicBezTo>
                  <a:cubicBezTo>
                    <a:pt x="303" y="8"/>
                    <a:pt x="303" y="8"/>
                    <a:pt x="303" y="8"/>
                  </a:cubicBezTo>
                  <a:cubicBezTo>
                    <a:pt x="306" y="3"/>
                    <a:pt x="306" y="3"/>
                    <a:pt x="306" y="3"/>
                  </a:cubicBezTo>
                  <a:cubicBezTo>
                    <a:pt x="308" y="1"/>
                    <a:pt x="311" y="0"/>
                    <a:pt x="316" y="0"/>
                  </a:cubicBezTo>
                  <a:cubicBezTo>
                    <a:pt x="337" y="0"/>
                    <a:pt x="337" y="0"/>
                    <a:pt x="337" y="0"/>
                  </a:cubicBezTo>
                  <a:cubicBezTo>
                    <a:pt x="342" y="0"/>
                    <a:pt x="344" y="1"/>
                    <a:pt x="346" y="3"/>
                  </a:cubicBezTo>
                  <a:cubicBezTo>
                    <a:pt x="349" y="8"/>
                    <a:pt x="349" y="8"/>
                    <a:pt x="349" y="8"/>
                  </a:cubicBezTo>
                  <a:cubicBezTo>
                    <a:pt x="349" y="8"/>
                    <a:pt x="349" y="8"/>
                    <a:pt x="350" y="8"/>
                  </a:cubicBezTo>
                  <a:cubicBezTo>
                    <a:pt x="350" y="10"/>
                    <a:pt x="350" y="10"/>
                    <a:pt x="350" y="10"/>
                  </a:cubicBezTo>
                  <a:cubicBezTo>
                    <a:pt x="350" y="9"/>
                    <a:pt x="350" y="9"/>
                    <a:pt x="350" y="9"/>
                  </a:cubicBezTo>
                  <a:cubicBezTo>
                    <a:pt x="534" y="451"/>
                    <a:pt x="534" y="451"/>
                    <a:pt x="534" y="451"/>
                  </a:cubicBezTo>
                  <a:cubicBezTo>
                    <a:pt x="535" y="453"/>
                    <a:pt x="535" y="453"/>
                    <a:pt x="535" y="453"/>
                  </a:cubicBezTo>
                  <a:cubicBezTo>
                    <a:pt x="535" y="455"/>
                    <a:pt x="535" y="457"/>
                    <a:pt x="535" y="459"/>
                  </a:cubicBezTo>
                  <a:cubicBezTo>
                    <a:pt x="535" y="464"/>
                    <a:pt x="532" y="466"/>
                    <a:pt x="524" y="466"/>
                  </a:cubicBezTo>
                  <a:cubicBezTo>
                    <a:pt x="491" y="466"/>
                    <a:pt x="491" y="466"/>
                    <a:pt x="491" y="466"/>
                  </a:cubicBezTo>
                  <a:cubicBezTo>
                    <a:pt x="479" y="466"/>
                    <a:pt x="477" y="456"/>
                    <a:pt x="477" y="457"/>
                  </a:cubicBezTo>
                  <a:lnTo>
                    <a:pt x="465" y="425"/>
                  </a:lnTo>
                  <a:close/>
                </a:path>
              </a:pathLst>
            </a:custGeom>
            <a:solidFill>
              <a:srgbClr val="2580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 name="Freeform 6">
              <a:extLst>
                <a:ext uri="{FF2B5EF4-FFF2-40B4-BE49-F238E27FC236}">
                  <a16:creationId xmlns:a16="http://schemas.microsoft.com/office/drawing/2014/main" id="{0345A46B-A259-B20E-E6A6-E8E7BDD2FEBF}"/>
                </a:ext>
              </a:extLst>
            </p:cNvPr>
            <p:cNvSpPr>
              <a:spLocks noEditPoints="1"/>
            </p:cNvSpPr>
            <p:nvPr userDrawn="1"/>
          </p:nvSpPr>
          <p:spPr bwMode="auto">
            <a:xfrm>
              <a:off x="1456" y="1189"/>
              <a:ext cx="986" cy="1105"/>
            </a:xfrm>
            <a:custGeom>
              <a:avLst/>
              <a:gdLst>
                <a:gd name="T0" fmla="*/ 26658435 w 417"/>
                <a:gd name="T1" fmla="*/ 1104057219 h 466"/>
                <a:gd name="T2" fmla="*/ 0 w 417"/>
                <a:gd name="T3" fmla="*/ 1084997487 h 466"/>
                <a:gd name="T4" fmla="*/ 0 w 417"/>
                <a:gd name="T5" fmla="*/ 1071148297 h 466"/>
                <a:gd name="T6" fmla="*/ 2016564 w 417"/>
                <a:gd name="T7" fmla="*/ 1065967725 h 466"/>
                <a:gd name="T8" fmla="*/ 440005146 w 417"/>
                <a:gd name="T9" fmla="*/ 19018883 h 466"/>
                <a:gd name="T10" fmla="*/ 469546985 w 417"/>
                <a:gd name="T11" fmla="*/ 0 h 466"/>
                <a:gd name="T12" fmla="*/ 474377529 w 417"/>
                <a:gd name="T13" fmla="*/ 0 h 466"/>
                <a:gd name="T14" fmla="*/ 505945896 w 417"/>
                <a:gd name="T15" fmla="*/ 21137875 h 466"/>
                <a:gd name="T16" fmla="*/ 612172944 w 417"/>
                <a:gd name="T17" fmla="*/ 284828039 h 466"/>
                <a:gd name="T18" fmla="*/ 830540312 w 417"/>
                <a:gd name="T19" fmla="*/ 805128453 h 466"/>
                <a:gd name="T20" fmla="*/ 936767478 w 417"/>
                <a:gd name="T21" fmla="*/ 1065967725 h 466"/>
                <a:gd name="T22" fmla="*/ 936767478 w 417"/>
                <a:gd name="T23" fmla="*/ 1065967725 h 466"/>
                <a:gd name="T24" fmla="*/ 941198430 w 417"/>
                <a:gd name="T25" fmla="*/ 1084997487 h 466"/>
                <a:gd name="T26" fmla="*/ 914535082 w 417"/>
                <a:gd name="T27" fmla="*/ 1104057219 h 466"/>
                <a:gd name="T28" fmla="*/ 26658435 w 417"/>
                <a:gd name="T29" fmla="*/ 1104057219 h 466"/>
                <a:gd name="T30" fmla="*/ 173692259 w 417"/>
                <a:gd name="T31" fmla="*/ 974102843 h 466"/>
                <a:gd name="T32" fmla="*/ 332252753 w 417"/>
                <a:gd name="T33" fmla="*/ 974102843 h 466"/>
                <a:gd name="T34" fmla="*/ 767506131 w 417"/>
                <a:gd name="T35" fmla="*/ 974102843 h 466"/>
                <a:gd name="T36" fmla="*/ 471651445 w 417"/>
                <a:gd name="T37" fmla="*/ 238808028 h 466"/>
                <a:gd name="T38" fmla="*/ 173692259 w 417"/>
                <a:gd name="T39" fmla="*/ 974102843 h 4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17" h="466">
                  <a:moveTo>
                    <a:pt x="12" y="466"/>
                  </a:moveTo>
                  <a:cubicBezTo>
                    <a:pt x="4" y="466"/>
                    <a:pt x="0" y="463"/>
                    <a:pt x="0" y="458"/>
                  </a:cubicBezTo>
                  <a:cubicBezTo>
                    <a:pt x="0" y="455"/>
                    <a:pt x="0" y="453"/>
                    <a:pt x="0" y="452"/>
                  </a:cubicBezTo>
                  <a:cubicBezTo>
                    <a:pt x="1" y="450"/>
                    <a:pt x="1" y="450"/>
                    <a:pt x="1" y="450"/>
                  </a:cubicBezTo>
                  <a:cubicBezTo>
                    <a:pt x="195" y="8"/>
                    <a:pt x="195" y="8"/>
                    <a:pt x="195" y="8"/>
                  </a:cubicBezTo>
                  <a:cubicBezTo>
                    <a:pt x="196" y="5"/>
                    <a:pt x="197" y="0"/>
                    <a:pt x="208" y="0"/>
                  </a:cubicBezTo>
                  <a:cubicBezTo>
                    <a:pt x="210" y="0"/>
                    <a:pt x="210" y="0"/>
                    <a:pt x="210" y="0"/>
                  </a:cubicBezTo>
                  <a:cubicBezTo>
                    <a:pt x="222" y="0"/>
                    <a:pt x="222" y="7"/>
                    <a:pt x="224" y="9"/>
                  </a:cubicBezTo>
                  <a:cubicBezTo>
                    <a:pt x="239" y="46"/>
                    <a:pt x="255" y="83"/>
                    <a:pt x="271" y="120"/>
                  </a:cubicBezTo>
                  <a:cubicBezTo>
                    <a:pt x="368" y="340"/>
                    <a:pt x="368" y="340"/>
                    <a:pt x="368" y="340"/>
                  </a:cubicBezTo>
                  <a:cubicBezTo>
                    <a:pt x="384" y="377"/>
                    <a:pt x="400" y="414"/>
                    <a:pt x="415" y="450"/>
                  </a:cubicBezTo>
                  <a:cubicBezTo>
                    <a:pt x="415" y="450"/>
                    <a:pt x="415" y="450"/>
                    <a:pt x="415" y="450"/>
                  </a:cubicBezTo>
                  <a:cubicBezTo>
                    <a:pt x="417" y="458"/>
                    <a:pt x="417" y="458"/>
                    <a:pt x="417" y="458"/>
                  </a:cubicBezTo>
                  <a:cubicBezTo>
                    <a:pt x="417" y="463"/>
                    <a:pt x="413" y="466"/>
                    <a:pt x="405" y="466"/>
                  </a:cubicBezTo>
                  <a:lnTo>
                    <a:pt x="12" y="466"/>
                  </a:lnTo>
                  <a:close/>
                  <a:moveTo>
                    <a:pt x="77" y="411"/>
                  </a:moveTo>
                  <a:cubicBezTo>
                    <a:pt x="147" y="411"/>
                    <a:pt x="147" y="411"/>
                    <a:pt x="147" y="411"/>
                  </a:cubicBezTo>
                  <a:cubicBezTo>
                    <a:pt x="340" y="411"/>
                    <a:pt x="340" y="411"/>
                    <a:pt x="340" y="411"/>
                  </a:cubicBezTo>
                  <a:cubicBezTo>
                    <a:pt x="209" y="101"/>
                    <a:pt x="209" y="101"/>
                    <a:pt x="209" y="101"/>
                  </a:cubicBezTo>
                  <a:lnTo>
                    <a:pt x="77" y="411"/>
                  </a:lnTo>
                  <a:close/>
                </a:path>
              </a:pathLst>
            </a:custGeom>
            <a:solidFill>
              <a:srgbClr val="1993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 name="Freeform 7">
              <a:extLst>
                <a:ext uri="{FF2B5EF4-FFF2-40B4-BE49-F238E27FC236}">
                  <a16:creationId xmlns:a16="http://schemas.microsoft.com/office/drawing/2014/main" id="{FE6EB0CC-E6AE-0BC1-37CE-00AE6560E7F6}"/>
                </a:ext>
              </a:extLst>
            </p:cNvPr>
            <p:cNvSpPr>
              <a:spLocks noEditPoints="1"/>
            </p:cNvSpPr>
            <p:nvPr userDrawn="1"/>
          </p:nvSpPr>
          <p:spPr bwMode="auto">
            <a:xfrm>
              <a:off x="2501" y="1189"/>
              <a:ext cx="1594" cy="1942"/>
            </a:xfrm>
            <a:custGeom>
              <a:avLst/>
              <a:gdLst>
                <a:gd name="T0" fmla="*/ 1483443497 w 674"/>
                <a:gd name="T1" fmla="*/ 1714655374 h 819"/>
                <a:gd name="T2" fmla="*/ 1526729097 w 674"/>
                <a:gd name="T3" fmla="*/ 1761916426 h 819"/>
                <a:gd name="T4" fmla="*/ 1526729097 w 674"/>
                <a:gd name="T5" fmla="*/ 1892482889 h 819"/>
                <a:gd name="T6" fmla="*/ 1483443497 w 674"/>
                <a:gd name="T7" fmla="*/ 1939529634 h 819"/>
                <a:gd name="T8" fmla="*/ 45037621 w 674"/>
                <a:gd name="T9" fmla="*/ 1939529634 h 819"/>
                <a:gd name="T10" fmla="*/ 2021131 w 674"/>
                <a:gd name="T11" fmla="*/ 1892482889 h 819"/>
                <a:gd name="T12" fmla="*/ 2021131 w 674"/>
                <a:gd name="T13" fmla="*/ 1747816468 h 819"/>
                <a:gd name="T14" fmla="*/ 4779945 w 674"/>
                <a:gd name="T15" fmla="*/ 1718918526 h 819"/>
                <a:gd name="T16" fmla="*/ 1173181872 w 674"/>
                <a:gd name="T17" fmla="*/ 224874255 h 819"/>
                <a:gd name="T18" fmla="*/ 67999529 w 674"/>
                <a:gd name="T19" fmla="*/ 224874255 h 819"/>
                <a:gd name="T20" fmla="*/ 23082570 w 674"/>
                <a:gd name="T21" fmla="*/ 177827380 h 819"/>
                <a:gd name="T22" fmla="*/ 23082570 w 674"/>
                <a:gd name="T23" fmla="*/ 39995312 h 819"/>
                <a:gd name="T24" fmla="*/ 67999529 w 674"/>
                <a:gd name="T25" fmla="*/ 0 h 819"/>
                <a:gd name="T26" fmla="*/ 1415437178 w 674"/>
                <a:gd name="T27" fmla="*/ 0 h 819"/>
                <a:gd name="T28" fmla="*/ 1460854109 w 674"/>
                <a:gd name="T29" fmla="*/ 45085377 h 819"/>
                <a:gd name="T30" fmla="*/ 1460854109 w 674"/>
                <a:gd name="T31" fmla="*/ 191701471 h 819"/>
                <a:gd name="T32" fmla="*/ 1458729657 w 674"/>
                <a:gd name="T33" fmla="*/ 205471911 h 819"/>
                <a:gd name="T34" fmla="*/ 1451728403 w 674"/>
                <a:gd name="T35" fmla="*/ 224874255 h 819"/>
                <a:gd name="T36" fmla="*/ 1453837196 w 674"/>
                <a:gd name="T37" fmla="*/ 220773085 h 819"/>
                <a:gd name="T38" fmla="*/ 298805398 w 674"/>
                <a:gd name="T39" fmla="*/ 1714655374 h 819"/>
                <a:gd name="T40" fmla="*/ 892477599 w 674"/>
                <a:gd name="T41" fmla="*/ 1714655374 h 819"/>
                <a:gd name="T42" fmla="*/ 1483443497 w 674"/>
                <a:gd name="T43" fmla="*/ 1714655374 h 819"/>
                <a:gd name="T44" fmla="*/ 901071203 w 674"/>
                <a:gd name="T45" fmla="*/ 1338067130 h 819"/>
                <a:gd name="T46" fmla="*/ 1485464242 w 674"/>
                <a:gd name="T47" fmla="*/ 1338067130 h 819"/>
                <a:gd name="T48" fmla="*/ 1526729097 w 674"/>
                <a:gd name="T49" fmla="*/ 1380181100 h 819"/>
                <a:gd name="T50" fmla="*/ 1526729097 w 674"/>
                <a:gd name="T51" fmla="*/ 1518014804 h 819"/>
                <a:gd name="T52" fmla="*/ 1485464242 w 674"/>
                <a:gd name="T53" fmla="*/ 1565124966 h 819"/>
                <a:gd name="T54" fmla="*/ 899479284 w 674"/>
                <a:gd name="T55" fmla="*/ 1565124966 h 819"/>
                <a:gd name="T56" fmla="*/ 858051680 w 674"/>
                <a:gd name="T57" fmla="*/ 1525126678 h 819"/>
                <a:gd name="T58" fmla="*/ 858051680 w 674"/>
                <a:gd name="T59" fmla="*/ 1385323779 h 819"/>
                <a:gd name="T60" fmla="*/ 872788267 w 674"/>
                <a:gd name="T61" fmla="*/ 1354121744 h 819"/>
                <a:gd name="T62" fmla="*/ 901071203 w 674"/>
                <a:gd name="T63" fmla="*/ 1338067130 h 81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74" h="819">
                  <a:moveTo>
                    <a:pt x="655" y="724"/>
                  </a:moveTo>
                  <a:cubicBezTo>
                    <a:pt x="654" y="724"/>
                    <a:pt x="674" y="721"/>
                    <a:pt x="674" y="744"/>
                  </a:cubicBezTo>
                  <a:cubicBezTo>
                    <a:pt x="674" y="799"/>
                    <a:pt x="674" y="799"/>
                    <a:pt x="674" y="799"/>
                  </a:cubicBezTo>
                  <a:cubicBezTo>
                    <a:pt x="674" y="809"/>
                    <a:pt x="666" y="819"/>
                    <a:pt x="655" y="819"/>
                  </a:cubicBezTo>
                  <a:cubicBezTo>
                    <a:pt x="20" y="819"/>
                    <a:pt x="20" y="819"/>
                    <a:pt x="20" y="819"/>
                  </a:cubicBezTo>
                  <a:cubicBezTo>
                    <a:pt x="10" y="819"/>
                    <a:pt x="0" y="811"/>
                    <a:pt x="1" y="799"/>
                  </a:cubicBezTo>
                  <a:cubicBezTo>
                    <a:pt x="1" y="738"/>
                    <a:pt x="1" y="738"/>
                    <a:pt x="1" y="738"/>
                  </a:cubicBezTo>
                  <a:cubicBezTo>
                    <a:pt x="0" y="735"/>
                    <a:pt x="2" y="730"/>
                    <a:pt x="2" y="726"/>
                  </a:cubicBezTo>
                  <a:cubicBezTo>
                    <a:pt x="518" y="95"/>
                    <a:pt x="518" y="95"/>
                    <a:pt x="518" y="95"/>
                  </a:cubicBezTo>
                  <a:cubicBezTo>
                    <a:pt x="30" y="95"/>
                    <a:pt x="30" y="95"/>
                    <a:pt x="30" y="95"/>
                  </a:cubicBezTo>
                  <a:cubicBezTo>
                    <a:pt x="15" y="95"/>
                    <a:pt x="10" y="88"/>
                    <a:pt x="10" y="75"/>
                  </a:cubicBezTo>
                  <a:cubicBezTo>
                    <a:pt x="10" y="17"/>
                    <a:pt x="10" y="17"/>
                    <a:pt x="10" y="17"/>
                  </a:cubicBezTo>
                  <a:cubicBezTo>
                    <a:pt x="10" y="5"/>
                    <a:pt x="15" y="0"/>
                    <a:pt x="30" y="0"/>
                  </a:cubicBezTo>
                  <a:cubicBezTo>
                    <a:pt x="625" y="0"/>
                    <a:pt x="625" y="0"/>
                    <a:pt x="625" y="0"/>
                  </a:cubicBezTo>
                  <a:cubicBezTo>
                    <a:pt x="637" y="0"/>
                    <a:pt x="645" y="6"/>
                    <a:pt x="645" y="19"/>
                  </a:cubicBezTo>
                  <a:cubicBezTo>
                    <a:pt x="645" y="81"/>
                    <a:pt x="645" y="81"/>
                    <a:pt x="645" y="81"/>
                  </a:cubicBezTo>
                  <a:cubicBezTo>
                    <a:pt x="645" y="82"/>
                    <a:pt x="645" y="85"/>
                    <a:pt x="644" y="87"/>
                  </a:cubicBezTo>
                  <a:cubicBezTo>
                    <a:pt x="641" y="95"/>
                    <a:pt x="641" y="95"/>
                    <a:pt x="641" y="95"/>
                  </a:cubicBezTo>
                  <a:cubicBezTo>
                    <a:pt x="642" y="93"/>
                    <a:pt x="642" y="93"/>
                    <a:pt x="642" y="93"/>
                  </a:cubicBezTo>
                  <a:cubicBezTo>
                    <a:pt x="132" y="724"/>
                    <a:pt x="132" y="724"/>
                    <a:pt x="132" y="724"/>
                  </a:cubicBezTo>
                  <a:cubicBezTo>
                    <a:pt x="394" y="724"/>
                    <a:pt x="394" y="724"/>
                    <a:pt x="394" y="724"/>
                  </a:cubicBezTo>
                  <a:lnTo>
                    <a:pt x="655" y="724"/>
                  </a:lnTo>
                  <a:close/>
                  <a:moveTo>
                    <a:pt x="398" y="565"/>
                  </a:moveTo>
                  <a:cubicBezTo>
                    <a:pt x="656" y="565"/>
                    <a:pt x="656" y="565"/>
                    <a:pt x="656" y="565"/>
                  </a:cubicBezTo>
                  <a:cubicBezTo>
                    <a:pt x="666" y="565"/>
                    <a:pt x="674" y="573"/>
                    <a:pt x="674" y="583"/>
                  </a:cubicBezTo>
                  <a:cubicBezTo>
                    <a:pt x="674" y="641"/>
                    <a:pt x="674" y="641"/>
                    <a:pt x="674" y="641"/>
                  </a:cubicBezTo>
                  <a:cubicBezTo>
                    <a:pt x="674" y="652"/>
                    <a:pt x="666" y="661"/>
                    <a:pt x="656" y="661"/>
                  </a:cubicBezTo>
                  <a:cubicBezTo>
                    <a:pt x="397" y="661"/>
                    <a:pt x="397" y="661"/>
                    <a:pt x="397" y="661"/>
                  </a:cubicBezTo>
                  <a:cubicBezTo>
                    <a:pt x="386" y="661"/>
                    <a:pt x="379" y="654"/>
                    <a:pt x="379" y="644"/>
                  </a:cubicBezTo>
                  <a:cubicBezTo>
                    <a:pt x="379" y="585"/>
                    <a:pt x="379" y="585"/>
                    <a:pt x="379" y="585"/>
                  </a:cubicBezTo>
                  <a:cubicBezTo>
                    <a:pt x="380" y="580"/>
                    <a:pt x="382" y="576"/>
                    <a:pt x="385" y="572"/>
                  </a:cubicBezTo>
                  <a:cubicBezTo>
                    <a:pt x="385" y="572"/>
                    <a:pt x="386" y="565"/>
                    <a:pt x="398" y="565"/>
                  </a:cubicBezTo>
                  <a:close/>
                </a:path>
              </a:pathLst>
            </a:custGeom>
            <a:solidFill>
              <a:srgbClr val="9EBE5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 name="Freeform 8">
              <a:extLst>
                <a:ext uri="{FF2B5EF4-FFF2-40B4-BE49-F238E27FC236}">
                  <a16:creationId xmlns:a16="http://schemas.microsoft.com/office/drawing/2014/main" id="{C0C176A0-4405-113B-0A7F-EFFAED30CD00}"/>
                </a:ext>
              </a:extLst>
            </p:cNvPr>
            <p:cNvSpPr>
              <a:spLocks noEditPoints="1"/>
            </p:cNvSpPr>
            <p:nvPr userDrawn="1"/>
          </p:nvSpPr>
          <p:spPr bwMode="auto">
            <a:xfrm>
              <a:off x="4133" y="1189"/>
              <a:ext cx="986" cy="1105"/>
            </a:xfrm>
            <a:custGeom>
              <a:avLst/>
              <a:gdLst>
                <a:gd name="T0" fmla="*/ 26658435 w 417"/>
                <a:gd name="T1" fmla="*/ 1104057219 h 466"/>
                <a:gd name="T2" fmla="*/ 2016564 w 417"/>
                <a:gd name="T3" fmla="*/ 1084997487 h 466"/>
                <a:gd name="T4" fmla="*/ 2016564 w 417"/>
                <a:gd name="T5" fmla="*/ 1071148297 h 466"/>
                <a:gd name="T6" fmla="*/ 4768183 w 417"/>
                <a:gd name="T7" fmla="*/ 1065967725 h 466"/>
                <a:gd name="T8" fmla="*/ 440005146 w 417"/>
                <a:gd name="T9" fmla="*/ 19018883 h 466"/>
                <a:gd name="T10" fmla="*/ 471651445 w 417"/>
                <a:gd name="T11" fmla="*/ 0 h 466"/>
                <a:gd name="T12" fmla="*/ 476419656 w 417"/>
                <a:gd name="T13" fmla="*/ 0 h 466"/>
                <a:gd name="T14" fmla="*/ 505945896 w 417"/>
                <a:gd name="T15" fmla="*/ 21137875 h 466"/>
                <a:gd name="T16" fmla="*/ 612172944 w 417"/>
                <a:gd name="T17" fmla="*/ 284828039 h 466"/>
                <a:gd name="T18" fmla="*/ 833293680 w 417"/>
                <a:gd name="T19" fmla="*/ 805128453 h 466"/>
                <a:gd name="T20" fmla="*/ 939517011 w 417"/>
                <a:gd name="T21" fmla="*/ 1065967725 h 466"/>
                <a:gd name="T22" fmla="*/ 936767478 w 417"/>
                <a:gd name="T23" fmla="*/ 1065967725 h 466"/>
                <a:gd name="T24" fmla="*/ 941198430 w 417"/>
                <a:gd name="T25" fmla="*/ 1084997487 h 466"/>
                <a:gd name="T26" fmla="*/ 916425650 w 417"/>
                <a:gd name="T27" fmla="*/ 1104057219 h 466"/>
                <a:gd name="T28" fmla="*/ 26658435 w 417"/>
                <a:gd name="T29" fmla="*/ 1104057219 h 466"/>
                <a:gd name="T30" fmla="*/ 173692259 w 417"/>
                <a:gd name="T31" fmla="*/ 974102843 h 466"/>
                <a:gd name="T32" fmla="*/ 332252753 w 417"/>
                <a:gd name="T33" fmla="*/ 974102843 h 466"/>
                <a:gd name="T34" fmla="*/ 767506131 w 417"/>
                <a:gd name="T35" fmla="*/ 974102843 h 466"/>
                <a:gd name="T36" fmla="*/ 471651445 w 417"/>
                <a:gd name="T37" fmla="*/ 238808028 h 466"/>
                <a:gd name="T38" fmla="*/ 173692259 w 417"/>
                <a:gd name="T39" fmla="*/ 974102843 h 4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17" h="466">
                  <a:moveTo>
                    <a:pt x="12" y="466"/>
                  </a:moveTo>
                  <a:cubicBezTo>
                    <a:pt x="4" y="466"/>
                    <a:pt x="0" y="463"/>
                    <a:pt x="1" y="458"/>
                  </a:cubicBezTo>
                  <a:cubicBezTo>
                    <a:pt x="0" y="455"/>
                    <a:pt x="0" y="453"/>
                    <a:pt x="1" y="452"/>
                  </a:cubicBezTo>
                  <a:cubicBezTo>
                    <a:pt x="2" y="450"/>
                    <a:pt x="2" y="450"/>
                    <a:pt x="2" y="450"/>
                  </a:cubicBezTo>
                  <a:cubicBezTo>
                    <a:pt x="195" y="8"/>
                    <a:pt x="195" y="8"/>
                    <a:pt x="195" y="8"/>
                  </a:cubicBezTo>
                  <a:cubicBezTo>
                    <a:pt x="197" y="5"/>
                    <a:pt x="198" y="0"/>
                    <a:pt x="209" y="0"/>
                  </a:cubicBezTo>
                  <a:cubicBezTo>
                    <a:pt x="211" y="0"/>
                    <a:pt x="211" y="0"/>
                    <a:pt x="211" y="0"/>
                  </a:cubicBezTo>
                  <a:cubicBezTo>
                    <a:pt x="222" y="0"/>
                    <a:pt x="223" y="7"/>
                    <a:pt x="224" y="9"/>
                  </a:cubicBezTo>
                  <a:cubicBezTo>
                    <a:pt x="239" y="46"/>
                    <a:pt x="255" y="83"/>
                    <a:pt x="271" y="120"/>
                  </a:cubicBezTo>
                  <a:cubicBezTo>
                    <a:pt x="369" y="340"/>
                    <a:pt x="369" y="340"/>
                    <a:pt x="369" y="340"/>
                  </a:cubicBezTo>
                  <a:cubicBezTo>
                    <a:pt x="385" y="377"/>
                    <a:pt x="401" y="414"/>
                    <a:pt x="416" y="450"/>
                  </a:cubicBezTo>
                  <a:cubicBezTo>
                    <a:pt x="415" y="450"/>
                    <a:pt x="415" y="450"/>
                    <a:pt x="415" y="450"/>
                  </a:cubicBezTo>
                  <a:cubicBezTo>
                    <a:pt x="417" y="458"/>
                    <a:pt x="417" y="458"/>
                    <a:pt x="417" y="458"/>
                  </a:cubicBezTo>
                  <a:cubicBezTo>
                    <a:pt x="417" y="463"/>
                    <a:pt x="414" y="466"/>
                    <a:pt x="406" y="466"/>
                  </a:cubicBezTo>
                  <a:lnTo>
                    <a:pt x="12" y="466"/>
                  </a:lnTo>
                  <a:close/>
                  <a:moveTo>
                    <a:pt x="77" y="411"/>
                  </a:moveTo>
                  <a:cubicBezTo>
                    <a:pt x="147" y="411"/>
                    <a:pt x="147" y="411"/>
                    <a:pt x="147" y="411"/>
                  </a:cubicBezTo>
                  <a:cubicBezTo>
                    <a:pt x="340" y="411"/>
                    <a:pt x="340" y="411"/>
                    <a:pt x="340" y="411"/>
                  </a:cubicBezTo>
                  <a:cubicBezTo>
                    <a:pt x="209" y="101"/>
                    <a:pt x="209" y="101"/>
                    <a:pt x="209" y="101"/>
                  </a:cubicBezTo>
                  <a:lnTo>
                    <a:pt x="77" y="411"/>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9" name="Freeform 9">
              <a:extLst>
                <a:ext uri="{FF2B5EF4-FFF2-40B4-BE49-F238E27FC236}">
                  <a16:creationId xmlns:a16="http://schemas.microsoft.com/office/drawing/2014/main" id="{0CCCD826-6278-4F80-F397-6C9C39CD5890}"/>
                </a:ext>
              </a:extLst>
            </p:cNvPr>
            <p:cNvSpPr>
              <a:spLocks noEditPoints="1"/>
            </p:cNvSpPr>
            <p:nvPr userDrawn="1"/>
          </p:nvSpPr>
          <p:spPr bwMode="auto">
            <a:xfrm>
              <a:off x="5259" y="1187"/>
              <a:ext cx="941" cy="1107"/>
            </a:xfrm>
            <a:custGeom>
              <a:avLst/>
              <a:gdLst>
                <a:gd name="T0" fmla="*/ 897379222 w 398"/>
                <a:gd name="T1" fmla="*/ 30594420 h 467"/>
                <a:gd name="T2" fmla="*/ 890358234 w 398"/>
                <a:gd name="T3" fmla="*/ 1076168270 h 467"/>
                <a:gd name="T4" fmla="*/ 863748004 w 398"/>
                <a:gd name="T5" fmla="*/ 1100058818 h 467"/>
                <a:gd name="T6" fmla="*/ 771485685 w 398"/>
                <a:gd name="T7" fmla="*/ 1100058818 h 467"/>
                <a:gd name="T8" fmla="*/ 125893508 w 398"/>
                <a:gd name="T9" fmla="*/ 184128005 h 467"/>
                <a:gd name="T10" fmla="*/ 122136901 w 398"/>
                <a:gd name="T11" fmla="*/ 754173992 h 467"/>
                <a:gd name="T12" fmla="*/ 376580847 w 398"/>
                <a:gd name="T13" fmla="*/ 754173992 h 467"/>
                <a:gd name="T14" fmla="*/ 398430025 w 398"/>
                <a:gd name="T15" fmla="*/ 777275989 h 467"/>
                <a:gd name="T16" fmla="*/ 398430025 w 398"/>
                <a:gd name="T17" fmla="*/ 854743724 h 467"/>
                <a:gd name="T18" fmla="*/ 376580847 w 398"/>
                <a:gd name="T19" fmla="*/ 883384289 h 467"/>
                <a:gd name="T20" fmla="*/ 24536535 w 398"/>
                <a:gd name="T21" fmla="*/ 878310296 h 467"/>
                <a:gd name="T22" fmla="*/ 23013058 w 398"/>
                <a:gd name="T23" fmla="*/ 878310296 h 467"/>
                <a:gd name="T24" fmla="*/ 0 w 398"/>
                <a:gd name="T25" fmla="*/ 859366371 h 467"/>
                <a:gd name="T26" fmla="*/ 6865536 w 398"/>
                <a:gd name="T27" fmla="*/ 25974653 h 467"/>
                <a:gd name="T28" fmla="*/ 31374522 w 398"/>
                <a:gd name="T29" fmla="*/ 2072546 h 467"/>
                <a:gd name="T30" fmla="*/ 125893508 w 398"/>
                <a:gd name="T31" fmla="*/ 2072546 h 467"/>
                <a:gd name="T32" fmla="*/ 148746381 w 398"/>
                <a:gd name="T33" fmla="*/ 13823806 h 467"/>
                <a:gd name="T34" fmla="*/ 768580627 w 398"/>
                <a:gd name="T35" fmla="*/ 885333514 h 467"/>
                <a:gd name="T36" fmla="*/ 775022528 w 398"/>
                <a:gd name="T37" fmla="*/ 23886284 h 467"/>
                <a:gd name="T38" fmla="*/ 798083455 w 398"/>
                <a:gd name="T39" fmla="*/ 7074865 h 467"/>
                <a:gd name="T40" fmla="*/ 870741434 w 398"/>
                <a:gd name="T41" fmla="*/ 7074865 h 467"/>
                <a:gd name="T42" fmla="*/ 888769892 w 398"/>
                <a:gd name="T43" fmla="*/ 13823806 h 467"/>
                <a:gd name="T44" fmla="*/ 897379222 w 398"/>
                <a:gd name="T45" fmla="*/ 30594420 h 467"/>
                <a:gd name="T46" fmla="*/ 502483131 w 398"/>
                <a:gd name="T47" fmla="*/ 967923553 h 467"/>
                <a:gd name="T48" fmla="*/ 525479561 w 398"/>
                <a:gd name="T49" fmla="*/ 991784983 h 467"/>
                <a:gd name="T50" fmla="*/ 525479561 w 398"/>
                <a:gd name="T51" fmla="*/ 1069462303 h 467"/>
                <a:gd name="T52" fmla="*/ 502483131 w 398"/>
                <a:gd name="T53" fmla="*/ 1097986322 h 467"/>
                <a:gd name="T54" fmla="*/ 23013058 w 398"/>
                <a:gd name="T55" fmla="*/ 1097986322 h 467"/>
                <a:gd name="T56" fmla="*/ 0 w 398"/>
                <a:gd name="T57" fmla="*/ 1074095937 h 467"/>
                <a:gd name="T58" fmla="*/ 0 w 398"/>
                <a:gd name="T59" fmla="*/ 993579494 h 467"/>
                <a:gd name="T60" fmla="*/ 24536535 w 398"/>
                <a:gd name="T61" fmla="*/ 967923553 h 467"/>
                <a:gd name="T62" fmla="*/ 264174943 w 398"/>
                <a:gd name="T63" fmla="*/ 967923553 h 467"/>
                <a:gd name="T64" fmla="*/ 502483131 w 398"/>
                <a:gd name="T65" fmla="*/ 967923553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98" h="467">
                  <a:moveTo>
                    <a:pt x="398" y="13"/>
                  </a:moveTo>
                  <a:cubicBezTo>
                    <a:pt x="395" y="457"/>
                    <a:pt x="395" y="457"/>
                    <a:pt x="395" y="457"/>
                  </a:cubicBezTo>
                  <a:cubicBezTo>
                    <a:pt x="395" y="464"/>
                    <a:pt x="390" y="467"/>
                    <a:pt x="383" y="467"/>
                  </a:cubicBezTo>
                  <a:cubicBezTo>
                    <a:pt x="342" y="467"/>
                    <a:pt x="342" y="467"/>
                    <a:pt x="342" y="467"/>
                  </a:cubicBezTo>
                  <a:cubicBezTo>
                    <a:pt x="56" y="78"/>
                    <a:pt x="56" y="78"/>
                    <a:pt x="56" y="78"/>
                  </a:cubicBezTo>
                  <a:cubicBezTo>
                    <a:pt x="54" y="320"/>
                    <a:pt x="54" y="320"/>
                    <a:pt x="54" y="320"/>
                  </a:cubicBezTo>
                  <a:cubicBezTo>
                    <a:pt x="167" y="320"/>
                    <a:pt x="167" y="320"/>
                    <a:pt x="167" y="320"/>
                  </a:cubicBezTo>
                  <a:cubicBezTo>
                    <a:pt x="173" y="320"/>
                    <a:pt x="177" y="324"/>
                    <a:pt x="177" y="330"/>
                  </a:cubicBezTo>
                  <a:cubicBezTo>
                    <a:pt x="177" y="363"/>
                    <a:pt x="177" y="363"/>
                    <a:pt x="177" y="363"/>
                  </a:cubicBezTo>
                  <a:cubicBezTo>
                    <a:pt x="177" y="369"/>
                    <a:pt x="173" y="375"/>
                    <a:pt x="167" y="375"/>
                  </a:cubicBezTo>
                  <a:cubicBezTo>
                    <a:pt x="11" y="373"/>
                    <a:pt x="11" y="373"/>
                    <a:pt x="11" y="373"/>
                  </a:cubicBezTo>
                  <a:cubicBezTo>
                    <a:pt x="10" y="373"/>
                    <a:pt x="10" y="373"/>
                    <a:pt x="10" y="373"/>
                  </a:cubicBezTo>
                  <a:cubicBezTo>
                    <a:pt x="4" y="373"/>
                    <a:pt x="1" y="370"/>
                    <a:pt x="0" y="365"/>
                  </a:cubicBezTo>
                  <a:cubicBezTo>
                    <a:pt x="3" y="11"/>
                    <a:pt x="3" y="11"/>
                    <a:pt x="3" y="11"/>
                  </a:cubicBezTo>
                  <a:cubicBezTo>
                    <a:pt x="3" y="5"/>
                    <a:pt x="7" y="0"/>
                    <a:pt x="14" y="1"/>
                  </a:cubicBezTo>
                  <a:cubicBezTo>
                    <a:pt x="56" y="1"/>
                    <a:pt x="56" y="1"/>
                    <a:pt x="56" y="1"/>
                  </a:cubicBezTo>
                  <a:cubicBezTo>
                    <a:pt x="60" y="1"/>
                    <a:pt x="64" y="3"/>
                    <a:pt x="66" y="6"/>
                  </a:cubicBezTo>
                  <a:cubicBezTo>
                    <a:pt x="341" y="376"/>
                    <a:pt x="341" y="376"/>
                    <a:pt x="341" y="376"/>
                  </a:cubicBezTo>
                  <a:cubicBezTo>
                    <a:pt x="344" y="10"/>
                    <a:pt x="344" y="10"/>
                    <a:pt x="344" y="10"/>
                  </a:cubicBezTo>
                  <a:cubicBezTo>
                    <a:pt x="345" y="5"/>
                    <a:pt x="349" y="3"/>
                    <a:pt x="354" y="3"/>
                  </a:cubicBezTo>
                  <a:cubicBezTo>
                    <a:pt x="386" y="3"/>
                    <a:pt x="386" y="3"/>
                    <a:pt x="386" y="3"/>
                  </a:cubicBezTo>
                  <a:cubicBezTo>
                    <a:pt x="389" y="3"/>
                    <a:pt x="391" y="4"/>
                    <a:pt x="394" y="6"/>
                  </a:cubicBezTo>
                  <a:cubicBezTo>
                    <a:pt x="396" y="7"/>
                    <a:pt x="398" y="10"/>
                    <a:pt x="398" y="13"/>
                  </a:cubicBezTo>
                  <a:close/>
                  <a:moveTo>
                    <a:pt x="223" y="411"/>
                  </a:moveTo>
                  <a:cubicBezTo>
                    <a:pt x="229" y="411"/>
                    <a:pt x="233" y="415"/>
                    <a:pt x="233" y="421"/>
                  </a:cubicBezTo>
                  <a:cubicBezTo>
                    <a:pt x="233" y="454"/>
                    <a:pt x="233" y="454"/>
                    <a:pt x="233" y="454"/>
                  </a:cubicBezTo>
                  <a:cubicBezTo>
                    <a:pt x="233" y="460"/>
                    <a:pt x="230" y="466"/>
                    <a:pt x="223" y="466"/>
                  </a:cubicBezTo>
                  <a:cubicBezTo>
                    <a:pt x="10" y="466"/>
                    <a:pt x="10" y="466"/>
                    <a:pt x="10" y="466"/>
                  </a:cubicBezTo>
                  <a:cubicBezTo>
                    <a:pt x="4" y="466"/>
                    <a:pt x="0" y="462"/>
                    <a:pt x="0" y="456"/>
                  </a:cubicBezTo>
                  <a:cubicBezTo>
                    <a:pt x="0" y="422"/>
                    <a:pt x="0" y="422"/>
                    <a:pt x="0" y="422"/>
                  </a:cubicBezTo>
                  <a:cubicBezTo>
                    <a:pt x="0" y="416"/>
                    <a:pt x="4" y="411"/>
                    <a:pt x="11" y="411"/>
                  </a:cubicBezTo>
                  <a:cubicBezTo>
                    <a:pt x="117" y="411"/>
                    <a:pt x="117" y="411"/>
                    <a:pt x="117" y="411"/>
                  </a:cubicBezTo>
                  <a:lnTo>
                    <a:pt x="223" y="411"/>
                  </a:lnTo>
                  <a:close/>
                </a:path>
              </a:pathLst>
            </a:custGeom>
            <a:solidFill>
              <a:srgbClr val="C03B2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0" name="Freeform 10">
              <a:extLst>
                <a:ext uri="{FF2B5EF4-FFF2-40B4-BE49-F238E27FC236}">
                  <a16:creationId xmlns:a16="http://schemas.microsoft.com/office/drawing/2014/main" id="{C00BFDEF-AA09-E059-4EF3-987C6BFD3E48}"/>
                </a:ext>
              </a:extLst>
            </p:cNvPr>
            <p:cNvSpPr>
              <a:spLocks noEditPoints="1"/>
            </p:cNvSpPr>
            <p:nvPr userDrawn="1"/>
          </p:nvSpPr>
          <p:spPr bwMode="auto">
            <a:xfrm>
              <a:off x="6280" y="1189"/>
              <a:ext cx="1102" cy="1105"/>
            </a:xfrm>
            <a:custGeom>
              <a:avLst/>
              <a:gdLst>
                <a:gd name="T0" fmla="*/ 154128366 w 466"/>
                <a:gd name="T1" fmla="*/ 943010351 h 466"/>
                <a:gd name="T2" fmla="*/ 0 w 466"/>
                <a:gd name="T3" fmla="*/ 552442640 h 466"/>
                <a:gd name="T4" fmla="*/ 154128366 w 466"/>
                <a:gd name="T5" fmla="*/ 163833771 h 466"/>
                <a:gd name="T6" fmla="*/ 527029454 w 466"/>
                <a:gd name="T7" fmla="*/ 0 h 466"/>
                <a:gd name="T8" fmla="*/ 900145882 w 466"/>
                <a:gd name="T9" fmla="*/ 163833771 h 466"/>
                <a:gd name="T10" fmla="*/ 1054209675 w 466"/>
                <a:gd name="T11" fmla="*/ 552442640 h 466"/>
                <a:gd name="T12" fmla="*/ 900145882 w 466"/>
                <a:gd name="T13" fmla="*/ 943010351 h 466"/>
                <a:gd name="T14" fmla="*/ 527029454 w 466"/>
                <a:gd name="T15" fmla="*/ 1104057219 h 466"/>
                <a:gd name="T16" fmla="*/ 154128366 w 466"/>
                <a:gd name="T17" fmla="*/ 943010351 h 466"/>
                <a:gd name="T18" fmla="*/ 237118879 w 466"/>
                <a:gd name="T19" fmla="*/ 248554821 h 466"/>
                <a:gd name="T20" fmla="*/ 117706387 w 466"/>
                <a:gd name="T21" fmla="*/ 552442640 h 466"/>
                <a:gd name="T22" fmla="*/ 237118879 w 466"/>
                <a:gd name="T23" fmla="*/ 855407497 h 466"/>
                <a:gd name="T24" fmla="*/ 527029454 w 466"/>
                <a:gd name="T25" fmla="*/ 983016883 h 466"/>
                <a:gd name="T26" fmla="*/ 817155276 w 466"/>
                <a:gd name="T27" fmla="*/ 855407497 h 466"/>
                <a:gd name="T28" fmla="*/ 938406617 w 466"/>
                <a:gd name="T29" fmla="*/ 552442640 h 466"/>
                <a:gd name="T30" fmla="*/ 817155276 w 466"/>
                <a:gd name="T31" fmla="*/ 248554821 h 466"/>
                <a:gd name="T32" fmla="*/ 527029454 w 466"/>
                <a:gd name="T33" fmla="*/ 121039414 h 466"/>
                <a:gd name="T34" fmla="*/ 237118879 w 466"/>
                <a:gd name="T35" fmla="*/ 248554821 h 4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6" h="466">
                  <a:moveTo>
                    <a:pt x="68" y="398"/>
                  </a:moveTo>
                  <a:cubicBezTo>
                    <a:pt x="24" y="354"/>
                    <a:pt x="2" y="299"/>
                    <a:pt x="0" y="233"/>
                  </a:cubicBezTo>
                  <a:cubicBezTo>
                    <a:pt x="2" y="167"/>
                    <a:pt x="24" y="112"/>
                    <a:pt x="68" y="69"/>
                  </a:cubicBezTo>
                  <a:cubicBezTo>
                    <a:pt x="112" y="24"/>
                    <a:pt x="167" y="2"/>
                    <a:pt x="233" y="0"/>
                  </a:cubicBezTo>
                  <a:cubicBezTo>
                    <a:pt x="299" y="2"/>
                    <a:pt x="354" y="24"/>
                    <a:pt x="398" y="69"/>
                  </a:cubicBezTo>
                  <a:cubicBezTo>
                    <a:pt x="442" y="112"/>
                    <a:pt x="465" y="167"/>
                    <a:pt x="466" y="233"/>
                  </a:cubicBezTo>
                  <a:cubicBezTo>
                    <a:pt x="465" y="299"/>
                    <a:pt x="442" y="354"/>
                    <a:pt x="398" y="398"/>
                  </a:cubicBezTo>
                  <a:cubicBezTo>
                    <a:pt x="354" y="441"/>
                    <a:pt x="299" y="464"/>
                    <a:pt x="233" y="466"/>
                  </a:cubicBezTo>
                  <a:cubicBezTo>
                    <a:pt x="167" y="464"/>
                    <a:pt x="112" y="441"/>
                    <a:pt x="68" y="398"/>
                  </a:cubicBezTo>
                  <a:close/>
                  <a:moveTo>
                    <a:pt x="105" y="105"/>
                  </a:moveTo>
                  <a:cubicBezTo>
                    <a:pt x="70" y="139"/>
                    <a:pt x="53" y="181"/>
                    <a:pt x="52" y="233"/>
                  </a:cubicBezTo>
                  <a:cubicBezTo>
                    <a:pt x="53" y="284"/>
                    <a:pt x="70" y="327"/>
                    <a:pt x="105" y="361"/>
                  </a:cubicBezTo>
                  <a:cubicBezTo>
                    <a:pt x="139" y="395"/>
                    <a:pt x="181" y="413"/>
                    <a:pt x="233" y="415"/>
                  </a:cubicBezTo>
                  <a:cubicBezTo>
                    <a:pt x="284" y="413"/>
                    <a:pt x="327" y="395"/>
                    <a:pt x="361" y="361"/>
                  </a:cubicBezTo>
                  <a:cubicBezTo>
                    <a:pt x="395" y="327"/>
                    <a:pt x="413" y="284"/>
                    <a:pt x="415" y="233"/>
                  </a:cubicBezTo>
                  <a:cubicBezTo>
                    <a:pt x="413" y="181"/>
                    <a:pt x="395" y="139"/>
                    <a:pt x="361" y="105"/>
                  </a:cubicBezTo>
                  <a:cubicBezTo>
                    <a:pt x="327" y="71"/>
                    <a:pt x="284" y="53"/>
                    <a:pt x="233" y="51"/>
                  </a:cubicBezTo>
                  <a:cubicBezTo>
                    <a:pt x="181" y="53"/>
                    <a:pt x="139" y="71"/>
                    <a:pt x="105" y="105"/>
                  </a:cubicBezTo>
                  <a:close/>
                </a:path>
              </a:pathLst>
            </a:custGeom>
            <a:solidFill>
              <a:srgbClr val="64324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1" name="Freeform 11">
              <a:extLst>
                <a:ext uri="{FF2B5EF4-FFF2-40B4-BE49-F238E27FC236}">
                  <a16:creationId xmlns:a16="http://schemas.microsoft.com/office/drawing/2014/main" id="{1E68B790-1888-8DD7-6E05-86C03B863B4A}"/>
                </a:ext>
              </a:extLst>
            </p:cNvPr>
            <p:cNvSpPr>
              <a:spLocks noEditPoints="1"/>
            </p:cNvSpPr>
            <p:nvPr userDrawn="1"/>
          </p:nvSpPr>
          <p:spPr bwMode="auto">
            <a:xfrm>
              <a:off x="4230" y="2552"/>
              <a:ext cx="334" cy="551"/>
            </a:xfrm>
            <a:custGeom>
              <a:avLst/>
              <a:gdLst>
                <a:gd name="T0" fmla="*/ 0 w 334"/>
                <a:gd name="T1" fmla="*/ 0 h 551"/>
                <a:gd name="T2" fmla="*/ 334 w 334"/>
                <a:gd name="T3" fmla="*/ 0 h 551"/>
                <a:gd name="T4" fmla="*/ 334 w 334"/>
                <a:gd name="T5" fmla="*/ 31 h 551"/>
                <a:gd name="T6" fmla="*/ 0 w 334"/>
                <a:gd name="T7" fmla="*/ 31 h 551"/>
                <a:gd name="T8" fmla="*/ 0 w 334"/>
                <a:gd name="T9" fmla="*/ 0 h 551"/>
                <a:gd name="T10" fmla="*/ 156 w 334"/>
                <a:gd name="T11" fmla="*/ 50 h 551"/>
                <a:gd name="T12" fmla="*/ 156 w 334"/>
                <a:gd name="T13" fmla="*/ 551 h 551"/>
                <a:gd name="T14" fmla="*/ 128 w 334"/>
                <a:gd name="T15" fmla="*/ 551 h 551"/>
                <a:gd name="T16" fmla="*/ 128 w 334"/>
                <a:gd name="T17" fmla="*/ 79 h 551"/>
                <a:gd name="T18" fmla="*/ 0 w 334"/>
                <a:gd name="T19" fmla="*/ 79 h 551"/>
                <a:gd name="T20" fmla="*/ 0 w 334"/>
                <a:gd name="T21" fmla="*/ 50 h 551"/>
                <a:gd name="T22" fmla="*/ 156 w 334"/>
                <a:gd name="T23" fmla="*/ 50 h 551"/>
                <a:gd name="T24" fmla="*/ 334 w 334"/>
                <a:gd name="T25" fmla="*/ 50 h 551"/>
                <a:gd name="T26" fmla="*/ 334 w 334"/>
                <a:gd name="T27" fmla="*/ 79 h 551"/>
                <a:gd name="T28" fmla="*/ 206 w 334"/>
                <a:gd name="T29" fmla="*/ 79 h 551"/>
                <a:gd name="T30" fmla="*/ 206 w 334"/>
                <a:gd name="T31" fmla="*/ 551 h 551"/>
                <a:gd name="T32" fmla="*/ 175 w 334"/>
                <a:gd name="T33" fmla="*/ 551 h 551"/>
                <a:gd name="T34" fmla="*/ 175 w 334"/>
                <a:gd name="T35" fmla="*/ 50 h 551"/>
                <a:gd name="T36" fmla="*/ 334 w 334"/>
                <a:gd name="T37" fmla="*/ 50 h 5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34" h="551">
                  <a:moveTo>
                    <a:pt x="0" y="0"/>
                  </a:moveTo>
                  <a:lnTo>
                    <a:pt x="334" y="0"/>
                  </a:lnTo>
                  <a:lnTo>
                    <a:pt x="334" y="31"/>
                  </a:lnTo>
                  <a:lnTo>
                    <a:pt x="0" y="31"/>
                  </a:lnTo>
                  <a:lnTo>
                    <a:pt x="0" y="0"/>
                  </a:lnTo>
                  <a:close/>
                  <a:moveTo>
                    <a:pt x="156" y="50"/>
                  </a:moveTo>
                  <a:lnTo>
                    <a:pt x="156" y="551"/>
                  </a:lnTo>
                  <a:lnTo>
                    <a:pt x="128" y="551"/>
                  </a:lnTo>
                  <a:lnTo>
                    <a:pt x="128" y="79"/>
                  </a:lnTo>
                  <a:lnTo>
                    <a:pt x="0" y="79"/>
                  </a:lnTo>
                  <a:lnTo>
                    <a:pt x="0" y="50"/>
                  </a:lnTo>
                  <a:lnTo>
                    <a:pt x="156" y="50"/>
                  </a:lnTo>
                  <a:close/>
                  <a:moveTo>
                    <a:pt x="334" y="50"/>
                  </a:moveTo>
                  <a:lnTo>
                    <a:pt x="334" y="79"/>
                  </a:lnTo>
                  <a:lnTo>
                    <a:pt x="206" y="79"/>
                  </a:lnTo>
                  <a:lnTo>
                    <a:pt x="206" y="551"/>
                  </a:lnTo>
                  <a:lnTo>
                    <a:pt x="175" y="551"/>
                  </a:lnTo>
                  <a:lnTo>
                    <a:pt x="175" y="50"/>
                  </a:lnTo>
                  <a:lnTo>
                    <a:pt x="334" y="50"/>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12">
              <a:extLst>
                <a:ext uri="{FF2B5EF4-FFF2-40B4-BE49-F238E27FC236}">
                  <a16:creationId xmlns:a16="http://schemas.microsoft.com/office/drawing/2014/main" id="{307A9A99-0E34-0305-2E64-7D2C62309A4A}"/>
                </a:ext>
              </a:extLst>
            </p:cNvPr>
            <p:cNvSpPr>
              <a:spLocks noEditPoints="1"/>
            </p:cNvSpPr>
            <p:nvPr userDrawn="1"/>
          </p:nvSpPr>
          <p:spPr bwMode="auto">
            <a:xfrm>
              <a:off x="4599" y="2552"/>
              <a:ext cx="312" cy="551"/>
            </a:xfrm>
            <a:custGeom>
              <a:avLst/>
              <a:gdLst>
                <a:gd name="T0" fmla="*/ 295891719 w 132"/>
                <a:gd name="T1" fmla="*/ 0 h 232"/>
                <a:gd name="T2" fmla="*/ 295891719 w 132"/>
                <a:gd name="T3" fmla="*/ 31976658 h 232"/>
                <a:gd name="T4" fmla="*/ 111981461 w 132"/>
                <a:gd name="T5" fmla="*/ 31976658 h 232"/>
                <a:gd name="T6" fmla="*/ 51443210 w 132"/>
                <a:gd name="T7" fmla="*/ 58299493 h 232"/>
                <a:gd name="T8" fmla="*/ 26510905 w 132"/>
                <a:gd name="T9" fmla="*/ 122107630 h 232"/>
                <a:gd name="T10" fmla="*/ 26510905 w 132"/>
                <a:gd name="T11" fmla="*/ 442759715 h 232"/>
                <a:gd name="T12" fmla="*/ 51443210 w 132"/>
                <a:gd name="T13" fmla="*/ 508305993 h 232"/>
                <a:gd name="T14" fmla="*/ 111981461 w 132"/>
                <a:gd name="T15" fmla="*/ 535913430 h 232"/>
                <a:gd name="T16" fmla="*/ 295891719 w 132"/>
                <a:gd name="T17" fmla="*/ 535913430 h 232"/>
                <a:gd name="T18" fmla="*/ 295891719 w 132"/>
                <a:gd name="T19" fmla="*/ 564828430 h 232"/>
                <a:gd name="T20" fmla="*/ 111981461 w 132"/>
                <a:gd name="T21" fmla="*/ 564828430 h 232"/>
                <a:gd name="T22" fmla="*/ 33265636 w 132"/>
                <a:gd name="T23" fmla="*/ 527724589 h 232"/>
                <a:gd name="T24" fmla="*/ 0 w 132"/>
                <a:gd name="T25" fmla="*/ 442759715 h 232"/>
                <a:gd name="T26" fmla="*/ 0 w 132"/>
                <a:gd name="T27" fmla="*/ 122107630 h 232"/>
                <a:gd name="T28" fmla="*/ 33265636 w 132"/>
                <a:gd name="T29" fmla="*/ 37103839 h 232"/>
                <a:gd name="T30" fmla="*/ 111981461 w 132"/>
                <a:gd name="T31" fmla="*/ 0 h 232"/>
                <a:gd name="T32" fmla="*/ 295891719 w 132"/>
                <a:gd name="T33" fmla="*/ 0 h 232"/>
                <a:gd name="T34" fmla="*/ 47376772 w 132"/>
                <a:gd name="T35" fmla="*/ 122107630 h 232"/>
                <a:gd name="T36" fmla="*/ 65404189 w 132"/>
                <a:gd name="T37" fmla="*/ 70832843 h 232"/>
                <a:gd name="T38" fmla="*/ 111981461 w 132"/>
                <a:gd name="T39" fmla="*/ 51413739 h 232"/>
                <a:gd name="T40" fmla="*/ 295891719 w 132"/>
                <a:gd name="T41" fmla="*/ 51413739 h 232"/>
                <a:gd name="T42" fmla="*/ 295891719 w 132"/>
                <a:gd name="T43" fmla="*/ 79781492 h 232"/>
                <a:gd name="T44" fmla="*/ 111981461 w 132"/>
                <a:gd name="T45" fmla="*/ 79781492 h 232"/>
                <a:gd name="T46" fmla="*/ 85443339 w 132"/>
                <a:gd name="T47" fmla="*/ 92335711 h 232"/>
                <a:gd name="T48" fmla="*/ 73893437 w 132"/>
                <a:gd name="T49" fmla="*/ 122107630 h 232"/>
                <a:gd name="T50" fmla="*/ 73893437 w 132"/>
                <a:gd name="T51" fmla="*/ 202009418 h 232"/>
                <a:gd name="T52" fmla="*/ 295891719 w 132"/>
                <a:gd name="T53" fmla="*/ 202009418 h 232"/>
                <a:gd name="T54" fmla="*/ 295891719 w 132"/>
                <a:gd name="T55" fmla="*/ 233836064 h 232"/>
                <a:gd name="T56" fmla="*/ 47376772 w 132"/>
                <a:gd name="T57" fmla="*/ 233836064 h 232"/>
                <a:gd name="T58" fmla="*/ 47376772 w 132"/>
                <a:gd name="T59" fmla="*/ 122107630 h 232"/>
                <a:gd name="T60" fmla="*/ 47376772 w 132"/>
                <a:gd name="T61" fmla="*/ 253283286 h 232"/>
                <a:gd name="T62" fmla="*/ 295891719 w 132"/>
                <a:gd name="T63" fmla="*/ 253283286 h 232"/>
                <a:gd name="T64" fmla="*/ 295891719 w 132"/>
                <a:gd name="T65" fmla="*/ 283050061 h 232"/>
                <a:gd name="T66" fmla="*/ 73893437 w 132"/>
                <a:gd name="T67" fmla="*/ 283050061 h 232"/>
                <a:gd name="T68" fmla="*/ 73893437 w 132"/>
                <a:gd name="T69" fmla="*/ 442759715 h 232"/>
                <a:gd name="T70" fmla="*/ 85443339 w 132"/>
                <a:gd name="T71" fmla="*/ 472485538 h 232"/>
                <a:gd name="T72" fmla="*/ 111981461 w 132"/>
                <a:gd name="T73" fmla="*/ 484506888 h 232"/>
                <a:gd name="T74" fmla="*/ 295891719 w 132"/>
                <a:gd name="T75" fmla="*/ 484506888 h 232"/>
                <a:gd name="T76" fmla="*/ 295891719 w 132"/>
                <a:gd name="T77" fmla="*/ 513431020 h 232"/>
                <a:gd name="T78" fmla="*/ 111981461 w 132"/>
                <a:gd name="T79" fmla="*/ 513431020 h 232"/>
                <a:gd name="T80" fmla="*/ 65404189 w 132"/>
                <a:gd name="T81" fmla="*/ 494012295 h 232"/>
                <a:gd name="T82" fmla="*/ 47376772 w 132"/>
                <a:gd name="T83" fmla="*/ 442759715 h 232"/>
                <a:gd name="T84" fmla="*/ 47376772 w 132"/>
                <a:gd name="T85" fmla="*/ 253283286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132" y="0"/>
                  </a:moveTo>
                  <a:cubicBezTo>
                    <a:pt x="132" y="13"/>
                    <a:pt x="132" y="13"/>
                    <a:pt x="132" y="13"/>
                  </a:cubicBezTo>
                  <a:cubicBezTo>
                    <a:pt x="50" y="13"/>
                    <a:pt x="50" y="13"/>
                    <a:pt x="50" y="13"/>
                  </a:cubicBezTo>
                  <a:cubicBezTo>
                    <a:pt x="39" y="13"/>
                    <a:pt x="31" y="16"/>
                    <a:pt x="23" y="24"/>
                  </a:cubicBezTo>
                  <a:cubicBezTo>
                    <a:pt x="16" y="31"/>
                    <a:pt x="12" y="40"/>
                    <a:pt x="12" y="50"/>
                  </a:cubicBezTo>
                  <a:cubicBezTo>
                    <a:pt x="12" y="182"/>
                    <a:pt x="12" y="182"/>
                    <a:pt x="12" y="182"/>
                  </a:cubicBezTo>
                  <a:cubicBezTo>
                    <a:pt x="12" y="193"/>
                    <a:pt x="16" y="201"/>
                    <a:pt x="23" y="209"/>
                  </a:cubicBezTo>
                  <a:cubicBezTo>
                    <a:pt x="31" y="216"/>
                    <a:pt x="39" y="220"/>
                    <a:pt x="50" y="220"/>
                  </a:cubicBezTo>
                  <a:cubicBezTo>
                    <a:pt x="132" y="220"/>
                    <a:pt x="132" y="220"/>
                    <a:pt x="132" y="220"/>
                  </a:cubicBezTo>
                  <a:cubicBezTo>
                    <a:pt x="132" y="232"/>
                    <a:pt x="132" y="232"/>
                    <a:pt x="132" y="232"/>
                  </a:cubicBezTo>
                  <a:cubicBezTo>
                    <a:pt x="50" y="232"/>
                    <a:pt x="50" y="232"/>
                    <a:pt x="50" y="232"/>
                  </a:cubicBezTo>
                  <a:cubicBezTo>
                    <a:pt x="36" y="232"/>
                    <a:pt x="24" y="227"/>
                    <a:pt x="15" y="217"/>
                  </a:cubicBezTo>
                  <a:cubicBezTo>
                    <a:pt x="5" y="208"/>
                    <a:pt x="0" y="196"/>
                    <a:pt x="0" y="182"/>
                  </a:cubicBezTo>
                  <a:cubicBezTo>
                    <a:pt x="0" y="50"/>
                    <a:pt x="0" y="50"/>
                    <a:pt x="0" y="50"/>
                  </a:cubicBezTo>
                  <a:cubicBezTo>
                    <a:pt x="0" y="36"/>
                    <a:pt x="5" y="25"/>
                    <a:pt x="15" y="15"/>
                  </a:cubicBezTo>
                  <a:cubicBezTo>
                    <a:pt x="24" y="5"/>
                    <a:pt x="36" y="0"/>
                    <a:pt x="50" y="0"/>
                  </a:cubicBezTo>
                  <a:lnTo>
                    <a:pt x="132" y="0"/>
                  </a:lnTo>
                  <a:close/>
                  <a:moveTo>
                    <a:pt x="21" y="50"/>
                  </a:moveTo>
                  <a:cubicBezTo>
                    <a:pt x="21" y="42"/>
                    <a:pt x="24" y="35"/>
                    <a:pt x="29" y="29"/>
                  </a:cubicBezTo>
                  <a:cubicBezTo>
                    <a:pt x="35" y="24"/>
                    <a:pt x="42" y="21"/>
                    <a:pt x="50" y="21"/>
                  </a:cubicBezTo>
                  <a:cubicBezTo>
                    <a:pt x="132" y="21"/>
                    <a:pt x="132" y="21"/>
                    <a:pt x="132" y="21"/>
                  </a:cubicBezTo>
                  <a:cubicBezTo>
                    <a:pt x="132" y="33"/>
                    <a:pt x="132" y="33"/>
                    <a:pt x="132" y="33"/>
                  </a:cubicBezTo>
                  <a:cubicBezTo>
                    <a:pt x="50" y="33"/>
                    <a:pt x="50" y="33"/>
                    <a:pt x="50" y="33"/>
                  </a:cubicBezTo>
                  <a:cubicBezTo>
                    <a:pt x="45" y="33"/>
                    <a:pt x="41" y="35"/>
                    <a:pt x="38" y="38"/>
                  </a:cubicBezTo>
                  <a:cubicBezTo>
                    <a:pt x="35" y="42"/>
                    <a:pt x="33" y="45"/>
                    <a:pt x="33" y="50"/>
                  </a:cubicBezTo>
                  <a:cubicBezTo>
                    <a:pt x="33" y="83"/>
                    <a:pt x="33" y="83"/>
                    <a:pt x="33" y="83"/>
                  </a:cubicBezTo>
                  <a:cubicBezTo>
                    <a:pt x="132" y="83"/>
                    <a:pt x="132" y="83"/>
                    <a:pt x="132" y="83"/>
                  </a:cubicBezTo>
                  <a:cubicBezTo>
                    <a:pt x="132" y="96"/>
                    <a:pt x="132" y="96"/>
                    <a:pt x="132" y="96"/>
                  </a:cubicBezTo>
                  <a:cubicBezTo>
                    <a:pt x="21" y="96"/>
                    <a:pt x="21" y="96"/>
                    <a:pt x="21" y="96"/>
                  </a:cubicBezTo>
                  <a:lnTo>
                    <a:pt x="21" y="50"/>
                  </a:lnTo>
                  <a:close/>
                  <a:moveTo>
                    <a:pt x="21" y="104"/>
                  </a:moveTo>
                  <a:cubicBezTo>
                    <a:pt x="132" y="104"/>
                    <a:pt x="132" y="104"/>
                    <a:pt x="132" y="104"/>
                  </a:cubicBezTo>
                  <a:cubicBezTo>
                    <a:pt x="132" y="116"/>
                    <a:pt x="132" y="116"/>
                    <a:pt x="132" y="116"/>
                  </a:cubicBezTo>
                  <a:cubicBezTo>
                    <a:pt x="33" y="116"/>
                    <a:pt x="33" y="116"/>
                    <a:pt x="33" y="116"/>
                  </a:cubicBezTo>
                  <a:cubicBezTo>
                    <a:pt x="33" y="182"/>
                    <a:pt x="33" y="182"/>
                    <a:pt x="33" y="182"/>
                  </a:cubicBezTo>
                  <a:cubicBezTo>
                    <a:pt x="33" y="187"/>
                    <a:pt x="35" y="191"/>
                    <a:pt x="38" y="194"/>
                  </a:cubicBezTo>
                  <a:cubicBezTo>
                    <a:pt x="41" y="197"/>
                    <a:pt x="45" y="199"/>
                    <a:pt x="50" y="199"/>
                  </a:cubicBezTo>
                  <a:cubicBezTo>
                    <a:pt x="132" y="199"/>
                    <a:pt x="132" y="199"/>
                    <a:pt x="132" y="199"/>
                  </a:cubicBezTo>
                  <a:cubicBezTo>
                    <a:pt x="132" y="211"/>
                    <a:pt x="132" y="211"/>
                    <a:pt x="132" y="211"/>
                  </a:cubicBezTo>
                  <a:cubicBezTo>
                    <a:pt x="50" y="211"/>
                    <a:pt x="50" y="211"/>
                    <a:pt x="50" y="211"/>
                  </a:cubicBezTo>
                  <a:cubicBezTo>
                    <a:pt x="42" y="211"/>
                    <a:pt x="35" y="209"/>
                    <a:pt x="29" y="203"/>
                  </a:cubicBezTo>
                  <a:cubicBezTo>
                    <a:pt x="24" y="197"/>
                    <a:pt x="21" y="190"/>
                    <a:pt x="21" y="182"/>
                  </a:cubicBezTo>
                  <a:lnTo>
                    <a:pt x="21" y="104"/>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3" name="Freeform 13">
              <a:extLst>
                <a:ext uri="{FF2B5EF4-FFF2-40B4-BE49-F238E27FC236}">
                  <a16:creationId xmlns:a16="http://schemas.microsoft.com/office/drawing/2014/main" id="{7E21C4F7-3364-69F4-5468-0D275A97237A}"/>
                </a:ext>
              </a:extLst>
            </p:cNvPr>
            <p:cNvSpPr>
              <a:spLocks noEditPoints="1"/>
            </p:cNvSpPr>
            <p:nvPr userDrawn="1"/>
          </p:nvSpPr>
          <p:spPr bwMode="auto">
            <a:xfrm>
              <a:off x="4958" y="2552"/>
              <a:ext cx="391" cy="551"/>
            </a:xfrm>
            <a:custGeom>
              <a:avLst/>
              <a:gdLst>
                <a:gd name="T0" fmla="*/ 309548631 w 165"/>
                <a:gd name="T1" fmla="*/ 0 h 232"/>
                <a:gd name="T2" fmla="*/ 363029971 w 165"/>
                <a:gd name="T3" fmla="*/ 24547155 h 232"/>
                <a:gd name="T4" fmla="*/ 386832786 w 165"/>
                <a:gd name="T5" fmla="*/ 79781492 h 232"/>
                <a:gd name="T6" fmla="*/ 386832786 w 165"/>
                <a:gd name="T7" fmla="*/ 564828430 h 232"/>
                <a:gd name="T8" fmla="*/ 358797870 w 165"/>
                <a:gd name="T9" fmla="*/ 564828430 h 232"/>
                <a:gd name="T10" fmla="*/ 358797870 w 165"/>
                <a:gd name="T11" fmla="*/ 79781492 h 232"/>
                <a:gd name="T12" fmla="*/ 344252405 w 165"/>
                <a:gd name="T13" fmla="*/ 46120372 h 232"/>
                <a:gd name="T14" fmla="*/ 309548631 w 165"/>
                <a:gd name="T15" fmla="*/ 31976658 h 232"/>
                <a:gd name="T16" fmla="*/ 77129169 w 165"/>
                <a:gd name="T17" fmla="*/ 31976658 h 232"/>
                <a:gd name="T18" fmla="*/ 42581549 w 165"/>
                <a:gd name="T19" fmla="*/ 46120372 h 232"/>
                <a:gd name="T20" fmla="*/ 27493911 w 165"/>
                <a:gd name="T21" fmla="*/ 79781492 h 232"/>
                <a:gd name="T22" fmla="*/ 27493911 w 165"/>
                <a:gd name="T23" fmla="*/ 564828430 h 232"/>
                <a:gd name="T24" fmla="*/ 0 w 165"/>
                <a:gd name="T25" fmla="*/ 564828430 h 232"/>
                <a:gd name="T26" fmla="*/ 0 w 165"/>
                <a:gd name="T27" fmla="*/ 79781492 h 232"/>
                <a:gd name="T28" fmla="*/ 20815816 w 165"/>
                <a:gd name="T29" fmla="*/ 24547155 h 232"/>
                <a:gd name="T30" fmla="*/ 77129169 w 165"/>
                <a:gd name="T31" fmla="*/ 0 h 232"/>
                <a:gd name="T32" fmla="*/ 309548631 w 165"/>
                <a:gd name="T33" fmla="*/ 0 h 232"/>
                <a:gd name="T34" fmla="*/ 182772758 w 165"/>
                <a:gd name="T35" fmla="*/ 51413739 h 232"/>
                <a:gd name="T36" fmla="*/ 182772758 w 165"/>
                <a:gd name="T37" fmla="*/ 263208180 h 232"/>
                <a:gd name="T38" fmla="*/ 154391061 w 165"/>
                <a:gd name="T39" fmla="*/ 263208180 h 232"/>
                <a:gd name="T40" fmla="*/ 154391061 w 165"/>
                <a:gd name="T41" fmla="*/ 79781492 h 232"/>
                <a:gd name="T42" fmla="*/ 77129169 w 165"/>
                <a:gd name="T43" fmla="*/ 79781492 h 232"/>
                <a:gd name="T44" fmla="*/ 77129169 w 165"/>
                <a:gd name="T45" fmla="*/ 564828430 h 232"/>
                <a:gd name="T46" fmla="*/ 46283478 w 165"/>
                <a:gd name="T47" fmla="*/ 564828430 h 232"/>
                <a:gd name="T48" fmla="*/ 46283478 w 165"/>
                <a:gd name="T49" fmla="*/ 79781492 h 232"/>
                <a:gd name="T50" fmla="*/ 56311393 w 165"/>
                <a:gd name="T51" fmla="*/ 60526659 h 232"/>
                <a:gd name="T52" fmla="*/ 77129169 w 165"/>
                <a:gd name="T53" fmla="*/ 51413739 h 232"/>
                <a:gd name="T54" fmla="*/ 182772758 w 165"/>
                <a:gd name="T55" fmla="*/ 51413739 h 232"/>
                <a:gd name="T56" fmla="*/ 309548631 w 165"/>
                <a:gd name="T57" fmla="*/ 51413739 h 232"/>
                <a:gd name="T58" fmla="*/ 329989272 w 165"/>
                <a:gd name="T59" fmla="*/ 60526659 h 232"/>
                <a:gd name="T60" fmla="*/ 337199511 w 165"/>
                <a:gd name="T61" fmla="*/ 79781492 h 232"/>
                <a:gd name="T62" fmla="*/ 337199511 w 165"/>
                <a:gd name="T63" fmla="*/ 564828430 h 232"/>
                <a:gd name="T64" fmla="*/ 309548631 w 165"/>
                <a:gd name="T65" fmla="*/ 564828430 h 232"/>
                <a:gd name="T66" fmla="*/ 309548631 w 165"/>
                <a:gd name="T67" fmla="*/ 79781492 h 232"/>
                <a:gd name="T68" fmla="*/ 232402284 w 165"/>
                <a:gd name="T69" fmla="*/ 79781492 h 232"/>
                <a:gd name="T70" fmla="*/ 232402284 w 165"/>
                <a:gd name="T71" fmla="*/ 263208180 h 232"/>
                <a:gd name="T72" fmla="*/ 203534936 w 165"/>
                <a:gd name="T73" fmla="*/ 263208180 h 232"/>
                <a:gd name="T74" fmla="*/ 203534936 w 165"/>
                <a:gd name="T75" fmla="*/ 51413739 h 232"/>
                <a:gd name="T76" fmla="*/ 309548631 w 165"/>
                <a:gd name="T77" fmla="*/ 51413739 h 23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65" h="232">
                  <a:moveTo>
                    <a:pt x="132" y="0"/>
                  </a:moveTo>
                  <a:cubicBezTo>
                    <a:pt x="141" y="0"/>
                    <a:pt x="149" y="4"/>
                    <a:pt x="155" y="10"/>
                  </a:cubicBezTo>
                  <a:cubicBezTo>
                    <a:pt x="162" y="16"/>
                    <a:pt x="165" y="24"/>
                    <a:pt x="165" y="33"/>
                  </a:cubicBezTo>
                  <a:cubicBezTo>
                    <a:pt x="165" y="232"/>
                    <a:pt x="165" y="232"/>
                    <a:pt x="165" y="232"/>
                  </a:cubicBezTo>
                  <a:cubicBezTo>
                    <a:pt x="153" y="232"/>
                    <a:pt x="153" y="232"/>
                    <a:pt x="153" y="232"/>
                  </a:cubicBezTo>
                  <a:cubicBezTo>
                    <a:pt x="153" y="33"/>
                    <a:pt x="153" y="33"/>
                    <a:pt x="153" y="33"/>
                  </a:cubicBezTo>
                  <a:cubicBezTo>
                    <a:pt x="153" y="28"/>
                    <a:pt x="151" y="23"/>
                    <a:pt x="147" y="19"/>
                  </a:cubicBezTo>
                  <a:cubicBezTo>
                    <a:pt x="143" y="15"/>
                    <a:pt x="138" y="13"/>
                    <a:pt x="132" y="13"/>
                  </a:cubicBezTo>
                  <a:cubicBezTo>
                    <a:pt x="33" y="13"/>
                    <a:pt x="33" y="13"/>
                    <a:pt x="33" y="13"/>
                  </a:cubicBezTo>
                  <a:cubicBezTo>
                    <a:pt x="27" y="13"/>
                    <a:pt x="22" y="15"/>
                    <a:pt x="18" y="19"/>
                  </a:cubicBezTo>
                  <a:cubicBezTo>
                    <a:pt x="14" y="23"/>
                    <a:pt x="12" y="28"/>
                    <a:pt x="12" y="33"/>
                  </a:cubicBezTo>
                  <a:cubicBezTo>
                    <a:pt x="12" y="232"/>
                    <a:pt x="12" y="232"/>
                    <a:pt x="12" y="232"/>
                  </a:cubicBezTo>
                  <a:cubicBezTo>
                    <a:pt x="0" y="232"/>
                    <a:pt x="0" y="232"/>
                    <a:pt x="0" y="232"/>
                  </a:cubicBezTo>
                  <a:cubicBezTo>
                    <a:pt x="0" y="33"/>
                    <a:pt x="0" y="33"/>
                    <a:pt x="0" y="33"/>
                  </a:cubicBezTo>
                  <a:cubicBezTo>
                    <a:pt x="0" y="24"/>
                    <a:pt x="3" y="16"/>
                    <a:pt x="9" y="10"/>
                  </a:cubicBezTo>
                  <a:cubicBezTo>
                    <a:pt x="16" y="4"/>
                    <a:pt x="24" y="0"/>
                    <a:pt x="33" y="0"/>
                  </a:cubicBezTo>
                  <a:lnTo>
                    <a:pt x="132" y="0"/>
                  </a:lnTo>
                  <a:close/>
                  <a:moveTo>
                    <a:pt x="78" y="21"/>
                  </a:moveTo>
                  <a:cubicBezTo>
                    <a:pt x="78" y="108"/>
                    <a:pt x="78" y="108"/>
                    <a:pt x="78" y="108"/>
                  </a:cubicBezTo>
                  <a:cubicBezTo>
                    <a:pt x="66" y="108"/>
                    <a:pt x="66" y="108"/>
                    <a:pt x="66" y="108"/>
                  </a:cubicBezTo>
                  <a:cubicBezTo>
                    <a:pt x="66" y="33"/>
                    <a:pt x="66" y="33"/>
                    <a:pt x="66" y="33"/>
                  </a:cubicBezTo>
                  <a:cubicBezTo>
                    <a:pt x="33" y="33"/>
                    <a:pt x="33" y="33"/>
                    <a:pt x="33" y="33"/>
                  </a:cubicBezTo>
                  <a:cubicBezTo>
                    <a:pt x="33" y="232"/>
                    <a:pt x="33" y="232"/>
                    <a:pt x="33" y="232"/>
                  </a:cubicBezTo>
                  <a:cubicBezTo>
                    <a:pt x="20" y="232"/>
                    <a:pt x="20" y="232"/>
                    <a:pt x="20" y="232"/>
                  </a:cubicBezTo>
                  <a:cubicBezTo>
                    <a:pt x="20" y="33"/>
                    <a:pt x="20" y="33"/>
                    <a:pt x="20" y="33"/>
                  </a:cubicBezTo>
                  <a:cubicBezTo>
                    <a:pt x="20" y="30"/>
                    <a:pt x="21" y="27"/>
                    <a:pt x="24" y="25"/>
                  </a:cubicBezTo>
                  <a:cubicBezTo>
                    <a:pt x="26" y="22"/>
                    <a:pt x="29" y="21"/>
                    <a:pt x="33" y="21"/>
                  </a:cubicBezTo>
                  <a:lnTo>
                    <a:pt x="78" y="21"/>
                  </a:lnTo>
                  <a:close/>
                  <a:moveTo>
                    <a:pt x="132" y="21"/>
                  </a:moveTo>
                  <a:cubicBezTo>
                    <a:pt x="135" y="21"/>
                    <a:pt x="138" y="22"/>
                    <a:pt x="141" y="25"/>
                  </a:cubicBezTo>
                  <a:cubicBezTo>
                    <a:pt x="143" y="27"/>
                    <a:pt x="144" y="30"/>
                    <a:pt x="144" y="33"/>
                  </a:cubicBezTo>
                  <a:cubicBezTo>
                    <a:pt x="144" y="232"/>
                    <a:pt x="144" y="232"/>
                    <a:pt x="144" y="232"/>
                  </a:cubicBezTo>
                  <a:cubicBezTo>
                    <a:pt x="132" y="232"/>
                    <a:pt x="132" y="232"/>
                    <a:pt x="132" y="232"/>
                  </a:cubicBezTo>
                  <a:cubicBezTo>
                    <a:pt x="132" y="33"/>
                    <a:pt x="132" y="33"/>
                    <a:pt x="132" y="33"/>
                  </a:cubicBezTo>
                  <a:cubicBezTo>
                    <a:pt x="99" y="33"/>
                    <a:pt x="99" y="33"/>
                    <a:pt x="99" y="33"/>
                  </a:cubicBezTo>
                  <a:cubicBezTo>
                    <a:pt x="99" y="108"/>
                    <a:pt x="99" y="108"/>
                    <a:pt x="99" y="108"/>
                  </a:cubicBezTo>
                  <a:cubicBezTo>
                    <a:pt x="87" y="108"/>
                    <a:pt x="87" y="108"/>
                    <a:pt x="87" y="108"/>
                  </a:cubicBezTo>
                  <a:cubicBezTo>
                    <a:pt x="87" y="21"/>
                    <a:pt x="87" y="21"/>
                    <a:pt x="87" y="21"/>
                  </a:cubicBezTo>
                  <a:lnTo>
                    <a:pt x="132" y="21"/>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4">
              <a:extLst>
                <a:ext uri="{FF2B5EF4-FFF2-40B4-BE49-F238E27FC236}">
                  <a16:creationId xmlns:a16="http://schemas.microsoft.com/office/drawing/2014/main" id="{931E9C0F-D3AD-0140-CBBB-EF8AA99A13F4}"/>
                </a:ext>
              </a:extLst>
            </p:cNvPr>
            <p:cNvSpPr>
              <a:spLocks noEditPoints="1"/>
            </p:cNvSpPr>
            <p:nvPr userDrawn="1"/>
          </p:nvSpPr>
          <p:spPr bwMode="auto">
            <a:xfrm>
              <a:off x="5412" y="2552"/>
              <a:ext cx="313" cy="551"/>
            </a:xfrm>
            <a:custGeom>
              <a:avLst/>
              <a:gdLst>
                <a:gd name="T0" fmla="*/ 234667157 w 132"/>
                <a:gd name="T1" fmla="*/ 0 h 232"/>
                <a:gd name="T2" fmla="*/ 291517195 w 132"/>
                <a:gd name="T3" fmla="*/ 24547155 h 232"/>
                <a:gd name="T4" fmla="*/ 312488786 w 132"/>
                <a:gd name="T5" fmla="*/ 79781492 h 232"/>
                <a:gd name="T6" fmla="*/ 312488786 w 132"/>
                <a:gd name="T7" fmla="*/ 202009418 h 232"/>
                <a:gd name="T8" fmla="*/ 291517195 w 132"/>
                <a:gd name="T9" fmla="*/ 258572736 h 232"/>
                <a:gd name="T10" fmla="*/ 234667157 w 132"/>
                <a:gd name="T11" fmla="*/ 283050061 h 232"/>
                <a:gd name="T12" fmla="*/ 77977488 w 132"/>
                <a:gd name="T13" fmla="*/ 283050061 h 232"/>
                <a:gd name="T14" fmla="*/ 77977488 w 132"/>
                <a:gd name="T15" fmla="*/ 564828430 h 232"/>
                <a:gd name="T16" fmla="*/ 46760663 w 132"/>
                <a:gd name="T17" fmla="*/ 564828430 h 232"/>
                <a:gd name="T18" fmla="*/ 46760663 w 132"/>
                <a:gd name="T19" fmla="*/ 253283286 h 232"/>
                <a:gd name="T20" fmla="*/ 234667157 w 132"/>
                <a:gd name="T21" fmla="*/ 253283286 h 232"/>
                <a:gd name="T22" fmla="*/ 269717845 w 132"/>
                <a:gd name="T23" fmla="*/ 238499835 h 232"/>
                <a:gd name="T24" fmla="*/ 284788810 w 132"/>
                <a:gd name="T25" fmla="*/ 202009418 h 232"/>
                <a:gd name="T26" fmla="*/ 284788810 w 132"/>
                <a:gd name="T27" fmla="*/ 79781492 h 232"/>
                <a:gd name="T28" fmla="*/ 269717845 w 132"/>
                <a:gd name="T29" fmla="*/ 46120372 h 232"/>
                <a:gd name="T30" fmla="*/ 234667157 w 132"/>
                <a:gd name="T31" fmla="*/ 31976658 h 232"/>
                <a:gd name="T32" fmla="*/ 115836743 w 132"/>
                <a:gd name="T33" fmla="*/ 31976658 h 232"/>
                <a:gd name="T34" fmla="*/ 54699961 w 132"/>
                <a:gd name="T35" fmla="*/ 58299493 h 232"/>
                <a:gd name="T36" fmla="*/ 27860863 w 132"/>
                <a:gd name="T37" fmla="*/ 122107630 h 232"/>
                <a:gd name="T38" fmla="*/ 27860863 w 132"/>
                <a:gd name="T39" fmla="*/ 564828430 h 232"/>
                <a:gd name="T40" fmla="*/ 0 w 132"/>
                <a:gd name="T41" fmla="*/ 564828430 h 232"/>
                <a:gd name="T42" fmla="*/ 0 w 132"/>
                <a:gd name="T43" fmla="*/ 122107630 h 232"/>
                <a:gd name="T44" fmla="*/ 32885075 w 132"/>
                <a:gd name="T45" fmla="*/ 37103839 h 232"/>
                <a:gd name="T46" fmla="*/ 115836743 w 132"/>
                <a:gd name="T47" fmla="*/ 0 h 232"/>
                <a:gd name="T48" fmla="*/ 234667157 w 132"/>
                <a:gd name="T49" fmla="*/ 0 h 232"/>
                <a:gd name="T50" fmla="*/ 262918698 w 132"/>
                <a:gd name="T51" fmla="*/ 202009418 h 232"/>
                <a:gd name="T52" fmla="*/ 255645496 w 132"/>
                <a:gd name="T53" fmla="*/ 224358826 h 232"/>
                <a:gd name="T54" fmla="*/ 234667157 w 132"/>
                <a:gd name="T55" fmla="*/ 233836064 h 232"/>
                <a:gd name="T56" fmla="*/ 46760663 w 132"/>
                <a:gd name="T57" fmla="*/ 233836064 h 232"/>
                <a:gd name="T58" fmla="*/ 46760663 w 132"/>
                <a:gd name="T59" fmla="*/ 122107630 h 232"/>
                <a:gd name="T60" fmla="*/ 69064519 w 132"/>
                <a:gd name="T61" fmla="*/ 70832843 h 232"/>
                <a:gd name="T62" fmla="*/ 115836743 w 132"/>
                <a:gd name="T63" fmla="*/ 51413739 h 232"/>
                <a:gd name="T64" fmla="*/ 234667157 w 132"/>
                <a:gd name="T65" fmla="*/ 51413739 h 232"/>
                <a:gd name="T66" fmla="*/ 255645496 w 132"/>
                <a:gd name="T67" fmla="*/ 60526659 h 232"/>
                <a:gd name="T68" fmla="*/ 262918698 w 132"/>
                <a:gd name="T69" fmla="*/ 79781492 h 232"/>
                <a:gd name="T70" fmla="*/ 262918698 w 132"/>
                <a:gd name="T71" fmla="*/ 202009418 h 232"/>
                <a:gd name="T72" fmla="*/ 77977488 w 132"/>
                <a:gd name="T73" fmla="*/ 202009418 h 232"/>
                <a:gd name="T74" fmla="*/ 234667157 w 132"/>
                <a:gd name="T75" fmla="*/ 202009418 h 232"/>
                <a:gd name="T76" fmla="*/ 234667157 w 132"/>
                <a:gd name="T77" fmla="*/ 79781492 h 232"/>
                <a:gd name="T78" fmla="*/ 115836743 w 132"/>
                <a:gd name="T79" fmla="*/ 79781492 h 232"/>
                <a:gd name="T80" fmla="*/ 89678239 w 132"/>
                <a:gd name="T81" fmla="*/ 92335711 h 232"/>
                <a:gd name="T82" fmla="*/ 77977488 w 132"/>
                <a:gd name="T83" fmla="*/ 122107630 h 232"/>
                <a:gd name="T84" fmla="*/ 77977488 w 132"/>
                <a:gd name="T85" fmla="*/ 202009418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99" y="0"/>
                  </a:moveTo>
                  <a:cubicBezTo>
                    <a:pt x="108" y="0"/>
                    <a:pt x="116" y="4"/>
                    <a:pt x="123" y="10"/>
                  </a:cubicBezTo>
                  <a:cubicBezTo>
                    <a:pt x="129" y="16"/>
                    <a:pt x="132" y="24"/>
                    <a:pt x="132" y="33"/>
                  </a:cubicBezTo>
                  <a:cubicBezTo>
                    <a:pt x="132" y="83"/>
                    <a:pt x="132" y="83"/>
                    <a:pt x="132" y="83"/>
                  </a:cubicBezTo>
                  <a:cubicBezTo>
                    <a:pt x="132" y="92"/>
                    <a:pt x="129" y="100"/>
                    <a:pt x="123" y="106"/>
                  </a:cubicBezTo>
                  <a:cubicBezTo>
                    <a:pt x="116" y="113"/>
                    <a:pt x="108" y="116"/>
                    <a:pt x="99" y="116"/>
                  </a:cubicBezTo>
                  <a:cubicBezTo>
                    <a:pt x="33" y="116"/>
                    <a:pt x="33" y="116"/>
                    <a:pt x="33" y="116"/>
                  </a:cubicBezTo>
                  <a:cubicBezTo>
                    <a:pt x="33" y="232"/>
                    <a:pt x="33" y="232"/>
                    <a:pt x="33" y="232"/>
                  </a:cubicBezTo>
                  <a:cubicBezTo>
                    <a:pt x="20" y="232"/>
                    <a:pt x="20" y="232"/>
                    <a:pt x="20" y="232"/>
                  </a:cubicBezTo>
                  <a:cubicBezTo>
                    <a:pt x="20" y="104"/>
                    <a:pt x="20" y="104"/>
                    <a:pt x="20" y="104"/>
                  </a:cubicBezTo>
                  <a:cubicBezTo>
                    <a:pt x="99" y="104"/>
                    <a:pt x="99" y="104"/>
                    <a:pt x="99" y="104"/>
                  </a:cubicBezTo>
                  <a:cubicBezTo>
                    <a:pt x="105" y="104"/>
                    <a:pt x="110" y="102"/>
                    <a:pt x="114" y="98"/>
                  </a:cubicBezTo>
                  <a:cubicBezTo>
                    <a:pt x="118" y="94"/>
                    <a:pt x="120" y="89"/>
                    <a:pt x="120" y="83"/>
                  </a:cubicBezTo>
                  <a:cubicBezTo>
                    <a:pt x="120" y="33"/>
                    <a:pt x="120" y="33"/>
                    <a:pt x="120" y="33"/>
                  </a:cubicBezTo>
                  <a:cubicBezTo>
                    <a:pt x="120" y="28"/>
                    <a:pt x="118" y="23"/>
                    <a:pt x="114" y="19"/>
                  </a:cubicBezTo>
                  <a:cubicBezTo>
                    <a:pt x="110" y="15"/>
                    <a:pt x="105" y="13"/>
                    <a:pt x="99" y="13"/>
                  </a:cubicBezTo>
                  <a:cubicBezTo>
                    <a:pt x="49" y="13"/>
                    <a:pt x="49" y="13"/>
                    <a:pt x="49" y="13"/>
                  </a:cubicBezTo>
                  <a:cubicBezTo>
                    <a:pt x="39" y="13"/>
                    <a:pt x="30" y="16"/>
                    <a:pt x="23" y="24"/>
                  </a:cubicBezTo>
                  <a:cubicBezTo>
                    <a:pt x="16" y="31"/>
                    <a:pt x="12" y="40"/>
                    <a:pt x="12" y="50"/>
                  </a:cubicBezTo>
                  <a:cubicBezTo>
                    <a:pt x="12" y="232"/>
                    <a:pt x="12" y="232"/>
                    <a:pt x="12" y="232"/>
                  </a:cubicBezTo>
                  <a:cubicBezTo>
                    <a:pt x="0" y="232"/>
                    <a:pt x="0" y="232"/>
                    <a:pt x="0" y="232"/>
                  </a:cubicBezTo>
                  <a:cubicBezTo>
                    <a:pt x="0" y="50"/>
                    <a:pt x="0" y="50"/>
                    <a:pt x="0" y="50"/>
                  </a:cubicBezTo>
                  <a:cubicBezTo>
                    <a:pt x="0" y="36"/>
                    <a:pt x="5" y="25"/>
                    <a:pt x="14" y="15"/>
                  </a:cubicBezTo>
                  <a:cubicBezTo>
                    <a:pt x="24" y="5"/>
                    <a:pt x="36" y="0"/>
                    <a:pt x="49" y="0"/>
                  </a:cubicBezTo>
                  <a:lnTo>
                    <a:pt x="99" y="0"/>
                  </a:lnTo>
                  <a:close/>
                  <a:moveTo>
                    <a:pt x="111" y="83"/>
                  </a:moveTo>
                  <a:cubicBezTo>
                    <a:pt x="111" y="87"/>
                    <a:pt x="110" y="89"/>
                    <a:pt x="108" y="92"/>
                  </a:cubicBezTo>
                  <a:cubicBezTo>
                    <a:pt x="105" y="94"/>
                    <a:pt x="102" y="96"/>
                    <a:pt x="99" y="96"/>
                  </a:cubicBezTo>
                  <a:cubicBezTo>
                    <a:pt x="20" y="96"/>
                    <a:pt x="20" y="96"/>
                    <a:pt x="20" y="96"/>
                  </a:cubicBezTo>
                  <a:cubicBezTo>
                    <a:pt x="20" y="50"/>
                    <a:pt x="20" y="50"/>
                    <a:pt x="20" y="50"/>
                  </a:cubicBezTo>
                  <a:cubicBezTo>
                    <a:pt x="20" y="42"/>
                    <a:pt x="23" y="35"/>
                    <a:pt x="29" y="29"/>
                  </a:cubicBezTo>
                  <a:cubicBezTo>
                    <a:pt x="35" y="24"/>
                    <a:pt x="41" y="21"/>
                    <a:pt x="49" y="21"/>
                  </a:cubicBezTo>
                  <a:cubicBezTo>
                    <a:pt x="99" y="21"/>
                    <a:pt x="99" y="21"/>
                    <a:pt x="99" y="21"/>
                  </a:cubicBezTo>
                  <a:cubicBezTo>
                    <a:pt x="102" y="21"/>
                    <a:pt x="105" y="22"/>
                    <a:pt x="108" y="25"/>
                  </a:cubicBezTo>
                  <a:cubicBezTo>
                    <a:pt x="110" y="27"/>
                    <a:pt x="111" y="30"/>
                    <a:pt x="111" y="33"/>
                  </a:cubicBezTo>
                  <a:lnTo>
                    <a:pt x="111" y="83"/>
                  </a:lnTo>
                  <a:close/>
                  <a:moveTo>
                    <a:pt x="33" y="83"/>
                  </a:moveTo>
                  <a:cubicBezTo>
                    <a:pt x="99" y="83"/>
                    <a:pt x="99" y="83"/>
                    <a:pt x="99" y="83"/>
                  </a:cubicBezTo>
                  <a:cubicBezTo>
                    <a:pt x="99" y="33"/>
                    <a:pt x="99" y="33"/>
                    <a:pt x="99" y="33"/>
                  </a:cubicBezTo>
                  <a:cubicBezTo>
                    <a:pt x="49" y="33"/>
                    <a:pt x="49" y="33"/>
                    <a:pt x="49" y="33"/>
                  </a:cubicBezTo>
                  <a:cubicBezTo>
                    <a:pt x="45" y="33"/>
                    <a:pt x="41" y="35"/>
                    <a:pt x="38" y="38"/>
                  </a:cubicBezTo>
                  <a:cubicBezTo>
                    <a:pt x="34" y="42"/>
                    <a:pt x="33" y="45"/>
                    <a:pt x="33" y="50"/>
                  </a:cubicBezTo>
                  <a:lnTo>
                    <a:pt x="33" y="83"/>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5" name="Freeform 15">
              <a:extLst>
                <a:ext uri="{FF2B5EF4-FFF2-40B4-BE49-F238E27FC236}">
                  <a16:creationId xmlns:a16="http://schemas.microsoft.com/office/drawing/2014/main" id="{203FF7F4-0F42-ABD9-BC9A-F52D556ECA3D}"/>
                </a:ext>
              </a:extLst>
            </p:cNvPr>
            <p:cNvSpPr>
              <a:spLocks noEditPoints="1"/>
            </p:cNvSpPr>
            <p:nvPr userDrawn="1"/>
          </p:nvSpPr>
          <p:spPr bwMode="auto">
            <a:xfrm>
              <a:off x="5774" y="2552"/>
              <a:ext cx="312" cy="551"/>
            </a:xfrm>
            <a:custGeom>
              <a:avLst/>
              <a:gdLst>
                <a:gd name="T0" fmla="*/ 26510905 w 132"/>
                <a:gd name="T1" fmla="*/ 442759715 h 232"/>
                <a:gd name="T2" fmla="*/ 51443210 w 132"/>
                <a:gd name="T3" fmla="*/ 508305993 h 232"/>
                <a:gd name="T4" fmla="*/ 110103249 w 132"/>
                <a:gd name="T5" fmla="*/ 535913430 h 232"/>
                <a:gd name="T6" fmla="*/ 295891719 w 132"/>
                <a:gd name="T7" fmla="*/ 535913430 h 232"/>
                <a:gd name="T8" fmla="*/ 295891719 w 132"/>
                <a:gd name="T9" fmla="*/ 564828430 h 232"/>
                <a:gd name="T10" fmla="*/ 110103249 w 132"/>
                <a:gd name="T11" fmla="*/ 564828430 h 232"/>
                <a:gd name="T12" fmla="*/ 31262608 w 132"/>
                <a:gd name="T13" fmla="*/ 527724589 h 232"/>
                <a:gd name="T14" fmla="*/ 0 w 132"/>
                <a:gd name="T15" fmla="*/ 442759715 h 232"/>
                <a:gd name="T16" fmla="*/ 0 w 132"/>
                <a:gd name="T17" fmla="*/ 0 h 232"/>
                <a:gd name="T18" fmla="*/ 26510905 w 132"/>
                <a:gd name="T19" fmla="*/ 0 h 232"/>
                <a:gd name="T20" fmla="*/ 26510905 w 132"/>
                <a:gd name="T21" fmla="*/ 442759715 h 232"/>
                <a:gd name="T22" fmla="*/ 295891719 w 132"/>
                <a:gd name="T23" fmla="*/ 484506888 h 232"/>
                <a:gd name="T24" fmla="*/ 295891719 w 132"/>
                <a:gd name="T25" fmla="*/ 513431020 h 232"/>
                <a:gd name="T26" fmla="*/ 110103249 w 132"/>
                <a:gd name="T27" fmla="*/ 513431020 h 232"/>
                <a:gd name="T28" fmla="*/ 65404189 w 132"/>
                <a:gd name="T29" fmla="*/ 494012295 h 232"/>
                <a:gd name="T30" fmla="*/ 44482705 w 132"/>
                <a:gd name="T31" fmla="*/ 442759715 h 232"/>
                <a:gd name="T32" fmla="*/ 44482705 w 132"/>
                <a:gd name="T33" fmla="*/ 0 h 232"/>
                <a:gd name="T34" fmla="*/ 73893437 w 132"/>
                <a:gd name="T35" fmla="*/ 0 h 232"/>
                <a:gd name="T36" fmla="*/ 73893437 w 132"/>
                <a:gd name="T37" fmla="*/ 442759715 h 232"/>
                <a:gd name="T38" fmla="*/ 85443339 w 132"/>
                <a:gd name="T39" fmla="*/ 472485538 h 232"/>
                <a:gd name="T40" fmla="*/ 110103249 w 132"/>
                <a:gd name="T41" fmla="*/ 484506888 h 232"/>
                <a:gd name="T42" fmla="*/ 295891719 w 132"/>
                <a:gd name="T43" fmla="*/ 484506888 h 2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2" h="232">
                  <a:moveTo>
                    <a:pt x="12" y="182"/>
                  </a:moveTo>
                  <a:cubicBezTo>
                    <a:pt x="12" y="193"/>
                    <a:pt x="16" y="201"/>
                    <a:pt x="23" y="209"/>
                  </a:cubicBezTo>
                  <a:cubicBezTo>
                    <a:pt x="30" y="216"/>
                    <a:pt x="39" y="220"/>
                    <a:pt x="49" y="220"/>
                  </a:cubicBezTo>
                  <a:cubicBezTo>
                    <a:pt x="132" y="220"/>
                    <a:pt x="132" y="220"/>
                    <a:pt x="132" y="220"/>
                  </a:cubicBezTo>
                  <a:cubicBezTo>
                    <a:pt x="132" y="232"/>
                    <a:pt x="132" y="232"/>
                    <a:pt x="132" y="232"/>
                  </a:cubicBezTo>
                  <a:cubicBezTo>
                    <a:pt x="49" y="232"/>
                    <a:pt x="49" y="232"/>
                    <a:pt x="49" y="232"/>
                  </a:cubicBezTo>
                  <a:cubicBezTo>
                    <a:pt x="36" y="232"/>
                    <a:pt x="24" y="227"/>
                    <a:pt x="14" y="217"/>
                  </a:cubicBezTo>
                  <a:cubicBezTo>
                    <a:pt x="4" y="208"/>
                    <a:pt x="0" y="196"/>
                    <a:pt x="0" y="182"/>
                  </a:cubicBezTo>
                  <a:cubicBezTo>
                    <a:pt x="0" y="0"/>
                    <a:pt x="0" y="0"/>
                    <a:pt x="0" y="0"/>
                  </a:cubicBezTo>
                  <a:cubicBezTo>
                    <a:pt x="12" y="0"/>
                    <a:pt x="12" y="0"/>
                    <a:pt x="12" y="0"/>
                  </a:cubicBezTo>
                  <a:lnTo>
                    <a:pt x="12" y="182"/>
                  </a:lnTo>
                  <a:close/>
                  <a:moveTo>
                    <a:pt x="132" y="199"/>
                  </a:moveTo>
                  <a:cubicBezTo>
                    <a:pt x="132" y="211"/>
                    <a:pt x="132" y="211"/>
                    <a:pt x="132" y="211"/>
                  </a:cubicBezTo>
                  <a:cubicBezTo>
                    <a:pt x="49" y="211"/>
                    <a:pt x="49" y="211"/>
                    <a:pt x="49" y="211"/>
                  </a:cubicBezTo>
                  <a:cubicBezTo>
                    <a:pt x="41" y="211"/>
                    <a:pt x="34" y="209"/>
                    <a:pt x="29" y="203"/>
                  </a:cubicBezTo>
                  <a:cubicBezTo>
                    <a:pt x="23" y="197"/>
                    <a:pt x="20" y="190"/>
                    <a:pt x="20" y="182"/>
                  </a:cubicBezTo>
                  <a:cubicBezTo>
                    <a:pt x="20" y="0"/>
                    <a:pt x="20" y="0"/>
                    <a:pt x="20" y="0"/>
                  </a:cubicBezTo>
                  <a:cubicBezTo>
                    <a:pt x="33" y="0"/>
                    <a:pt x="33" y="0"/>
                    <a:pt x="33" y="0"/>
                  </a:cubicBezTo>
                  <a:cubicBezTo>
                    <a:pt x="33" y="182"/>
                    <a:pt x="33" y="182"/>
                    <a:pt x="33" y="182"/>
                  </a:cubicBezTo>
                  <a:cubicBezTo>
                    <a:pt x="33" y="187"/>
                    <a:pt x="34" y="191"/>
                    <a:pt x="38" y="194"/>
                  </a:cubicBezTo>
                  <a:cubicBezTo>
                    <a:pt x="41" y="197"/>
                    <a:pt x="45" y="199"/>
                    <a:pt x="49" y="199"/>
                  </a:cubicBezTo>
                  <a:lnTo>
                    <a:pt x="132" y="199"/>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6" name="Freeform 16">
              <a:extLst>
                <a:ext uri="{FF2B5EF4-FFF2-40B4-BE49-F238E27FC236}">
                  <a16:creationId xmlns:a16="http://schemas.microsoft.com/office/drawing/2014/main" id="{1843A1B2-E28E-4ECC-A370-FAEF3A071164}"/>
                </a:ext>
              </a:extLst>
            </p:cNvPr>
            <p:cNvSpPr>
              <a:spLocks noEditPoints="1"/>
            </p:cNvSpPr>
            <p:nvPr userDrawn="1"/>
          </p:nvSpPr>
          <p:spPr bwMode="auto">
            <a:xfrm>
              <a:off x="6120" y="2552"/>
              <a:ext cx="331" cy="551"/>
            </a:xfrm>
            <a:custGeom>
              <a:avLst/>
              <a:gdLst>
                <a:gd name="T0" fmla="*/ 315628455 w 140"/>
                <a:gd name="T1" fmla="*/ 0 h 232"/>
                <a:gd name="T2" fmla="*/ 315628455 w 140"/>
                <a:gd name="T3" fmla="*/ 564828430 h 232"/>
                <a:gd name="T4" fmla="*/ 288722604 w 140"/>
                <a:gd name="T5" fmla="*/ 564828430 h 232"/>
                <a:gd name="T6" fmla="*/ 288722604 w 140"/>
                <a:gd name="T7" fmla="*/ 31976658 h 232"/>
                <a:gd name="T8" fmla="*/ 110489077 w 140"/>
                <a:gd name="T9" fmla="*/ 31976658 h 232"/>
                <a:gd name="T10" fmla="*/ 51651254 w 140"/>
                <a:gd name="T11" fmla="*/ 58299493 h 232"/>
                <a:gd name="T12" fmla="*/ 26606139 w 140"/>
                <a:gd name="T13" fmla="*/ 122107630 h 232"/>
                <a:gd name="T14" fmla="*/ 26606139 w 140"/>
                <a:gd name="T15" fmla="*/ 564828430 h 232"/>
                <a:gd name="T16" fmla="*/ 0 w 140"/>
                <a:gd name="T17" fmla="*/ 564828430 h 232"/>
                <a:gd name="T18" fmla="*/ 0 w 140"/>
                <a:gd name="T19" fmla="*/ 122107630 h 232"/>
                <a:gd name="T20" fmla="*/ 31354195 w 140"/>
                <a:gd name="T21" fmla="*/ 37103839 h 232"/>
                <a:gd name="T22" fmla="*/ 110489077 w 140"/>
                <a:gd name="T23" fmla="*/ 0 h 232"/>
                <a:gd name="T24" fmla="*/ 315628455 w 140"/>
                <a:gd name="T25" fmla="*/ 0 h 232"/>
                <a:gd name="T26" fmla="*/ 44631525 w 140"/>
                <a:gd name="T27" fmla="*/ 122107630 h 232"/>
                <a:gd name="T28" fmla="*/ 65649001 w 140"/>
                <a:gd name="T29" fmla="*/ 70832843 h 232"/>
                <a:gd name="T30" fmla="*/ 110489077 w 140"/>
                <a:gd name="T31" fmla="*/ 51413739 h 232"/>
                <a:gd name="T32" fmla="*/ 270477527 w 140"/>
                <a:gd name="T33" fmla="*/ 51413739 h 232"/>
                <a:gd name="T34" fmla="*/ 270477527 w 140"/>
                <a:gd name="T35" fmla="*/ 233836064 h 232"/>
                <a:gd name="T36" fmla="*/ 44631525 w 140"/>
                <a:gd name="T37" fmla="*/ 233836064 h 232"/>
                <a:gd name="T38" fmla="*/ 44631525 w 140"/>
                <a:gd name="T39" fmla="*/ 122107630 h 232"/>
                <a:gd name="T40" fmla="*/ 270477527 w 140"/>
                <a:gd name="T41" fmla="*/ 253283286 h 232"/>
                <a:gd name="T42" fmla="*/ 270477527 w 140"/>
                <a:gd name="T43" fmla="*/ 564828430 h 232"/>
                <a:gd name="T44" fmla="*/ 241121972 w 140"/>
                <a:gd name="T45" fmla="*/ 564828430 h 232"/>
                <a:gd name="T46" fmla="*/ 241121972 w 140"/>
                <a:gd name="T47" fmla="*/ 283050061 h 232"/>
                <a:gd name="T48" fmla="*/ 74130275 w 140"/>
                <a:gd name="T49" fmla="*/ 283050061 h 232"/>
                <a:gd name="T50" fmla="*/ 74130275 w 140"/>
                <a:gd name="T51" fmla="*/ 564828430 h 232"/>
                <a:gd name="T52" fmla="*/ 44631525 w 140"/>
                <a:gd name="T53" fmla="*/ 564828430 h 232"/>
                <a:gd name="T54" fmla="*/ 44631525 w 140"/>
                <a:gd name="T55" fmla="*/ 253283286 h 232"/>
                <a:gd name="T56" fmla="*/ 270477527 w 140"/>
                <a:gd name="T57" fmla="*/ 253283286 h 232"/>
                <a:gd name="T58" fmla="*/ 241121972 w 140"/>
                <a:gd name="T59" fmla="*/ 79781492 h 232"/>
                <a:gd name="T60" fmla="*/ 110489077 w 140"/>
                <a:gd name="T61" fmla="*/ 79781492 h 232"/>
                <a:gd name="T62" fmla="*/ 85974132 w 140"/>
                <a:gd name="T63" fmla="*/ 92335711 h 232"/>
                <a:gd name="T64" fmla="*/ 74130275 w 140"/>
                <a:gd name="T65" fmla="*/ 122107630 h 232"/>
                <a:gd name="T66" fmla="*/ 74130275 w 140"/>
                <a:gd name="T67" fmla="*/ 202009418 h 232"/>
                <a:gd name="T68" fmla="*/ 241121972 w 140"/>
                <a:gd name="T69" fmla="*/ 202009418 h 232"/>
                <a:gd name="T70" fmla="*/ 241121972 w 140"/>
                <a:gd name="T71" fmla="*/ 79781492 h 23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40" h="232">
                  <a:moveTo>
                    <a:pt x="140" y="0"/>
                  </a:moveTo>
                  <a:cubicBezTo>
                    <a:pt x="140" y="232"/>
                    <a:pt x="140" y="232"/>
                    <a:pt x="140" y="232"/>
                  </a:cubicBezTo>
                  <a:cubicBezTo>
                    <a:pt x="128" y="232"/>
                    <a:pt x="128" y="232"/>
                    <a:pt x="128" y="232"/>
                  </a:cubicBezTo>
                  <a:cubicBezTo>
                    <a:pt x="128" y="13"/>
                    <a:pt x="128" y="13"/>
                    <a:pt x="128" y="13"/>
                  </a:cubicBezTo>
                  <a:cubicBezTo>
                    <a:pt x="49" y="13"/>
                    <a:pt x="49" y="13"/>
                    <a:pt x="49" y="13"/>
                  </a:cubicBezTo>
                  <a:cubicBezTo>
                    <a:pt x="39" y="13"/>
                    <a:pt x="30" y="16"/>
                    <a:pt x="23" y="24"/>
                  </a:cubicBezTo>
                  <a:cubicBezTo>
                    <a:pt x="16" y="31"/>
                    <a:pt x="12" y="40"/>
                    <a:pt x="12" y="50"/>
                  </a:cubicBezTo>
                  <a:cubicBezTo>
                    <a:pt x="12" y="232"/>
                    <a:pt x="12" y="232"/>
                    <a:pt x="12" y="232"/>
                  </a:cubicBezTo>
                  <a:cubicBezTo>
                    <a:pt x="0" y="232"/>
                    <a:pt x="0" y="232"/>
                    <a:pt x="0" y="232"/>
                  </a:cubicBezTo>
                  <a:cubicBezTo>
                    <a:pt x="0" y="50"/>
                    <a:pt x="0" y="50"/>
                    <a:pt x="0" y="50"/>
                  </a:cubicBezTo>
                  <a:cubicBezTo>
                    <a:pt x="0" y="36"/>
                    <a:pt x="5" y="25"/>
                    <a:pt x="14" y="15"/>
                  </a:cubicBezTo>
                  <a:cubicBezTo>
                    <a:pt x="24" y="5"/>
                    <a:pt x="36" y="0"/>
                    <a:pt x="49" y="0"/>
                  </a:cubicBezTo>
                  <a:lnTo>
                    <a:pt x="140" y="0"/>
                  </a:lnTo>
                  <a:close/>
                  <a:moveTo>
                    <a:pt x="20" y="50"/>
                  </a:moveTo>
                  <a:cubicBezTo>
                    <a:pt x="20" y="42"/>
                    <a:pt x="23" y="35"/>
                    <a:pt x="29" y="29"/>
                  </a:cubicBezTo>
                  <a:cubicBezTo>
                    <a:pt x="35" y="24"/>
                    <a:pt x="41" y="21"/>
                    <a:pt x="49" y="21"/>
                  </a:cubicBezTo>
                  <a:cubicBezTo>
                    <a:pt x="120" y="21"/>
                    <a:pt x="120" y="21"/>
                    <a:pt x="120" y="21"/>
                  </a:cubicBezTo>
                  <a:cubicBezTo>
                    <a:pt x="120" y="96"/>
                    <a:pt x="120" y="96"/>
                    <a:pt x="120" y="96"/>
                  </a:cubicBezTo>
                  <a:cubicBezTo>
                    <a:pt x="20" y="96"/>
                    <a:pt x="20" y="96"/>
                    <a:pt x="20" y="96"/>
                  </a:cubicBezTo>
                  <a:lnTo>
                    <a:pt x="20" y="50"/>
                  </a:lnTo>
                  <a:close/>
                  <a:moveTo>
                    <a:pt x="120" y="104"/>
                  </a:moveTo>
                  <a:cubicBezTo>
                    <a:pt x="120" y="232"/>
                    <a:pt x="120" y="232"/>
                    <a:pt x="120" y="232"/>
                  </a:cubicBezTo>
                  <a:cubicBezTo>
                    <a:pt x="107" y="232"/>
                    <a:pt x="107" y="232"/>
                    <a:pt x="107" y="232"/>
                  </a:cubicBezTo>
                  <a:cubicBezTo>
                    <a:pt x="107" y="116"/>
                    <a:pt x="107" y="116"/>
                    <a:pt x="107" y="116"/>
                  </a:cubicBezTo>
                  <a:cubicBezTo>
                    <a:pt x="33" y="116"/>
                    <a:pt x="33" y="116"/>
                    <a:pt x="33" y="116"/>
                  </a:cubicBezTo>
                  <a:cubicBezTo>
                    <a:pt x="33" y="232"/>
                    <a:pt x="33" y="232"/>
                    <a:pt x="33" y="232"/>
                  </a:cubicBezTo>
                  <a:cubicBezTo>
                    <a:pt x="20" y="232"/>
                    <a:pt x="20" y="232"/>
                    <a:pt x="20" y="232"/>
                  </a:cubicBezTo>
                  <a:cubicBezTo>
                    <a:pt x="20" y="104"/>
                    <a:pt x="20" y="104"/>
                    <a:pt x="20" y="104"/>
                  </a:cubicBezTo>
                  <a:lnTo>
                    <a:pt x="120" y="104"/>
                  </a:lnTo>
                  <a:close/>
                  <a:moveTo>
                    <a:pt x="107" y="33"/>
                  </a:moveTo>
                  <a:cubicBezTo>
                    <a:pt x="49" y="33"/>
                    <a:pt x="49" y="33"/>
                    <a:pt x="49" y="33"/>
                  </a:cubicBezTo>
                  <a:cubicBezTo>
                    <a:pt x="45" y="33"/>
                    <a:pt x="41" y="35"/>
                    <a:pt x="38" y="38"/>
                  </a:cubicBezTo>
                  <a:cubicBezTo>
                    <a:pt x="34" y="42"/>
                    <a:pt x="33" y="45"/>
                    <a:pt x="33" y="50"/>
                  </a:cubicBezTo>
                  <a:cubicBezTo>
                    <a:pt x="33" y="83"/>
                    <a:pt x="33" y="83"/>
                    <a:pt x="33" y="83"/>
                  </a:cubicBezTo>
                  <a:cubicBezTo>
                    <a:pt x="107" y="83"/>
                    <a:pt x="107" y="83"/>
                    <a:pt x="107" y="83"/>
                  </a:cubicBezTo>
                  <a:lnTo>
                    <a:pt x="107" y="33"/>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 name="Freeform 17">
              <a:extLst>
                <a:ext uri="{FF2B5EF4-FFF2-40B4-BE49-F238E27FC236}">
                  <a16:creationId xmlns:a16="http://schemas.microsoft.com/office/drawing/2014/main" id="{69FBFD74-03EC-B38C-D421-5580AC11AD81}"/>
                </a:ext>
              </a:extLst>
            </p:cNvPr>
            <p:cNvSpPr>
              <a:spLocks noEditPoints="1"/>
            </p:cNvSpPr>
            <p:nvPr userDrawn="1"/>
          </p:nvSpPr>
          <p:spPr bwMode="auto">
            <a:xfrm>
              <a:off x="6517" y="2552"/>
              <a:ext cx="331" cy="551"/>
            </a:xfrm>
            <a:custGeom>
              <a:avLst/>
              <a:gdLst>
                <a:gd name="T0" fmla="*/ 0 w 331"/>
                <a:gd name="T1" fmla="*/ 0 h 551"/>
                <a:gd name="T2" fmla="*/ 331 w 331"/>
                <a:gd name="T3" fmla="*/ 0 h 551"/>
                <a:gd name="T4" fmla="*/ 331 w 331"/>
                <a:gd name="T5" fmla="*/ 31 h 551"/>
                <a:gd name="T6" fmla="*/ 0 w 331"/>
                <a:gd name="T7" fmla="*/ 31 h 551"/>
                <a:gd name="T8" fmla="*/ 0 w 331"/>
                <a:gd name="T9" fmla="*/ 0 h 551"/>
                <a:gd name="T10" fmla="*/ 156 w 331"/>
                <a:gd name="T11" fmla="*/ 50 h 551"/>
                <a:gd name="T12" fmla="*/ 156 w 331"/>
                <a:gd name="T13" fmla="*/ 551 h 551"/>
                <a:gd name="T14" fmla="*/ 128 w 331"/>
                <a:gd name="T15" fmla="*/ 551 h 551"/>
                <a:gd name="T16" fmla="*/ 128 w 331"/>
                <a:gd name="T17" fmla="*/ 79 h 551"/>
                <a:gd name="T18" fmla="*/ 0 w 331"/>
                <a:gd name="T19" fmla="*/ 79 h 551"/>
                <a:gd name="T20" fmla="*/ 0 w 331"/>
                <a:gd name="T21" fmla="*/ 50 h 551"/>
                <a:gd name="T22" fmla="*/ 156 w 331"/>
                <a:gd name="T23" fmla="*/ 50 h 551"/>
                <a:gd name="T24" fmla="*/ 331 w 331"/>
                <a:gd name="T25" fmla="*/ 50 h 551"/>
                <a:gd name="T26" fmla="*/ 331 w 331"/>
                <a:gd name="T27" fmla="*/ 79 h 551"/>
                <a:gd name="T28" fmla="*/ 206 w 331"/>
                <a:gd name="T29" fmla="*/ 79 h 551"/>
                <a:gd name="T30" fmla="*/ 206 w 331"/>
                <a:gd name="T31" fmla="*/ 551 h 551"/>
                <a:gd name="T32" fmla="*/ 175 w 331"/>
                <a:gd name="T33" fmla="*/ 551 h 551"/>
                <a:gd name="T34" fmla="*/ 175 w 331"/>
                <a:gd name="T35" fmla="*/ 50 h 551"/>
                <a:gd name="T36" fmla="*/ 331 w 331"/>
                <a:gd name="T37" fmla="*/ 50 h 5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31" h="551">
                  <a:moveTo>
                    <a:pt x="0" y="0"/>
                  </a:moveTo>
                  <a:lnTo>
                    <a:pt x="331" y="0"/>
                  </a:lnTo>
                  <a:lnTo>
                    <a:pt x="331" y="31"/>
                  </a:lnTo>
                  <a:lnTo>
                    <a:pt x="0" y="31"/>
                  </a:lnTo>
                  <a:lnTo>
                    <a:pt x="0" y="0"/>
                  </a:lnTo>
                  <a:close/>
                  <a:moveTo>
                    <a:pt x="156" y="50"/>
                  </a:moveTo>
                  <a:lnTo>
                    <a:pt x="156" y="551"/>
                  </a:lnTo>
                  <a:lnTo>
                    <a:pt x="128" y="551"/>
                  </a:lnTo>
                  <a:lnTo>
                    <a:pt x="128" y="79"/>
                  </a:lnTo>
                  <a:lnTo>
                    <a:pt x="0" y="79"/>
                  </a:lnTo>
                  <a:lnTo>
                    <a:pt x="0" y="50"/>
                  </a:lnTo>
                  <a:lnTo>
                    <a:pt x="156" y="50"/>
                  </a:lnTo>
                  <a:close/>
                  <a:moveTo>
                    <a:pt x="331" y="50"/>
                  </a:moveTo>
                  <a:lnTo>
                    <a:pt x="331" y="79"/>
                  </a:lnTo>
                  <a:lnTo>
                    <a:pt x="206" y="79"/>
                  </a:lnTo>
                  <a:lnTo>
                    <a:pt x="206" y="551"/>
                  </a:lnTo>
                  <a:lnTo>
                    <a:pt x="175" y="551"/>
                  </a:lnTo>
                  <a:lnTo>
                    <a:pt x="175" y="50"/>
                  </a:lnTo>
                  <a:lnTo>
                    <a:pt x="331" y="50"/>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8" name="Freeform 18">
              <a:extLst>
                <a:ext uri="{FF2B5EF4-FFF2-40B4-BE49-F238E27FC236}">
                  <a16:creationId xmlns:a16="http://schemas.microsoft.com/office/drawing/2014/main" id="{6EBCB202-4DDD-B54E-3E9D-0EC0AFEB34EF}"/>
                </a:ext>
              </a:extLst>
            </p:cNvPr>
            <p:cNvSpPr>
              <a:spLocks noEditPoints="1"/>
            </p:cNvSpPr>
            <p:nvPr userDrawn="1"/>
          </p:nvSpPr>
          <p:spPr bwMode="auto">
            <a:xfrm>
              <a:off x="6886" y="2552"/>
              <a:ext cx="312" cy="551"/>
            </a:xfrm>
            <a:custGeom>
              <a:avLst/>
              <a:gdLst>
                <a:gd name="T0" fmla="*/ 295891719 w 132"/>
                <a:gd name="T1" fmla="*/ 0 h 232"/>
                <a:gd name="T2" fmla="*/ 295891719 w 132"/>
                <a:gd name="T3" fmla="*/ 31976658 h 232"/>
                <a:gd name="T4" fmla="*/ 110103249 w 132"/>
                <a:gd name="T5" fmla="*/ 31976658 h 232"/>
                <a:gd name="T6" fmla="*/ 51443210 w 132"/>
                <a:gd name="T7" fmla="*/ 58299493 h 232"/>
                <a:gd name="T8" fmla="*/ 26510905 w 132"/>
                <a:gd name="T9" fmla="*/ 122107630 h 232"/>
                <a:gd name="T10" fmla="*/ 26510905 w 132"/>
                <a:gd name="T11" fmla="*/ 442759715 h 232"/>
                <a:gd name="T12" fmla="*/ 51443210 w 132"/>
                <a:gd name="T13" fmla="*/ 508305993 h 232"/>
                <a:gd name="T14" fmla="*/ 110103249 w 132"/>
                <a:gd name="T15" fmla="*/ 535913430 h 232"/>
                <a:gd name="T16" fmla="*/ 295891719 w 132"/>
                <a:gd name="T17" fmla="*/ 535913430 h 232"/>
                <a:gd name="T18" fmla="*/ 295891719 w 132"/>
                <a:gd name="T19" fmla="*/ 564828430 h 232"/>
                <a:gd name="T20" fmla="*/ 110103249 w 132"/>
                <a:gd name="T21" fmla="*/ 564828430 h 232"/>
                <a:gd name="T22" fmla="*/ 31262608 w 132"/>
                <a:gd name="T23" fmla="*/ 527724589 h 232"/>
                <a:gd name="T24" fmla="*/ 0 w 132"/>
                <a:gd name="T25" fmla="*/ 442759715 h 232"/>
                <a:gd name="T26" fmla="*/ 0 w 132"/>
                <a:gd name="T27" fmla="*/ 122107630 h 232"/>
                <a:gd name="T28" fmla="*/ 31262608 w 132"/>
                <a:gd name="T29" fmla="*/ 37103839 h 232"/>
                <a:gd name="T30" fmla="*/ 110103249 w 132"/>
                <a:gd name="T31" fmla="*/ 0 h 232"/>
                <a:gd name="T32" fmla="*/ 295891719 w 132"/>
                <a:gd name="T33" fmla="*/ 0 h 232"/>
                <a:gd name="T34" fmla="*/ 44482705 w 132"/>
                <a:gd name="T35" fmla="*/ 122107630 h 232"/>
                <a:gd name="T36" fmla="*/ 65404189 w 132"/>
                <a:gd name="T37" fmla="*/ 70832843 h 232"/>
                <a:gd name="T38" fmla="*/ 111981461 w 132"/>
                <a:gd name="T39" fmla="*/ 51413739 h 232"/>
                <a:gd name="T40" fmla="*/ 295891719 w 132"/>
                <a:gd name="T41" fmla="*/ 51413739 h 232"/>
                <a:gd name="T42" fmla="*/ 295891719 w 132"/>
                <a:gd name="T43" fmla="*/ 79781492 h 232"/>
                <a:gd name="T44" fmla="*/ 111981461 w 132"/>
                <a:gd name="T45" fmla="*/ 79781492 h 232"/>
                <a:gd name="T46" fmla="*/ 85443339 w 132"/>
                <a:gd name="T47" fmla="*/ 92335711 h 232"/>
                <a:gd name="T48" fmla="*/ 73893437 w 132"/>
                <a:gd name="T49" fmla="*/ 122107630 h 232"/>
                <a:gd name="T50" fmla="*/ 73893437 w 132"/>
                <a:gd name="T51" fmla="*/ 202009418 h 232"/>
                <a:gd name="T52" fmla="*/ 295891719 w 132"/>
                <a:gd name="T53" fmla="*/ 202009418 h 232"/>
                <a:gd name="T54" fmla="*/ 295891719 w 132"/>
                <a:gd name="T55" fmla="*/ 233836064 h 232"/>
                <a:gd name="T56" fmla="*/ 44482705 w 132"/>
                <a:gd name="T57" fmla="*/ 233836064 h 232"/>
                <a:gd name="T58" fmla="*/ 44482705 w 132"/>
                <a:gd name="T59" fmla="*/ 122107630 h 232"/>
                <a:gd name="T60" fmla="*/ 44482705 w 132"/>
                <a:gd name="T61" fmla="*/ 253283286 h 232"/>
                <a:gd name="T62" fmla="*/ 295891719 w 132"/>
                <a:gd name="T63" fmla="*/ 253283286 h 232"/>
                <a:gd name="T64" fmla="*/ 295891719 w 132"/>
                <a:gd name="T65" fmla="*/ 283050061 h 232"/>
                <a:gd name="T66" fmla="*/ 73893437 w 132"/>
                <a:gd name="T67" fmla="*/ 283050061 h 232"/>
                <a:gd name="T68" fmla="*/ 73893437 w 132"/>
                <a:gd name="T69" fmla="*/ 442759715 h 232"/>
                <a:gd name="T70" fmla="*/ 85443339 w 132"/>
                <a:gd name="T71" fmla="*/ 472485538 h 232"/>
                <a:gd name="T72" fmla="*/ 111981461 w 132"/>
                <a:gd name="T73" fmla="*/ 484506888 h 232"/>
                <a:gd name="T74" fmla="*/ 295891719 w 132"/>
                <a:gd name="T75" fmla="*/ 484506888 h 232"/>
                <a:gd name="T76" fmla="*/ 295891719 w 132"/>
                <a:gd name="T77" fmla="*/ 513431020 h 232"/>
                <a:gd name="T78" fmla="*/ 111981461 w 132"/>
                <a:gd name="T79" fmla="*/ 513431020 h 232"/>
                <a:gd name="T80" fmla="*/ 65404189 w 132"/>
                <a:gd name="T81" fmla="*/ 494012295 h 232"/>
                <a:gd name="T82" fmla="*/ 44482705 w 132"/>
                <a:gd name="T83" fmla="*/ 442759715 h 232"/>
                <a:gd name="T84" fmla="*/ 44482705 w 132"/>
                <a:gd name="T85" fmla="*/ 253283286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132" y="0"/>
                  </a:moveTo>
                  <a:cubicBezTo>
                    <a:pt x="132" y="13"/>
                    <a:pt x="132" y="13"/>
                    <a:pt x="132" y="13"/>
                  </a:cubicBezTo>
                  <a:cubicBezTo>
                    <a:pt x="49" y="13"/>
                    <a:pt x="49" y="13"/>
                    <a:pt x="49" y="13"/>
                  </a:cubicBezTo>
                  <a:cubicBezTo>
                    <a:pt x="39" y="13"/>
                    <a:pt x="30" y="16"/>
                    <a:pt x="23" y="24"/>
                  </a:cubicBezTo>
                  <a:cubicBezTo>
                    <a:pt x="16" y="31"/>
                    <a:pt x="12" y="40"/>
                    <a:pt x="12" y="50"/>
                  </a:cubicBezTo>
                  <a:cubicBezTo>
                    <a:pt x="12" y="182"/>
                    <a:pt x="12" y="182"/>
                    <a:pt x="12" y="182"/>
                  </a:cubicBezTo>
                  <a:cubicBezTo>
                    <a:pt x="12" y="193"/>
                    <a:pt x="16" y="201"/>
                    <a:pt x="23" y="209"/>
                  </a:cubicBezTo>
                  <a:cubicBezTo>
                    <a:pt x="30" y="216"/>
                    <a:pt x="39" y="220"/>
                    <a:pt x="49" y="220"/>
                  </a:cubicBezTo>
                  <a:cubicBezTo>
                    <a:pt x="132" y="220"/>
                    <a:pt x="132" y="220"/>
                    <a:pt x="132" y="220"/>
                  </a:cubicBezTo>
                  <a:cubicBezTo>
                    <a:pt x="132" y="232"/>
                    <a:pt x="132" y="232"/>
                    <a:pt x="132" y="232"/>
                  </a:cubicBezTo>
                  <a:cubicBezTo>
                    <a:pt x="49" y="232"/>
                    <a:pt x="49" y="232"/>
                    <a:pt x="49" y="232"/>
                  </a:cubicBezTo>
                  <a:cubicBezTo>
                    <a:pt x="36" y="232"/>
                    <a:pt x="24" y="227"/>
                    <a:pt x="14" y="217"/>
                  </a:cubicBezTo>
                  <a:cubicBezTo>
                    <a:pt x="5" y="208"/>
                    <a:pt x="0" y="196"/>
                    <a:pt x="0" y="182"/>
                  </a:cubicBezTo>
                  <a:cubicBezTo>
                    <a:pt x="0" y="50"/>
                    <a:pt x="0" y="50"/>
                    <a:pt x="0" y="50"/>
                  </a:cubicBezTo>
                  <a:cubicBezTo>
                    <a:pt x="0" y="36"/>
                    <a:pt x="5" y="25"/>
                    <a:pt x="14" y="15"/>
                  </a:cubicBezTo>
                  <a:cubicBezTo>
                    <a:pt x="24" y="5"/>
                    <a:pt x="36" y="0"/>
                    <a:pt x="49" y="0"/>
                  </a:cubicBezTo>
                  <a:lnTo>
                    <a:pt x="132" y="0"/>
                  </a:lnTo>
                  <a:close/>
                  <a:moveTo>
                    <a:pt x="20" y="50"/>
                  </a:moveTo>
                  <a:cubicBezTo>
                    <a:pt x="20" y="42"/>
                    <a:pt x="23" y="35"/>
                    <a:pt x="29" y="29"/>
                  </a:cubicBezTo>
                  <a:cubicBezTo>
                    <a:pt x="35" y="24"/>
                    <a:pt x="42" y="21"/>
                    <a:pt x="50" y="21"/>
                  </a:cubicBezTo>
                  <a:cubicBezTo>
                    <a:pt x="132" y="21"/>
                    <a:pt x="132" y="21"/>
                    <a:pt x="132" y="21"/>
                  </a:cubicBezTo>
                  <a:cubicBezTo>
                    <a:pt x="132" y="33"/>
                    <a:pt x="132" y="33"/>
                    <a:pt x="132" y="33"/>
                  </a:cubicBezTo>
                  <a:cubicBezTo>
                    <a:pt x="50" y="33"/>
                    <a:pt x="50" y="33"/>
                    <a:pt x="50" y="33"/>
                  </a:cubicBezTo>
                  <a:cubicBezTo>
                    <a:pt x="45" y="33"/>
                    <a:pt x="41" y="35"/>
                    <a:pt x="38" y="38"/>
                  </a:cubicBezTo>
                  <a:cubicBezTo>
                    <a:pt x="35" y="42"/>
                    <a:pt x="33" y="45"/>
                    <a:pt x="33" y="50"/>
                  </a:cubicBezTo>
                  <a:cubicBezTo>
                    <a:pt x="33" y="83"/>
                    <a:pt x="33" y="83"/>
                    <a:pt x="33" y="83"/>
                  </a:cubicBezTo>
                  <a:cubicBezTo>
                    <a:pt x="132" y="83"/>
                    <a:pt x="132" y="83"/>
                    <a:pt x="132" y="83"/>
                  </a:cubicBezTo>
                  <a:cubicBezTo>
                    <a:pt x="132" y="96"/>
                    <a:pt x="132" y="96"/>
                    <a:pt x="132" y="96"/>
                  </a:cubicBezTo>
                  <a:cubicBezTo>
                    <a:pt x="20" y="96"/>
                    <a:pt x="20" y="96"/>
                    <a:pt x="20" y="96"/>
                  </a:cubicBezTo>
                  <a:lnTo>
                    <a:pt x="20" y="50"/>
                  </a:lnTo>
                  <a:close/>
                  <a:moveTo>
                    <a:pt x="20" y="104"/>
                  </a:moveTo>
                  <a:cubicBezTo>
                    <a:pt x="132" y="104"/>
                    <a:pt x="132" y="104"/>
                    <a:pt x="132" y="104"/>
                  </a:cubicBezTo>
                  <a:cubicBezTo>
                    <a:pt x="132" y="116"/>
                    <a:pt x="132" y="116"/>
                    <a:pt x="132" y="116"/>
                  </a:cubicBezTo>
                  <a:cubicBezTo>
                    <a:pt x="33" y="116"/>
                    <a:pt x="33" y="116"/>
                    <a:pt x="33" y="116"/>
                  </a:cubicBezTo>
                  <a:cubicBezTo>
                    <a:pt x="33" y="182"/>
                    <a:pt x="33" y="182"/>
                    <a:pt x="33" y="182"/>
                  </a:cubicBezTo>
                  <a:cubicBezTo>
                    <a:pt x="33" y="187"/>
                    <a:pt x="35" y="191"/>
                    <a:pt x="38" y="194"/>
                  </a:cubicBezTo>
                  <a:cubicBezTo>
                    <a:pt x="41" y="197"/>
                    <a:pt x="45" y="199"/>
                    <a:pt x="50" y="199"/>
                  </a:cubicBezTo>
                  <a:cubicBezTo>
                    <a:pt x="132" y="199"/>
                    <a:pt x="132" y="199"/>
                    <a:pt x="132" y="199"/>
                  </a:cubicBezTo>
                  <a:cubicBezTo>
                    <a:pt x="132" y="211"/>
                    <a:pt x="132" y="211"/>
                    <a:pt x="132" y="211"/>
                  </a:cubicBezTo>
                  <a:cubicBezTo>
                    <a:pt x="50" y="211"/>
                    <a:pt x="50" y="211"/>
                    <a:pt x="50" y="211"/>
                  </a:cubicBezTo>
                  <a:cubicBezTo>
                    <a:pt x="42" y="211"/>
                    <a:pt x="35" y="209"/>
                    <a:pt x="29" y="203"/>
                  </a:cubicBezTo>
                  <a:cubicBezTo>
                    <a:pt x="23" y="197"/>
                    <a:pt x="20" y="190"/>
                    <a:pt x="20" y="182"/>
                  </a:cubicBezTo>
                  <a:lnTo>
                    <a:pt x="20" y="104"/>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9" name="TextBox 23">
            <a:extLst>
              <a:ext uri="{FF2B5EF4-FFF2-40B4-BE49-F238E27FC236}">
                <a16:creationId xmlns:a16="http://schemas.microsoft.com/office/drawing/2014/main" id="{5EE73CDD-B6E5-891A-AF7B-B7F916F0056F}"/>
              </a:ext>
            </a:extLst>
          </p:cNvPr>
          <p:cNvSpPr txBox="1">
            <a:spLocks noChangeArrowheads="1"/>
          </p:cNvSpPr>
          <p:nvPr/>
        </p:nvSpPr>
        <p:spPr bwMode="auto">
          <a:xfrm>
            <a:off x="11345863" y="6402388"/>
            <a:ext cx="354012" cy="261937"/>
          </a:xfrm>
          <a:prstGeom prst="rect">
            <a:avLst/>
          </a:prstGeom>
          <a:noFill/>
          <a:ln>
            <a:noFill/>
          </a:ln>
        </p:spPr>
        <p:txBody>
          <a:bodyPr wrap="none">
            <a:spAutoFit/>
          </a:bodyPr>
          <a:lstStyle>
            <a:lvl1pPr>
              <a:defRPr>
                <a:solidFill>
                  <a:schemeClr val="tx1"/>
                </a:solidFill>
                <a:latin typeface="Lato Light" panose="020F0502020204030203" pitchFamily="34" charset="0"/>
              </a:defRPr>
            </a:lvl1pPr>
            <a:lvl2pPr marL="742950" indent="-285750">
              <a:defRPr>
                <a:solidFill>
                  <a:schemeClr val="tx1"/>
                </a:solidFill>
                <a:latin typeface="Lato Light" panose="020F0502020204030203" pitchFamily="34" charset="0"/>
              </a:defRPr>
            </a:lvl2pPr>
            <a:lvl3pPr marL="1143000" indent="-228600">
              <a:defRPr>
                <a:solidFill>
                  <a:schemeClr val="tx1"/>
                </a:solidFill>
                <a:latin typeface="Lato Light" panose="020F0502020204030203" pitchFamily="34" charset="0"/>
              </a:defRPr>
            </a:lvl3pPr>
            <a:lvl4pPr marL="1600200" indent="-228600">
              <a:defRPr>
                <a:solidFill>
                  <a:schemeClr val="tx1"/>
                </a:solidFill>
                <a:latin typeface="Lato Light" panose="020F0502020204030203" pitchFamily="34" charset="0"/>
              </a:defRPr>
            </a:lvl4pPr>
            <a:lvl5pPr marL="2057400" indent="-228600">
              <a:defRPr>
                <a:solidFill>
                  <a:schemeClr val="tx1"/>
                </a:solidFill>
                <a:latin typeface="Lato Light" panose="020F0502020204030203" pitchFamily="34" charset="0"/>
              </a:defRPr>
            </a:lvl5pPr>
            <a:lvl6pPr marL="2514600" indent="-228600" eaLnBrk="0" fontAlgn="base" hangingPunct="0">
              <a:spcBef>
                <a:spcPct val="0"/>
              </a:spcBef>
              <a:spcAft>
                <a:spcPct val="0"/>
              </a:spcAft>
              <a:defRPr>
                <a:solidFill>
                  <a:schemeClr val="tx1"/>
                </a:solidFill>
                <a:latin typeface="Lato Light" panose="020F0502020204030203" pitchFamily="34" charset="0"/>
              </a:defRPr>
            </a:lvl6pPr>
            <a:lvl7pPr marL="2971800" indent="-228600" eaLnBrk="0" fontAlgn="base" hangingPunct="0">
              <a:spcBef>
                <a:spcPct val="0"/>
              </a:spcBef>
              <a:spcAft>
                <a:spcPct val="0"/>
              </a:spcAft>
              <a:defRPr>
                <a:solidFill>
                  <a:schemeClr val="tx1"/>
                </a:solidFill>
                <a:latin typeface="Lato Light" panose="020F0502020204030203" pitchFamily="34" charset="0"/>
              </a:defRPr>
            </a:lvl7pPr>
            <a:lvl8pPr marL="3429000" indent="-228600" eaLnBrk="0" fontAlgn="base" hangingPunct="0">
              <a:spcBef>
                <a:spcPct val="0"/>
              </a:spcBef>
              <a:spcAft>
                <a:spcPct val="0"/>
              </a:spcAft>
              <a:defRPr>
                <a:solidFill>
                  <a:schemeClr val="tx1"/>
                </a:solidFill>
                <a:latin typeface="Lato Light" panose="020F0502020204030203" pitchFamily="34" charset="0"/>
              </a:defRPr>
            </a:lvl8pPr>
            <a:lvl9pPr marL="3886200" indent="-228600" eaLnBrk="0" fontAlgn="base" hangingPunct="0">
              <a:spcBef>
                <a:spcPct val="0"/>
              </a:spcBef>
              <a:spcAft>
                <a:spcPct val="0"/>
              </a:spcAft>
              <a:defRPr>
                <a:solidFill>
                  <a:schemeClr val="tx1"/>
                </a:solidFill>
                <a:latin typeface="Lato Light" panose="020F0502020204030203" pitchFamily="34" charset="0"/>
              </a:defRPr>
            </a:lvl9pPr>
          </a:lstStyle>
          <a:p>
            <a:pPr algn="ctr" eaLnBrk="1" hangingPunct="1">
              <a:defRPr/>
            </a:pPr>
            <a:fld id="{362E0B85-78EF-46AD-A107-858116F9E7C8}" type="slidenum">
              <a:rPr lang="en-US" altLang="tr-TR" sz="1100" smtClean="0">
                <a:solidFill>
                  <a:schemeClr val="tx2"/>
                </a:solidFill>
              </a:rPr>
              <a:pPr algn="ctr" eaLnBrk="1" hangingPunct="1">
                <a:defRPr/>
              </a:pPr>
              <a:t>‹#›</a:t>
            </a:fld>
            <a:endParaRPr lang="en-US" altLang="tr-TR" sz="1100">
              <a:solidFill>
                <a:schemeClr val="tx2"/>
              </a:solidFill>
            </a:endParaRPr>
          </a:p>
        </p:txBody>
      </p:sp>
      <p:sp>
        <p:nvSpPr>
          <p:cNvPr id="7" name="Picture Placeholder 3"/>
          <p:cNvSpPr>
            <a:spLocks noGrp="1"/>
          </p:cNvSpPr>
          <p:nvPr>
            <p:ph type="pic" sz="quarter" idx="19"/>
          </p:nvPr>
        </p:nvSpPr>
        <p:spPr>
          <a:xfrm>
            <a:off x="3048001" y="1"/>
            <a:ext cx="3047999" cy="6858000"/>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Tree>
    <p:extLst>
      <p:ext uri="{BB962C8B-B14F-4D97-AF65-F5344CB8AC3E}">
        <p14:creationId xmlns:p14="http://schemas.microsoft.com/office/powerpoint/2010/main" val="22017213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_Left">
    <p:spTree>
      <p:nvGrpSpPr>
        <p:cNvPr id="1" name=""/>
        <p:cNvGrpSpPr/>
        <p:nvPr/>
      </p:nvGrpSpPr>
      <p:grpSpPr>
        <a:xfrm>
          <a:off x="0" y="0"/>
          <a:ext cx="0" cy="0"/>
          <a:chOff x="0" y="0"/>
          <a:chExt cx="0" cy="0"/>
        </a:xfrm>
      </p:grpSpPr>
      <p:sp>
        <p:nvSpPr>
          <p:cNvPr id="5" name="Picture Placeholder 3"/>
          <p:cNvSpPr>
            <a:spLocks noGrp="1"/>
          </p:cNvSpPr>
          <p:nvPr>
            <p:ph type="pic" sz="quarter" idx="18"/>
          </p:nvPr>
        </p:nvSpPr>
        <p:spPr>
          <a:xfrm>
            <a:off x="-8588" y="2549790"/>
            <a:ext cx="2446993" cy="4308211"/>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
        <p:nvSpPr>
          <p:cNvPr id="6" name="Picture Placeholder 3"/>
          <p:cNvSpPr>
            <a:spLocks noGrp="1"/>
          </p:cNvSpPr>
          <p:nvPr>
            <p:ph type="pic" sz="quarter" idx="19"/>
          </p:nvPr>
        </p:nvSpPr>
        <p:spPr>
          <a:xfrm>
            <a:off x="4863912" y="2549790"/>
            <a:ext cx="2446993" cy="4308211"/>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
        <p:nvSpPr>
          <p:cNvPr id="7" name="Picture Placeholder 3"/>
          <p:cNvSpPr>
            <a:spLocks noGrp="1"/>
          </p:cNvSpPr>
          <p:nvPr>
            <p:ph type="pic" sz="quarter" idx="20"/>
          </p:nvPr>
        </p:nvSpPr>
        <p:spPr>
          <a:xfrm>
            <a:off x="9745007" y="2549790"/>
            <a:ext cx="2446993" cy="4308211"/>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Tree>
    <p:extLst>
      <p:ext uri="{BB962C8B-B14F-4D97-AF65-F5344CB8AC3E}">
        <p14:creationId xmlns:p14="http://schemas.microsoft.com/office/powerpoint/2010/main" val="13090244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a:t>Asıl başlık stili için tıklatın</a:t>
            </a:r>
            <a:endParaRPr lang="en-US"/>
          </a:p>
        </p:txBody>
      </p:sp>
      <p:sp>
        <p:nvSpPr>
          <p:cNvPr id="3" name="Content Placeholder 2"/>
          <p:cNvSpPr>
            <a:spLocks noGrp="1"/>
          </p:cNvSpPr>
          <p:nvPr>
            <p:ph idx="1"/>
          </p:nvPr>
        </p:nvSpPr>
        <p:spPr/>
        <p:txBody>
          <a:bodyPr/>
          <a:lstStyle/>
          <a:p>
            <a:pPr lvl="0"/>
            <a:r>
              <a:rPr lang="tr-TR"/>
              <a:t>Asıl metin stillerini düzenle</a:t>
            </a:r>
          </a:p>
          <a:p>
            <a:pPr lvl="1"/>
            <a:r>
              <a:rPr lang="tr-TR"/>
              <a:t>İkinci düzey</a:t>
            </a:r>
          </a:p>
          <a:p>
            <a:pPr lvl="2"/>
            <a:r>
              <a:rPr lang="tr-TR"/>
              <a:t>Üçüncü düzey</a:t>
            </a:r>
          </a:p>
          <a:p>
            <a:pPr lvl="3"/>
            <a:r>
              <a:rPr lang="tr-TR"/>
              <a:t>Dördüncü düzey</a:t>
            </a:r>
          </a:p>
          <a:p>
            <a:pPr lvl="4"/>
            <a:r>
              <a:rPr lang="tr-TR"/>
              <a:t>Beşinci düzey</a:t>
            </a:r>
            <a:endParaRPr lang="en-US"/>
          </a:p>
        </p:txBody>
      </p:sp>
      <p:sp>
        <p:nvSpPr>
          <p:cNvPr id="4" name="Date Placeholder 3">
            <a:extLst>
              <a:ext uri="{FF2B5EF4-FFF2-40B4-BE49-F238E27FC236}">
                <a16:creationId xmlns:a16="http://schemas.microsoft.com/office/drawing/2014/main" id="{5C5138E3-DDA0-3D7D-605C-D289C97DD134}"/>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C421A81B-E6D3-6901-4631-B395A066EEF8}"/>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D99CD799-D7AD-048D-DA30-E0B512B8904C}"/>
              </a:ext>
            </a:extLst>
          </p:cNvPr>
          <p:cNvSpPr>
            <a:spLocks noGrp="1"/>
          </p:cNvSpPr>
          <p:nvPr>
            <p:ph type="sldNum" sz="quarter" idx="12"/>
          </p:nvPr>
        </p:nvSpPr>
        <p:spPr/>
        <p:txBody>
          <a:bodyPr/>
          <a:lstStyle>
            <a:lvl1pPr>
              <a:defRPr/>
            </a:lvl1pPr>
          </a:lstStyle>
          <a:p>
            <a:pPr>
              <a:defRPr/>
            </a:pPr>
            <a:fld id="{B38AC0B6-9705-406F-8AA1-7BB80E06DAAD}" type="slidenum">
              <a:rPr lang="en-US" altLang="tr-TR"/>
              <a:pPr>
                <a:defRPr/>
              </a:pPr>
              <a:t>‹#›</a:t>
            </a:fld>
            <a:endParaRPr lang="en-US" altLang="tr-TR"/>
          </a:p>
        </p:txBody>
      </p:sp>
    </p:spTree>
    <p:extLst>
      <p:ext uri="{BB962C8B-B14F-4D97-AF65-F5344CB8AC3E}">
        <p14:creationId xmlns:p14="http://schemas.microsoft.com/office/powerpoint/2010/main" val="31967622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Left">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90DFE987-FDBC-6B7A-147D-D1155BCE4D09}"/>
              </a:ext>
            </a:extLst>
          </p:cNvPr>
          <p:cNvSpPr/>
          <p:nvPr/>
        </p:nvSpPr>
        <p:spPr>
          <a:xfrm>
            <a:off x="11350625" y="6361113"/>
            <a:ext cx="344488" cy="344487"/>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2"/>
              </a:solidFill>
            </a:endParaRPr>
          </a:p>
        </p:txBody>
      </p:sp>
      <p:grpSp>
        <p:nvGrpSpPr>
          <p:cNvPr id="3" name="Group 4">
            <a:extLst>
              <a:ext uri="{FF2B5EF4-FFF2-40B4-BE49-F238E27FC236}">
                <a16:creationId xmlns:a16="http://schemas.microsoft.com/office/drawing/2014/main" id="{F3C80112-71D6-38EA-3E3A-D3AE75BE4990}"/>
              </a:ext>
            </a:extLst>
          </p:cNvPr>
          <p:cNvGrpSpPr>
            <a:grpSpLocks noChangeAspect="1"/>
          </p:cNvGrpSpPr>
          <p:nvPr/>
        </p:nvGrpSpPr>
        <p:grpSpPr bwMode="auto">
          <a:xfrm>
            <a:off x="527050" y="6389688"/>
            <a:ext cx="1039813" cy="284162"/>
            <a:chOff x="297" y="1187"/>
            <a:chExt cx="7085" cy="1944"/>
          </a:xfrm>
        </p:grpSpPr>
        <p:sp>
          <p:nvSpPr>
            <p:cNvPr id="4" name="Freeform 9">
              <a:extLst>
                <a:ext uri="{FF2B5EF4-FFF2-40B4-BE49-F238E27FC236}">
                  <a16:creationId xmlns:a16="http://schemas.microsoft.com/office/drawing/2014/main" id="{AF7C0C43-E7F9-8B82-9F36-1C9029066E7E}"/>
                </a:ext>
              </a:extLst>
            </p:cNvPr>
            <p:cNvSpPr>
              <a:spLocks noEditPoints="1"/>
            </p:cNvSpPr>
            <p:nvPr userDrawn="1"/>
          </p:nvSpPr>
          <p:spPr bwMode="auto">
            <a:xfrm>
              <a:off x="297" y="1189"/>
              <a:ext cx="1266" cy="1105"/>
            </a:xfrm>
            <a:custGeom>
              <a:avLst/>
              <a:gdLst>
                <a:gd name="T0" fmla="*/ 592814223 w 535"/>
                <a:gd name="T1" fmla="*/ 490470457 h 466"/>
                <a:gd name="T2" fmla="*/ 475447313 w 535"/>
                <a:gd name="T3" fmla="*/ 198813566 h 466"/>
                <a:gd name="T4" fmla="*/ 254086917 w 535"/>
                <a:gd name="T5" fmla="*/ 767261907 h 466"/>
                <a:gd name="T6" fmla="*/ 205935911 w 535"/>
                <a:gd name="T7" fmla="*/ 898255873 h 466"/>
                <a:gd name="T8" fmla="*/ 135177273 w 535"/>
                <a:gd name="T9" fmla="*/ 1082812292 h 466"/>
                <a:gd name="T10" fmla="*/ 135177273 w 535"/>
                <a:gd name="T11" fmla="*/ 1079972834 h 466"/>
                <a:gd name="T12" fmla="*/ 102568007 w 535"/>
                <a:gd name="T13" fmla="*/ 1104057219 h 466"/>
                <a:gd name="T14" fmla="*/ 25381052 w 535"/>
                <a:gd name="T15" fmla="*/ 1104057219 h 466"/>
                <a:gd name="T16" fmla="*/ 0 w 535"/>
                <a:gd name="T17" fmla="*/ 1087116478 h 466"/>
                <a:gd name="T18" fmla="*/ 2031267 w 535"/>
                <a:gd name="T19" fmla="*/ 1078264271 h 466"/>
                <a:gd name="T20" fmla="*/ 4806699 w 535"/>
                <a:gd name="T21" fmla="*/ 1068152912 h 466"/>
                <a:gd name="T22" fmla="*/ 423281075 w 535"/>
                <a:gd name="T23" fmla="*/ 19018883 h 466"/>
                <a:gd name="T24" fmla="*/ 425157884 w 535"/>
                <a:gd name="T25" fmla="*/ 16871626 h 466"/>
                <a:gd name="T26" fmla="*/ 423281075 w 535"/>
                <a:gd name="T27" fmla="*/ 19018883 h 466"/>
                <a:gd name="T28" fmla="*/ 430186005 w 535"/>
                <a:gd name="T29" fmla="*/ 7115093 h 466"/>
                <a:gd name="T30" fmla="*/ 453467932 w 535"/>
                <a:gd name="T31" fmla="*/ 0 h 466"/>
                <a:gd name="T32" fmla="*/ 500809590 w 535"/>
                <a:gd name="T33" fmla="*/ 0 h 466"/>
                <a:gd name="T34" fmla="*/ 522062318 w 535"/>
                <a:gd name="T35" fmla="*/ 7115093 h 466"/>
                <a:gd name="T36" fmla="*/ 528624526 w 535"/>
                <a:gd name="T37" fmla="*/ 19018883 h 466"/>
                <a:gd name="T38" fmla="*/ 530657417 w 535"/>
                <a:gd name="T39" fmla="*/ 19018883 h 466"/>
                <a:gd name="T40" fmla="*/ 532753721 w 535"/>
                <a:gd name="T41" fmla="*/ 23986629 h 466"/>
                <a:gd name="T42" fmla="*/ 530657417 w 535"/>
                <a:gd name="T43" fmla="*/ 21137875 h 466"/>
                <a:gd name="T44" fmla="*/ 656507488 w 535"/>
                <a:gd name="T45" fmla="*/ 336755356 h 466"/>
                <a:gd name="T46" fmla="*/ 592814223 w 535"/>
                <a:gd name="T47" fmla="*/ 490470457 h 466"/>
                <a:gd name="T48" fmla="*/ 1063415281 w 535"/>
                <a:gd name="T49" fmla="*/ 1007003229 h 466"/>
                <a:gd name="T50" fmla="*/ 1020096784 w 535"/>
                <a:gd name="T51" fmla="*/ 898255873 h 466"/>
                <a:gd name="T52" fmla="*/ 862287051 w 535"/>
                <a:gd name="T53" fmla="*/ 490470457 h 466"/>
                <a:gd name="T54" fmla="*/ 745075518 w 535"/>
                <a:gd name="T55" fmla="*/ 198813566 h 466"/>
                <a:gd name="T56" fmla="*/ 524093625 w 535"/>
                <a:gd name="T57" fmla="*/ 767261907 h 466"/>
                <a:gd name="T58" fmla="*/ 473909525 w 535"/>
                <a:gd name="T59" fmla="*/ 898255873 h 466"/>
                <a:gd name="T60" fmla="*/ 405184384 w 535"/>
                <a:gd name="T61" fmla="*/ 1082812292 h 466"/>
                <a:gd name="T62" fmla="*/ 405184384 w 535"/>
                <a:gd name="T63" fmla="*/ 1079972834 h 466"/>
                <a:gd name="T64" fmla="*/ 372851835 w 535"/>
                <a:gd name="T65" fmla="*/ 1104057219 h 466"/>
                <a:gd name="T66" fmla="*/ 295029932 w 535"/>
                <a:gd name="T67" fmla="*/ 1104057219 h 466"/>
                <a:gd name="T68" fmla="*/ 269628205 w 535"/>
                <a:gd name="T69" fmla="*/ 1087116478 h 466"/>
                <a:gd name="T70" fmla="*/ 272403609 w 535"/>
                <a:gd name="T71" fmla="*/ 1078264271 h 466"/>
                <a:gd name="T72" fmla="*/ 274527635 w 535"/>
                <a:gd name="T73" fmla="*/ 1068152912 h 466"/>
                <a:gd name="T74" fmla="*/ 693246507 w 535"/>
                <a:gd name="T75" fmla="*/ 19018883 h 466"/>
                <a:gd name="T76" fmla="*/ 694891188 w 535"/>
                <a:gd name="T77" fmla="*/ 16871626 h 466"/>
                <a:gd name="T78" fmla="*/ 693246507 w 535"/>
                <a:gd name="T79" fmla="*/ 19018883 h 466"/>
                <a:gd name="T80" fmla="*/ 699814170 w 535"/>
                <a:gd name="T81" fmla="*/ 7115093 h 466"/>
                <a:gd name="T82" fmla="*/ 722963600 w 535"/>
                <a:gd name="T83" fmla="*/ 0 h 466"/>
                <a:gd name="T84" fmla="*/ 770453496 w 535"/>
                <a:gd name="T85" fmla="*/ 0 h 466"/>
                <a:gd name="T86" fmla="*/ 791690909 w 535"/>
                <a:gd name="T87" fmla="*/ 7115093 h 466"/>
                <a:gd name="T88" fmla="*/ 798593889 w 535"/>
                <a:gd name="T89" fmla="*/ 19018883 h 466"/>
                <a:gd name="T90" fmla="*/ 800282813 w 535"/>
                <a:gd name="T91" fmla="*/ 19018883 h 466"/>
                <a:gd name="T92" fmla="*/ 800282813 w 535"/>
                <a:gd name="T93" fmla="*/ 23986629 h 466"/>
                <a:gd name="T94" fmla="*/ 800282813 w 535"/>
                <a:gd name="T95" fmla="*/ 21137875 h 466"/>
                <a:gd name="T96" fmla="*/ 1221874959 w 535"/>
                <a:gd name="T97" fmla="*/ 1068152912 h 466"/>
                <a:gd name="T98" fmla="*/ 1223907795 w 535"/>
                <a:gd name="T99" fmla="*/ 1073239556 h 466"/>
                <a:gd name="T100" fmla="*/ 1223907795 w 535"/>
                <a:gd name="T101" fmla="*/ 1087116478 h 466"/>
                <a:gd name="T102" fmla="*/ 1198604492 w 535"/>
                <a:gd name="T103" fmla="*/ 1104057219 h 466"/>
                <a:gd name="T104" fmla="*/ 1123315401 w 535"/>
                <a:gd name="T105" fmla="*/ 1104057219 h 466"/>
                <a:gd name="T106" fmla="*/ 1091504023 w 535"/>
                <a:gd name="T107" fmla="*/ 1082812292 h 466"/>
                <a:gd name="T108" fmla="*/ 1063415281 w 535"/>
                <a:gd name="T109" fmla="*/ 1007003229 h 4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35" h="466">
                  <a:moveTo>
                    <a:pt x="259" y="207"/>
                  </a:moveTo>
                  <a:cubicBezTo>
                    <a:pt x="208" y="84"/>
                    <a:pt x="208" y="84"/>
                    <a:pt x="208" y="84"/>
                  </a:cubicBezTo>
                  <a:cubicBezTo>
                    <a:pt x="111" y="324"/>
                    <a:pt x="111" y="324"/>
                    <a:pt x="111" y="324"/>
                  </a:cubicBezTo>
                  <a:cubicBezTo>
                    <a:pt x="90" y="379"/>
                    <a:pt x="90" y="379"/>
                    <a:pt x="90" y="379"/>
                  </a:cubicBezTo>
                  <a:cubicBezTo>
                    <a:pt x="59" y="457"/>
                    <a:pt x="59" y="457"/>
                    <a:pt x="59" y="457"/>
                  </a:cubicBezTo>
                  <a:cubicBezTo>
                    <a:pt x="59" y="456"/>
                    <a:pt x="59" y="456"/>
                    <a:pt x="59" y="456"/>
                  </a:cubicBezTo>
                  <a:cubicBezTo>
                    <a:pt x="56" y="462"/>
                    <a:pt x="51" y="466"/>
                    <a:pt x="45" y="466"/>
                  </a:cubicBezTo>
                  <a:cubicBezTo>
                    <a:pt x="11" y="466"/>
                    <a:pt x="11" y="466"/>
                    <a:pt x="11" y="466"/>
                  </a:cubicBezTo>
                  <a:cubicBezTo>
                    <a:pt x="4" y="466"/>
                    <a:pt x="0" y="464"/>
                    <a:pt x="0" y="459"/>
                  </a:cubicBezTo>
                  <a:cubicBezTo>
                    <a:pt x="0" y="458"/>
                    <a:pt x="0" y="457"/>
                    <a:pt x="1" y="455"/>
                  </a:cubicBezTo>
                  <a:cubicBezTo>
                    <a:pt x="2" y="451"/>
                    <a:pt x="2" y="451"/>
                    <a:pt x="2" y="451"/>
                  </a:cubicBezTo>
                  <a:cubicBezTo>
                    <a:pt x="185" y="8"/>
                    <a:pt x="185" y="8"/>
                    <a:pt x="185" y="8"/>
                  </a:cubicBezTo>
                  <a:cubicBezTo>
                    <a:pt x="185" y="8"/>
                    <a:pt x="185" y="7"/>
                    <a:pt x="186" y="7"/>
                  </a:cubicBezTo>
                  <a:cubicBezTo>
                    <a:pt x="185" y="8"/>
                    <a:pt x="185" y="8"/>
                    <a:pt x="185" y="8"/>
                  </a:cubicBezTo>
                  <a:cubicBezTo>
                    <a:pt x="188" y="3"/>
                    <a:pt x="188" y="3"/>
                    <a:pt x="188" y="3"/>
                  </a:cubicBezTo>
                  <a:cubicBezTo>
                    <a:pt x="190" y="1"/>
                    <a:pt x="193" y="0"/>
                    <a:pt x="198" y="0"/>
                  </a:cubicBezTo>
                  <a:cubicBezTo>
                    <a:pt x="219" y="0"/>
                    <a:pt x="219" y="0"/>
                    <a:pt x="219" y="0"/>
                  </a:cubicBezTo>
                  <a:cubicBezTo>
                    <a:pt x="224" y="0"/>
                    <a:pt x="227" y="1"/>
                    <a:pt x="228" y="3"/>
                  </a:cubicBezTo>
                  <a:cubicBezTo>
                    <a:pt x="231" y="8"/>
                    <a:pt x="231" y="8"/>
                    <a:pt x="231" y="8"/>
                  </a:cubicBezTo>
                  <a:cubicBezTo>
                    <a:pt x="231" y="8"/>
                    <a:pt x="231" y="8"/>
                    <a:pt x="232" y="8"/>
                  </a:cubicBezTo>
                  <a:cubicBezTo>
                    <a:pt x="233" y="10"/>
                    <a:pt x="233" y="10"/>
                    <a:pt x="233" y="10"/>
                  </a:cubicBezTo>
                  <a:cubicBezTo>
                    <a:pt x="232" y="9"/>
                    <a:pt x="232" y="9"/>
                    <a:pt x="232" y="9"/>
                  </a:cubicBezTo>
                  <a:cubicBezTo>
                    <a:pt x="287" y="142"/>
                    <a:pt x="287" y="142"/>
                    <a:pt x="287" y="142"/>
                  </a:cubicBezTo>
                  <a:lnTo>
                    <a:pt x="259" y="207"/>
                  </a:lnTo>
                  <a:close/>
                  <a:moveTo>
                    <a:pt x="465" y="425"/>
                  </a:moveTo>
                  <a:cubicBezTo>
                    <a:pt x="446" y="379"/>
                    <a:pt x="446" y="379"/>
                    <a:pt x="446" y="379"/>
                  </a:cubicBezTo>
                  <a:cubicBezTo>
                    <a:pt x="377" y="207"/>
                    <a:pt x="377" y="207"/>
                    <a:pt x="377" y="207"/>
                  </a:cubicBezTo>
                  <a:cubicBezTo>
                    <a:pt x="326" y="84"/>
                    <a:pt x="326" y="84"/>
                    <a:pt x="326" y="84"/>
                  </a:cubicBezTo>
                  <a:cubicBezTo>
                    <a:pt x="229" y="324"/>
                    <a:pt x="229" y="324"/>
                    <a:pt x="229" y="324"/>
                  </a:cubicBezTo>
                  <a:cubicBezTo>
                    <a:pt x="207" y="379"/>
                    <a:pt x="207" y="379"/>
                    <a:pt x="207" y="379"/>
                  </a:cubicBezTo>
                  <a:cubicBezTo>
                    <a:pt x="177" y="457"/>
                    <a:pt x="177" y="457"/>
                    <a:pt x="177" y="457"/>
                  </a:cubicBezTo>
                  <a:cubicBezTo>
                    <a:pt x="177" y="456"/>
                    <a:pt x="177" y="456"/>
                    <a:pt x="177" y="456"/>
                  </a:cubicBezTo>
                  <a:cubicBezTo>
                    <a:pt x="174" y="462"/>
                    <a:pt x="169" y="466"/>
                    <a:pt x="163" y="466"/>
                  </a:cubicBezTo>
                  <a:cubicBezTo>
                    <a:pt x="129" y="466"/>
                    <a:pt x="129" y="466"/>
                    <a:pt x="129" y="466"/>
                  </a:cubicBezTo>
                  <a:cubicBezTo>
                    <a:pt x="122" y="466"/>
                    <a:pt x="118" y="464"/>
                    <a:pt x="118" y="459"/>
                  </a:cubicBezTo>
                  <a:cubicBezTo>
                    <a:pt x="118" y="458"/>
                    <a:pt x="118" y="457"/>
                    <a:pt x="119" y="455"/>
                  </a:cubicBezTo>
                  <a:cubicBezTo>
                    <a:pt x="120" y="451"/>
                    <a:pt x="120" y="451"/>
                    <a:pt x="120" y="451"/>
                  </a:cubicBezTo>
                  <a:cubicBezTo>
                    <a:pt x="303" y="8"/>
                    <a:pt x="303" y="8"/>
                    <a:pt x="303" y="8"/>
                  </a:cubicBezTo>
                  <a:cubicBezTo>
                    <a:pt x="303" y="8"/>
                    <a:pt x="303" y="7"/>
                    <a:pt x="304" y="7"/>
                  </a:cubicBezTo>
                  <a:cubicBezTo>
                    <a:pt x="303" y="8"/>
                    <a:pt x="303" y="8"/>
                    <a:pt x="303" y="8"/>
                  </a:cubicBezTo>
                  <a:cubicBezTo>
                    <a:pt x="306" y="3"/>
                    <a:pt x="306" y="3"/>
                    <a:pt x="306" y="3"/>
                  </a:cubicBezTo>
                  <a:cubicBezTo>
                    <a:pt x="308" y="1"/>
                    <a:pt x="311" y="0"/>
                    <a:pt x="316" y="0"/>
                  </a:cubicBezTo>
                  <a:cubicBezTo>
                    <a:pt x="337" y="0"/>
                    <a:pt x="337" y="0"/>
                    <a:pt x="337" y="0"/>
                  </a:cubicBezTo>
                  <a:cubicBezTo>
                    <a:pt x="342" y="0"/>
                    <a:pt x="344" y="1"/>
                    <a:pt x="346" y="3"/>
                  </a:cubicBezTo>
                  <a:cubicBezTo>
                    <a:pt x="349" y="8"/>
                    <a:pt x="349" y="8"/>
                    <a:pt x="349" y="8"/>
                  </a:cubicBezTo>
                  <a:cubicBezTo>
                    <a:pt x="349" y="8"/>
                    <a:pt x="349" y="8"/>
                    <a:pt x="350" y="8"/>
                  </a:cubicBezTo>
                  <a:cubicBezTo>
                    <a:pt x="350" y="10"/>
                    <a:pt x="350" y="10"/>
                    <a:pt x="350" y="10"/>
                  </a:cubicBezTo>
                  <a:cubicBezTo>
                    <a:pt x="350" y="9"/>
                    <a:pt x="350" y="9"/>
                    <a:pt x="350" y="9"/>
                  </a:cubicBezTo>
                  <a:cubicBezTo>
                    <a:pt x="534" y="451"/>
                    <a:pt x="534" y="451"/>
                    <a:pt x="534" y="451"/>
                  </a:cubicBezTo>
                  <a:cubicBezTo>
                    <a:pt x="535" y="453"/>
                    <a:pt x="535" y="453"/>
                    <a:pt x="535" y="453"/>
                  </a:cubicBezTo>
                  <a:cubicBezTo>
                    <a:pt x="535" y="455"/>
                    <a:pt x="535" y="457"/>
                    <a:pt x="535" y="459"/>
                  </a:cubicBezTo>
                  <a:cubicBezTo>
                    <a:pt x="535" y="464"/>
                    <a:pt x="532" y="466"/>
                    <a:pt x="524" y="466"/>
                  </a:cubicBezTo>
                  <a:cubicBezTo>
                    <a:pt x="491" y="466"/>
                    <a:pt x="491" y="466"/>
                    <a:pt x="491" y="466"/>
                  </a:cubicBezTo>
                  <a:cubicBezTo>
                    <a:pt x="479" y="466"/>
                    <a:pt x="477" y="456"/>
                    <a:pt x="477" y="457"/>
                  </a:cubicBezTo>
                  <a:lnTo>
                    <a:pt x="465" y="425"/>
                  </a:lnTo>
                  <a:close/>
                </a:path>
              </a:pathLst>
            </a:custGeom>
            <a:solidFill>
              <a:srgbClr val="2580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 name="Freeform 6">
              <a:extLst>
                <a:ext uri="{FF2B5EF4-FFF2-40B4-BE49-F238E27FC236}">
                  <a16:creationId xmlns:a16="http://schemas.microsoft.com/office/drawing/2014/main" id="{A4C82A77-3B6D-20E7-77BC-1317EE0DE952}"/>
                </a:ext>
              </a:extLst>
            </p:cNvPr>
            <p:cNvSpPr>
              <a:spLocks noEditPoints="1"/>
            </p:cNvSpPr>
            <p:nvPr userDrawn="1"/>
          </p:nvSpPr>
          <p:spPr bwMode="auto">
            <a:xfrm>
              <a:off x="1456" y="1189"/>
              <a:ext cx="986" cy="1105"/>
            </a:xfrm>
            <a:custGeom>
              <a:avLst/>
              <a:gdLst>
                <a:gd name="T0" fmla="*/ 26658435 w 417"/>
                <a:gd name="T1" fmla="*/ 1104057219 h 466"/>
                <a:gd name="T2" fmla="*/ 0 w 417"/>
                <a:gd name="T3" fmla="*/ 1084997487 h 466"/>
                <a:gd name="T4" fmla="*/ 0 w 417"/>
                <a:gd name="T5" fmla="*/ 1071148297 h 466"/>
                <a:gd name="T6" fmla="*/ 2016564 w 417"/>
                <a:gd name="T7" fmla="*/ 1065967725 h 466"/>
                <a:gd name="T8" fmla="*/ 440005146 w 417"/>
                <a:gd name="T9" fmla="*/ 19018883 h 466"/>
                <a:gd name="T10" fmla="*/ 469546985 w 417"/>
                <a:gd name="T11" fmla="*/ 0 h 466"/>
                <a:gd name="T12" fmla="*/ 474377529 w 417"/>
                <a:gd name="T13" fmla="*/ 0 h 466"/>
                <a:gd name="T14" fmla="*/ 505945896 w 417"/>
                <a:gd name="T15" fmla="*/ 21137875 h 466"/>
                <a:gd name="T16" fmla="*/ 612172944 w 417"/>
                <a:gd name="T17" fmla="*/ 284828039 h 466"/>
                <a:gd name="T18" fmla="*/ 830540312 w 417"/>
                <a:gd name="T19" fmla="*/ 805128453 h 466"/>
                <a:gd name="T20" fmla="*/ 936767478 w 417"/>
                <a:gd name="T21" fmla="*/ 1065967725 h 466"/>
                <a:gd name="T22" fmla="*/ 936767478 w 417"/>
                <a:gd name="T23" fmla="*/ 1065967725 h 466"/>
                <a:gd name="T24" fmla="*/ 941198430 w 417"/>
                <a:gd name="T25" fmla="*/ 1084997487 h 466"/>
                <a:gd name="T26" fmla="*/ 914535082 w 417"/>
                <a:gd name="T27" fmla="*/ 1104057219 h 466"/>
                <a:gd name="T28" fmla="*/ 26658435 w 417"/>
                <a:gd name="T29" fmla="*/ 1104057219 h 466"/>
                <a:gd name="T30" fmla="*/ 173692259 w 417"/>
                <a:gd name="T31" fmla="*/ 974102843 h 466"/>
                <a:gd name="T32" fmla="*/ 332252753 w 417"/>
                <a:gd name="T33" fmla="*/ 974102843 h 466"/>
                <a:gd name="T34" fmla="*/ 767506131 w 417"/>
                <a:gd name="T35" fmla="*/ 974102843 h 466"/>
                <a:gd name="T36" fmla="*/ 471651445 w 417"/>
                <a:gd name="T37" fmla="*/ 238808028 h 466"/>
                <a:gd name="T38" fmla="*/ 173692259 w 417"/>
                <a:gd name="T39" fmla="*/ 974102843 h 4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17" h="466">
                  <a:moveTo>
                    <a:pt x="12" y="466"/>
                  </a:moveTo>
                  <a:cubicBezTo>
                    <a:pt x="4" y="466"/>
                    <a:pt x="0" y="463"/>
                    <a:pt x="0" y="458"/>
                  </a:cubicBezTo>
                  <a:cubicBezTo>
                    <a:pt x="0" y="455"/>
                    <a:pt x="0" y="453"/>
                    <a:pt x="0" y="452"/>
                  </a:cubicBezTo>
                  <a:cubicBezTo>
                    <a:pt x="1" y="450"/>
                    <a:pt x="1" y="450"/>
                    <a:pt x="1" y="450"/>
                  </a:cubicBezTo>
                  <a:cubicBezTo>
                    <a:pt x="195" y="8"/>
                    <a:pt x="195" y="8"/>
                    <a:pt x="195" y="8"/>
                  </a:cubicBezTo>
                  <a:cubicBezTo>
                    <a:pt x="196" y="5"/>
                    <a:pt x="197" y="0"/>
                    <a:pt x="208" y="0"/>
                  </a:cubicBezTo>
                  <a:cubicBezTo>
                    <a:pt x="210" y="0"/>
                    <a:pt x="210" y="0"/>
                    <a:pt x="210" y="0"/>
                  </a:cubicBezTo>
                  <a:cubicBezTo>
                    <a:pt x="222" y="0"/>
                    <a:pt x="222" y="7"/>
                    <a:pt x="224" y="9"/>
                  </a:cubicBezTo>
                  <a:cubicBezTo>
                    <a:pt x="239" y="46"/>
                    <a:pt x="255" y="83"/>
                    <a:pt x="271" y="120"/>
                  </a:cubicBezTo>
                  <a:cubicBezTo>
                    <a:pt x="368" y="340"/>
                    <a:pt x="368" y="340"/>
                    <a:pt x="368" y="340"/>
                  </a:cubicBezTo>
                  <a:cubicBezTo>
                    <a:pt x="384" y="377"/>
                    <a:pt x="400" y="414"/>
                    <a:pt x="415" y="450"/>
                  </a:cubicBezTo>
                  <a:cubicBezTo>
                    <a:pt x="415" y="450"/>
                    <a:pt x="415" y="450"/>
                    <a:pt x="415" y="450"/>
                  </a:cubicBezTo>
                  <a:cubicBezTo>
                    <a:pt x="417" y="458"/>
                    <a:pt x="417" y="458"/>
                    <a:pt x="417" y="458"/>
                  </a:cubicBezTo>
                  <a:cubicBezTo>
                    <a:pt x="417" y="463"/>
                    <a:pt x="413" y="466"/>
                    <a:pt x="405" y="466"/>
                  </a:cubicBezTo>
                  <a:lnTo>
                    <a:pt x="12" y="466"/>
                  </a:lnTo>
                  <a:close/>
                  <a:moveTo>
                    <a:pt x="77" y="411"/>
                  </a:moveTo>
                  <a:cubicBezTo>
                    <a:pt x="147" y="411"/>
                    <a:pt x="147" y="411"/>
                    <a:pt x="147" y="411"/>
                  </a:cubicBezTo>
                  <a:cubicBezTo>
                    <a:pt x="340" y="411"/>
                    <a:pt x="340" y="411"/>
                    <a:pt x="340" y="411"/>
                  </a:cubicBezTo>
                  <a:cubicBezTo>
                    <a:pt x="209" y="101"/>
                    <a:pt x="209" y="101"/>
                    <a:pt x="209" y="101"/>
                  </a:cubicBezTo>
                  <a:lnTo>
                    <a:pt x="77" y="411"/>
                  </a:lnTo>
                  <a:close/>
                </a:path>
              </a:pathLst>
            </a:custGeom>
            <a:solidFill>
              <a:srgbClr val="1993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 name="Freeform 7">
              <a:extLst>
                <a:ext uri="{FF2B5EF4-FFF2-40B4-BE49-F238E27FC236}">
                  <a16:creationId xmlns:a16="http://schemas.microsoft.com/office/drawing/2014/main" id="{2C09501A-F498-6DA8-A1D6-574AF89C53CB}"/>
                </a:ext>
              </a:extLst>
            </p:cNvPr>
            <p:cNvSpPr>
              <a:spLocks noEditPoints="1"/>
            </p:cNvSpPr>
            <p:nvPr userDrawn="1"/>
          </p:nvSpPr>
          <p:spPr bwMode="auto">
            <a:xfrm>
              <a:off x="2501" y="1189"/>
              <a:ext cx="1594" cy="1942"/>
            </a:xfrm>
            <a:custGeom>
              <a:avLst/>
              <a:gdLst>
                <a:gd name="T0" fmla="*/ 1483443497 w 674"/>
                <a:gd name="T1" fmla="*/ 1714655374 h 819"/>
                <a:gd name="T2" fmla="*/ 1526729097 w 674"/>
                <a:gd name="T3" fmla="*/ 1761916426 h 819"/>
                <a:gd name="T4" fmla="*/ 1526729097 w 674"/>
                <a:gd name="T5" fmla="*/ 1892482889 h 819"/>
                <a:gd name="T6" fmla="*/ 1483443497 w 674"/>
                <a:gd name="T7" fmla="*/ 1939529634 h 819"/>
                <a:gd name="T8" fmla="*/ 45037621 w 674"/>
                <a:gd name="T9" fmla="*/ 1939529634 h 819"/>
                <a:gd name="T10" fmla="*/ 2021131 w 674"/>
                <a:gd name="T11" fmla="*/ 1892482889 h 819"/>
                <a:gd name="T12" fmla="*/ 2021131 w 674"/>
                <a:gd name="T13" fmla="*/ 1747816468 h 819"/>
                <a:gd name="T14" fmla="*/ 4779945 w 674"/>
                <a:gd name="T15" fmla="*/ 1718918526 h 819"/>
                <a:gd name="T16" fmla="*/ 1173181872 w 674"/>
                <a:gd name="T17" fmla="*/ 224874255 h 819"/>
                <a:gd name="T18" fmla="*/ 67999529 w 674"/>
                <a:gd name="T19" fmla="*/ 224874255 h 819"/>
                <a:gd name="T20" fmla="*/ 23082570 w 674"/>
                <a:gd name="T21" fmla="*/ 177827380 h 819"/>
                <a:gd name="T22" fmla="*/ 23082570 w 674"/>
                <a:gd name="T23" fmla="*/ 39995312 h 819"/>
                <a:gd name="T24" fmla="*/ 67999529 w 674"/>
                <a:gd name="T25" fmla="*/ 0 h 819"/>
                <a:gd name="T26" fmla="*/ 1415437178 w 674"/>
                <a:gd name="T27" fmla="*/ 0 h 819"/>
                <a:gd name="T28" fmla="*/ 1460854109 w 674"/>
                <a:gd name="T29" fmla="*/ 45085377 h 819"/>
                <a:gd name="T30" fmla="*/ 1460854109 w 674"/>
                <a:gd name="T31" fmla="*/ 191701471 h 819"/>
                <a:gd name="T32" fmla="*/ 1458729657 w 674"/>
                <a:gd name="T33" fmla="*/ 205471911 h 819"/>
                <a:gd name="T34" fmla="*/ 1451728403 w 674"/>
                <a:gd name="T35" fmla="*/ 224874255 h 819"/>
                <a:gd name="T36" fmla="*/ 1453837196 w 674"/>
                <a:gd name="T37" fmla="*/ 220773085 h 819"/>
                <a:gd name="T38" fmla="*/ 298805398 w 674"/>
                <a:gd name="T39" fmla="*/ 1714655374 h 819"/>
                <a:gd name="T40" fmla="*/ 892477599 w 674"/>
                <a:gd name="T41" fmla="*/ 1714655374 h 819"/>
                <a:gd name="T42" fmla="*/ 1483443497 w 674"/>
                <a:gd name="T43" fmla="*/ 1714655374 h 819"/>
                <a:gd name="T44" fmla="*/ 901071203 w 674"/>
                <a:gd name="T45" fmla="*/ 1338067130 h 819"/>
                <a:gd name="T46" fmla="*/ 1485464242 w 674"/>
                <a:gd name="T47" fmla="*/ 1338067130 h 819"/>
                <a:gd name="T48" fmla="*/ 1526729097 w 674"/>
                <a:gd name="T49" fmla="*/ 1380181100 h 819"/>
                <a:gd name="T50" fmla="*/ 1526729097 w 674"/>
                <a:gd name="T51" fmla="*/ 1518014804 h 819"/>
                <a:gd name="T52" fmla="*/ 1485464242 w 674"/>
                <a:gd name="T53" fmla="*/ 1565124966 h 819"/>
                <a:gd name="T54" fmla="*/ 899479284 w 674"/>
                <a:gd name="T55" fmla="*/ 1565124966 h 819"/>
                <a:gd name="T56" fmla="*/ 858051680 w 674"/>
                <a:gd name="T57" fmla="*/ 1525126678 h 819"/>
                <a:gd name="T58" fmla="*/ 858051680 w 674"/>
                <a:gd name="T59" fmla="*/ 1385323779 h 819"/>
                <a:gd name="T60" fmla="*/ 872788267 w 674"/>
                <a:gd name="T61" fmla="*/ 1354121744 h 819"/>
                <a:gd name="T62" fmla="*/ 901071203 w 674"/>
                <a:gd name="T63" fmla="*/ 1338067130 h 81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74" h="819">
                  <a:moveTo>
                    <a:pt x="655" y="724"/>
                  </a:moveTo>
                  <a:cubicBezTo>
                    <a:pt x="654" y="724"/>
                    <a:pt x="674" y="721"/>
                    <a:pt x="674" y="744"/>
                  </a:cubicBezTo>
                  <a:cubicBezTo>
                    <a:pt x="674" y="799"/>
                    <a:pt x="674" y="799"/>
                    <a:pt x="674" y="799"/>
                  </a:cubicBezTo>
                  <a:cubicBezTo>
                    <a:pt x="674" y="809"/>
                    <a:pt x="666" y="819"/>
                    <a:pt x="655" y="819"/>
                  </a:cubicBezTo>
                  <a:cubicBezTo>
                    <a:pt x="20" y="819"/>
                    <a:pt x="20" y="819"/>
                    <a:pt x="20" y="819"/>
                  </a:cubicBezTo>
                  <a:cubicBezTo>
                    <a:pt x="10" y="819"/>
                    <a:pt x="0" y="811"/>
                    <a:pt x="1" y="799"/>
                  </a:cubicBezTo>
                  <a:cubicBezTo>
                    <a:pt x="1" y="738"/>
                    <a:pt x="1" y="738"/>
                    <a:pt x="1" y="738"/>
                  </a:cubicBezTo>
                  <a:cubicBezTo>
                    <a:pt x="0" y="735"/>
                    <a:pt x="2" y="730"/>
                    <a:pt x="2" y="726"/>
                  </a:cubicBezTo>
                  <a:cubicBezTo>
                    <a:pt x="518" y="95"/>
                    <a:pt x="518" y="95"/>
                    <a:pt x="518" y="95"/>
                  </a:cubicBezTo>
                  <a:cubicBezTo>
                    <a:pt x="30" y="95"/>
                    <a:pt x="30" y="95"/>
                    <a:pt x="30" y="95"/>
                  </a:cubicBezTo>
                  <a:cubicBezTo>
                    <a:pt x="15" y="95"/>
                    <a:pt x="10" y="88"/>
                    <a:pt x="10" y="75"/>
                  </a:cubicBezTo>
                  <a:cubicBezTo>
                    <a:pt x="10" y="17"/>
                    <a:pt x="10" y="17"/>
                    <a:pt x="10" y="17"/>
                  </a:cubicBezTo>
                  <a:cubicBezTo>
                    <a:pt x="10" y="5"/>
                    <a:pt x="15" y="0"/>
                    <a:pt x="30" y="0"/>
                  </a:cubicBezTo>
                  <a:cubicBezTo>
                    <a:pt x="625" y="0"/>
                    <a:pt x="625" y="0"/>
                    <a:pt x="625" y="0"/>
                  </a:cubicBezTo>
                  <a:cubicBezTo>
                    <a:pt x="637" y="0"/>
                    <a:pt x="645" y="6"/>
                    <a:pt x="645" y="19"/>
                  </a:cubicBezTo>
                  <a:cubicBezTo>
                    <a:pt x="645" y="81"/>
                    <a:pt x="645" y="81"/>
                    <a:pt x="645" y="81"/>
                  </a:cubicBezTo>
                  <a:cubicBezTo>
                    <a:pt x="645" y="82"/>
                    <a:pt x="645" y="85"/>
                    <a:pt x="644" y="87"/>
                  </a:cubicBezTo>
                  <a:cubicBezTo>
                    <a:pt x="641" y="95"/>
                    <a:pt x="641" y="95"/>
                    <a:pt x="641" y="95"/>
                  </a:cubicBezTo>
                  <a:cubicBezTo>
                    <a:pt x="642" y="93"/>
                    <a:pt x="642" y="93"/>
                    <a:pt x="642" y="93"/>
                  </a:cubicBezTo>
                  <a:cubicBezTo>
                    <a:pt x="132" y="724"/>
                    <a:pt x="132" y="724"/>
                    <a:pt x="132" y="724"/>
                  </a:cubicBezTo>
                  <a:cubicBezTo>
                    <a:pt x="394" y="724"/>
                    <a:pt x="394" y="724"/>
                    <a:pt x="394" y="724"/>
                  </a:cubicBezTo>
                  <a:lnTo>
                    <a:pt x="655" y="724"/>
                  </a:lnTo>
                  <a:close/>
                  <a:moveTo>
                    <a:pt x="398" y="565"/>
                  </a:moveTo>
                  <a:cubicBezTo>
                    <a:pt x="656" y="565"/>
                    <a:pt x="656" y="565"/>
                    <a:pt x="656" y="565"/>
                  </a:cubicBezTo>
                  <a:cubicBezTo>
                    <a:pt x="666" y="565"/>
                    <a:pt x="674" y="573"/>
                    <a:pt x="674" y="583"/>
                  </a:cubicBezTo>
                  <a:cubicBezTo>
                    <a:pt x="674" y="641"/>
                    <a:pt x="674" y="641"/>
                    <a:pt x="674" y="641"/>
                  </a:cubicBezTo>
                  <a:cubicBezTo>
                    <a:pt x="674" y="652"/>
                    <a:pt x="666" y="661"/>
                    <a:pt x="656" y="661"/>
                  </a:cubicBezTo>
                  <a:cubicBezTo>
                    <a:pt x="397" y="661"/>
                    <a:pt x="397" y="661"/>
                    <a:pt x="397" y="661"/>
                  </a:cubicBezTo>
                  <a:cubicBezTo>
                    <a:pt x="386" y="661"/>
                    <a:pt x="379" y="654"/>
                    <a:pt x="379" y="644"/>
                  </a:cubicBezTo>
                  <a:cubicBezTo>
                    <a:pt x="379" y="585"/>
                    <a:pt x="379" y="585"/>
                    <a:pt x="379" y="585"/>
                  </a:cubicBezTo>
                  <a:cubicBezTo>
                    <a:pt x="380" y="580"/>
                    <a:pt x="382" y="576"/>
                    <a:pt x="385" y="572"/>
                  </a:cubicBezTo>
                  <a:cubicBezTo>
                    <a:pt x="385" y="572"/>
                    <a:pt x="386" y="565"/>
                    <a:pt x="398" y="565"/>
                  </a:cubicBezTo>
                  <a:close/>
                </a:path>
              </a:pathLst>
            </a:custGeom>
            <a:solidFill>
              <a:srgbClr val="9EBE5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 name="Freeform 8">
              <a:extLst>
                <a:ext uri="{FF2B5EF4-FFF2-40B4-BE49-F238E27FC236}">
                  <a16:creationId xmlns:a16="http://schemas.microsoft.com/office/drawing/2014/main" id="{A3ECAD6D-6F1D-B65D-37EE-9BEA4289A3EE}"/>
                </a:ext>
              </a:extLst>
            </p:cNvPr>
            <p:cNvSpPr>
              <a:spLocks noEditPoints="1"/>
            </p:cNvSpPr>
            <p:nvPr userDrawn="1"/>
          </p:nvSpPr>
          <p:spPr bwMode="auto">
            <a:xfrm>
              <a:off x="4133" y="1189"/>
              <a:ext cx="986" cy="1105"/>
            </a:xfrm>
            <a:custGeom>
              <a:avLst/>
              <a:gdLst>
                <a:gd name="T0" fmla="*/ 26658435 w 417"/>
                <a:gd name="T1" fmla="*/ 1104057219 h 466"/>
                <a:gd name="T2" fmla="*/ 2016564 w 417"/>
                <a:gd name="T3" fmla="*/ 1084997487 h 466"/>
                <a:gd name="T4" fmla="*/ 2016564 w 417"/>
                <a:gd name="T5" fmla="*/ 1071148297 h 466"/>
                <a:gd name="T6" fmla="*/ 4768183 w 417"/>
                <a:gd name="T7" fmla="*/ 1065967725 h 466"/>
                <a:gd name="T8" fmla="*/ 440005146 w 417"/>
                <a:gd name="T9" fmla="*/ 19018883 h 466"/>
                <a:gd name="T10" fmla="*/ 471651445 w 417"/>
                <a:gd name="T11" fmla="*/ 0 h 466"/>
                <a:gd name="T12" fmla="*/ 476419656 w 417"/>
                <a:gd name="T13" fmla="*/ 0 h 466"/>
                <a:gd name="T14" fmla="*/ 505945896 w 417"/>
                <a:gd name="T15" fmla="*/ 21137875 h 466"/>
                <a:gd name="T16" fmla="*/ 612172944 w 417"/>
                <a:gd name="T17" fmla="*/ 284828039 h 466"/>
                <a:gd name="T18" fmla="*/ 833293680 w 417"/>
                <a:gd name="T19" fmla="*/ 805128453 h 466"/>
                <a:gd name="T20" fmla="*/ 939517011 w 417"/>
                <a:gd name="T21" fmla="*/ 1065967725 h 466"/>
                <a:gd name="T22" fmla="*/ 936767478 w 417"/>
                <a:gd name="T23" fmla="*/ 1065967725 h 466"/>
                <a:gd name="T24" fmla="*/ 941198430 w 417"/>
                <a:gd name="T25" fmla="*/ 1084997487 h 466"/>
                <a:gd name="T26" fmla="*/ 916425650 w 417"/>
                <a:gd name="T27" fmla="*/ 1104057219 h 466"/>
                <a:gd name="T28" fmla="*/ 26658435 w 417"/>
                <a:gd name="T29" fmla="*/ 1104057219 h 466"/>
                <a:gd name="T30" fmla="*/ 173692259 w 417"/>
                <a:gd name="T31" fmla="*/ 974102843 h 466"/>
                <a:gd name="T32" fmla="*/ 332252753 w 417"/>
                <a:gd name="T33" fmla="*/ 974102843 h 466"/>
                <a:gd name="T34" fmla="*/ 767506131 w 417"/>
                <a:gd name="T35" fmla="*/ 974102843 h 466"/>
                <a:gd name="T36" fmla="*/ 471651445 w 417"/>
                <a:gd name="T37" fmla="*/ 238808028 h 466"/>
                <a:gd name="T38" fmla="*/ 173692259 w 417"/>
                <a:gd name="T39" fmla="*/ 974102843 h 4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17" h="466">
                  <a:moveTo>
                    <a:pt x="12" y="466"/>
                  </a:moveTo>
                  <a:cubicBezTo>
                    <a:pt x="4" y="466"/>
                    <a:pt x="0" y="463"/>
                    <a:pt x="1" y="458"/>
                  </a:cubicBezTo>
                  <a:cubicBezTo>
                    <a:pt x="0" y="455"/>
                    <a:pt x="0" y="453"/>
                    <a:pt x="1" y="452"/>
                  </a:cubicBezTo>
                  <a:cubicBezTo>
                    <a:pt x="2" y="450"/>
                    <a:pt x="2" y="450"/>
                    <a:pt x="2" y="450"/>
                  </a:cubicBezTo>
                  <a:cubicBezTo>
                    <a:pt x="195" y="8"/>
                    <a:pt x="195" y="8"/>
                    <a:pt x="195" y="8"/>
                  </a:cubicBezTo>
                  <a:cubicBezTo>
                    <a:pt x="197" y="5"/>
                    <a:pt x="198" y="0"/>
                    <a:pt x="209" y="0"/>
                  </a:cubicBezTo>
                  <a:cubicBezTo>
                    <a:pt x="211" y="0"/>
                    <a:pt x="211" y="0"/>
                    <a:pt x="211" y="0"/>
                  </a:cubicBezTo>
                  <a:cubicBezTo>
                    <a:pt x="222" y="0"/>
                    <a:pt x="223" y="7"/>
                    <a:pt x="224" y="9"/>
                  </a:cubicBezTo>
                  <a:cubicBezTo>
                    <a:pt x="239" y="46"/>
                    <a:pt x="255" y="83"/>
                    <a:pt x="271" y="120"/>
                  </a:cubicBezTo>
                  <a:cubicBezTo>
                    <a:pt x="369" y="340"/>
                    <a:pt x="369" y="340"/>
                    <a:pt x="369" y="340"/>
                  </a:cubicBezTo>
                  <a:cubicBezTo>
                    <a:pt x="385" y="377"/>
                    <a:pt x="401" y="414"/>
                    <a:pt x="416" y="450"/>
                  </a:cubicBezTo>
                  <a:cubicBezTo>
                    <a:pt x="415" y="450"/>
                    <a:pt x="415" y="450"/>
                    <a:pt x="415" y="450"/>
                  </a:cubicBezTo>
                  <a:cubicBezTo>
                    <a:pt x="417" y="458"/>
                    <a:pt x="417" y="458"/>
                    <a:pt x="417" y="458"/>
                  </a:cubicBezTo>
                  <a:cubicBezTo>
                    <a:pt x="417" y="463"/>
                    <a:pt x="414" y="466"/>
                    <a:pt x="406" y="466"/>
                  </a:cubicBezTo>
                  <a:lnTo>
                    <a:pt x="12" y="466"/>
                  </a:lnTo>
                  <a:close/>
                  <a:moveTo>
                    <a:pt x="77" y="411"/>
                  </a:moveTo>
                  <a:cubicBezTo>
                    <a:pt x="147" y="411"/>
                    <a:pt x="147" y="411"/>
                    <a:pt x="147" y="411"/>
                  </a:cubicBezTo>
                  <a:cubicBezTo>
                    <a:pt x="340" y="411"/>
                    <a:pt x="340" y="411"/>
                    <a:pt x="340" y="411"/>
                  </a:cubicBezTo>
                  <a:cubicBezTo>
                    <a:pt x="209" y="101"/>
                    <a:pt x="209" y="101"/>
                    <a:pt x="209" y="101"/>
                  </a:cubicBezTo>
                  <a:lnTo>
                    <a:pt x="77" y="411"/>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 name="Freeform 9">
              <a:extLst>
                <a:ext uri="{FF2B5EF4-FFF2-40B4-BE49-F238E27FC236}">
                  <a16:creationId xmlns:a16="http://schemas.microsoft.com/office/drawing/2014/main" id="{C7CFB028-DD8C-2E13-898D-E65AD9911AE3}"/>
                </a:ext>
              </a:extLst>
            </p:cNvPr>
            <p:cNvSpPr>
              <a:spLocks noEditPoints="1"/>
            </p:cNvSpPr>
            <p:nvPr userDrawn="1"/>
          </p:nvSpPr>
          <p:spPr bwMode="auto">
            <a:xfrm>
              <a:off x="5259" y="1187"/>
              <a:ext cx="941" cy="1107"/>
            </a:xfrm>
            <a:custGeom>
              <a:avLst/>
              <a:gdLst>
                <a:gd name="T0" fmla="*/ 897379222 w 398"/>
                <a:gd name="T1" fmla="*/ 30594420 h 467"/>
                <a:gd name="T2" fmla="*/ 890358234 w 398"/>
                <a:gd name="T3" fmla="*/ 1076168270 h 467"/>
                <a:gd name="T4" fmla="*/ 863748004 w 398"/>
                <a:gd name="T5" fmla="*/ 1100058818 h 467"/>
                <a:gd name="T6" fmla="*/ 771485685 w 398"/>
                <a:gd name="T7" fmla="*/ 1100058818 h 467"/>
                <a:gd name="T8" fmla="*/ 125893508 w 398"/>
                <a:gd name="T9" fmla="*/ 184128005 h 467"/>
                <a:gd name="T10" fmla="*/ 122136901 w 398"/>
                <a:gd name="T11" fmla="*/ 754173992 h 467"/>
                <a:gd name="T12" fmla="*/ 376580847 w 398"/>
                <a:gd name="T13" fmla="*/ 754173992 h 467"/>
                <a:gd name="T14" fmla="*/ 398430025 w 398"/>
                <a:gd name="T15" fmla="*/ 777275989 h 467"/>
                <a:gd name="T16" fmla="*/ 398430025 w 398"/>
                <a:gd name="T17" fmla="*/ 854743724 h 467"/>
                <a:gd name="T18" fmla="*/ 376580847 w 398"/>
                <a:gd name="T19" fmla="*/ 883384289 h 467"/>
                <a:gd name="T20" fmla="*/ 24536535 w 398"/>
                <a:gd name="T21" fmla="*/ 878310296 h 467"/>
                <a:gd name="T22" fmla="*/ 23013058 w 398"/>
                <a:gd name="T23" fmla="*/ 878310296 h 467"/>
                <a:gd name="T24" fmla="*/ 0 w 398"/>
                <a:gd name="T25" fmla="*/ 859366371 h 467"/>
                <a:gd name="T26" fmla="*/ 6865536 w 398"/>
                <a:gd name="T27" fmla="*/ 25974653 h 467"/>
                <a:gd name="T28" fmla="*/ 31374522 w 398"/>
                <a:gd name="T29" fmla="*/ 2072546 h 467"/>
                <a:gd name="T30" fmla="*/ 125893508 w 398"/>
                <a:gd name="T31" fmla="*/ 2072546 h 467"/>
                <a:gd name="T32" fmla="*/ 148746381 w 398"/>
                <a:gd name="T33" fmla="*/ 13823806 h 467"/>
                <a:gd name="T34" fmla="*/ 768580627 w 398"/>
                <a:gd name="T35" fmla="*/ 885333514 h 467"/>
                <a:gd name="T36" fmla="*/ 775022528 w 398"/>
                <a:gd name="T37" fmla="*/ 23886284 h 467"/>
                <a:gd name="T38" fmla="*/ 798083455 w 398"/>
                <a:gd name="T39" fmla="*/ 7074865 h 467"/>
                <a:gd name="T40" fmla="*/ 870741434 w 398"/>
                <a:gd name="T41" fmla="*/ 7074865 h 467"/>
                <a:gd name="T42" fmla="*/ 888769892 w 398"/>
                <a:gd name="T43" fmla="*/ 13823806 h 467"/>
                <a:gd name="T44" fmla="*/ 897379222 w 398"/>
                <a:gd name="T45" fmla="*/ 30594420 h 467"/>
                <a:gd name="T46" fmla="*/ 502483131 w 398"/>
                <a:gd name="T47" fmla="*/ 967923553 h 467"/>
                <a:gd name="T48" fmla="*/ 525479561 w 398"/>
                <a:gd name="T49" fmla="*/ 991784983 h 467"/>
                <a:gd name="T50" fmla="*/ 525479561 w 398"/>
                <a:gd name="T51" fmla="*/ 1069462303 h 467"/>
                <a:gd name="T52" fmla="*/ 502483131 w 398"/>
                <a:gd name="T53" fmla="*/ 1097986322 h 467"/>
                <a:gd name="T54" fmla="*/ 23013058 w 398"/>
                <a:gd name="T55" fmla="*/ 1097986322 h 467"/>
                <a:gd name="T56" fmla="*/ 0 w 398"/>
                <a:gd name="T57" fmla="*/ 1074095937 h 467"/>
                <a:gd name="T58" fmla="*/ 0 w 398"/>
                <a:gd name="T59" fmla="*/ 993579494 h 467"/>
                <a:gd name="T60" fmla="*/ 24536535 w 398"/>
                <a:gd name="T61" fmla="*/ 967923553 h 467"/>
                <a:gd name="T62" fmla="*/ 264174943 w 398"/>
                <a:gd name="T63" fmla="*/ 967923553 h 467"/>
                <a:gd name="T64" fmla="*/ 502483131 w 398"/>
                <a:gd name="T65" fmla="*/ 967923553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98" h="467">
                  <a:moveTo>
                    <a:pt x="398" y="13"/>
                  </a:moveTo>
                  <a:cubicBezTo>
                    <a:pt x="395" y="457"/>
                    <a:pt x="395" y="457"/>
                    <a:pt x="395" y="457"/>
                  </a:cubicBezTo>
                  <a:cubicBezTo>
                    <a:pt x="395" y="464"/>
                    <a:pt x="390" y="467"/>
                    <a:pt x="383" y="467"/>
                  </a:cubicBezTo>
                  <a:cubicBezTo>
                    <a:pt x="342" y="467"/>
                    <a:pt x="342" y="467"/>
                    <a:pt x="342" y="467"/>
                  </a:cubicBezTo>
                  <a:cubicBezTo>
                    <a:pt x="56" y="78"/>
                    <a:pt x="56" y="78"/>
                    <a:pt x="56" y="78"/>
                  </a:cubicBezTo>
                  <a:cubicBezTo>
                    <a:pt x="54" y="320"/>
                    <a:pt x="54" y="320"/>
                    <a:pt x="54" y="320"/>
                  </a:cubicBezTo>
                  <a:cubicBezTo>
                    <a:pt x="167" y="320"/>
                    <a:pt x="167" y="320"/>
                    <a:pt x="167" y="320"/>
                  </a:cubicBezTo>
                  <a:cubicBezTo>
                    <a:pt x="173" y="320"/>
                    <a:pt x="177" y="324"/>
                    <a:pt x="177" y="330"/>
                  </a:cubicBezTo>
                  <a:cubicBezTo>
                    <a:pt x="177" y="363"/>
                    <a:pt x="177" y="363"/>
                    <a:pt x="177" y="363"/>
                  </a:cubicBezTo>
                  <a:cubicBezTo>
                    <a:pt x="177" y="369"/>
                    <a:pt x="173" y="375"/>
                    <a:pt x="167" y="375"/>
                  </a:cubicBezTo>
                  <a:cubicBezTo>
                    <a:pt x="11" y="373"/>
                    <a:pt x="11" y="373"/>
                    <a:pt x="11" y="373"/>
                  </a:cubicBezTo>
                  <a:cubicBezTo>
                    <a:pt x="10" y="373"/>
                    <a:pt x="10" y="373"/>
                    <a:pt x="10" y="373"/>
                  </a:cubicBezTo>
                  <a:cubicBezTo>
                    <a:pt x="4" y="373"/>
                    <a:pt x="1" y="370"/>
                    <a:pt x="0" y="365"/>
                  </a:cubicBezTo>
                  <a:cubicBezTo>
                    <a:pt x="3" y="11"/>
                    <a:pt x="3" y="11"/>
                    <a:pt x="3" y="11"/>
                  </a:cubicBezTo>
                  <a:cubicBezTo>
                    <a:pt x="3" y="5"/>
                    <a:pt x="7" y="0"/>
                    <a:pt x="14" y="1"/>
                  </a:cubicBezTo>
                  <a:cubicBezTo>
                    <a:pt x="56" y="1"/>
                    <a:pt x="56" y="1"/>
                    <a:pt x="56" y="1"/>
                  </a:cubicBezTo>
                  <a:cubicBezTo>
                    <a:pt x="60" y="1"/>
                    <a:pt x="64" y="3"/>
                    <a:pt x="66" y="6"/>
                  </a:cubicBezTo>
                  <a:cubicBezTo>
                    <a:pt x="341" y="376"/>
                    <a:pt x="341" y="376"/>
                    <a:pt x="341" y="376"/>
                  </a:cubicBezTo>
                  <a:cubicBezTo>
                    <a:pt x="344" y="10"/>
                    <a:pt x="344" y="10"/>
                    <a:pt x="344" y="10"/>
                  </a:cubicBezTo>
                  <a:cubicBezTo>
                    <a:pt x="345" y="5"/>
                    <a:pt x="349" y="3"/>
                    <a:pt x="354" y="3"/>
                  </a:cubicBezTo>
                  <a:cubicBezTo>
                    <a:pt x="386" y="3"/>
                    <a:pt x="386" y="3"/>
                    <a:pt x="386" y="3"/>
                  </a:cubicBezTo>
                  <a:cubicBezTo>
                    <a:pt x="389" y="3"/>
                    <a:pt x="391" y="4"/>
                    <a:pt x="394" y="6"/>
                  </a:cubicBezTo>
                  <a:cubicBezTo>
                    <a:pt x="396" y="7"/>
                    <a:pt x="398" y="10"/>
                    <a:pt x="398" y="13"/>
                  </a:cubicBezTo>
                  <a:close/>
                  <a:moveTo>
                    <a:pt x="223" y="411"/>
                  </a:moveTo>
                  <a:cubicBezTo>
                    <a:pt x="229" y="411"/>
                    <a:pt x="233" y="415"/>
                    <a:pt x="233" y="421"/>
                  </a:cubicBezTo>
                  <a:cubicBezTo>
                    <a:pt x="233" y="454"/>
                    <a:pt x="233" y="454"/>
                    <a:pt x="233" y="454"/>
                  </a:cubicBezTo>
                  <a:cubicBezTo>
                    <a:pt x="233" y="460"/>
                    <a:pt x="230" y="466"/>
                    <a:pt x="223" y="466"/>
                  </a:cubicBezTo>
                  <a:cubicBezTo>
                    <a:pt x="10" y="466"/>
                    <a:pt x="10" y="466"/>
                    <a:pt x="10" y="466"/>
                  </a:cubicBezTo>
                  <a:cubicBezTo>
                    <a:pt x="4" y="466"/>
                    <a:pt x="0" y="462"/>
                    <a:pt x="0" y="456"/>
                  </a:cubicBezTo>
                  <a:cubicBezTo>
                    <a:pt x="0" y="422"/>
                    <a:pt x="0" y="422"/>
                    <a:pt x="0" y="422"/>
                  </a:cubicBezTo>
                  <a:cubicBezTo>
                    <a:pt x="0" y="416"/>
                    <a:pt x="4" y="411"/>
                    <a:pt x="11" y="411"/>
                  </a:cubicBezTo>
                  <a:cubicBezTo>
                    <a:pt x="117" y="411"/>
                    <a:pt x="117" y="411"/>
                    <a:pt x="117" y="411"/>
                  </a:cubicBezTo>
                  <a:lnTo>
                    <a:pt x="223" y="411"/>
                  </a:lnTo>
                  <a:close/>
                </a:path>
              </a:pathLst>
            </a:custGeom>
            <a:solidFill>
              <a:srgbClr val="C03B2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9" name="Freeform 10">
              <a:extLst>
                <a:ext uri="{FF2B5EF4-FFF2-40B4-BE49-F238E27FC236}">
                  <a16:creationId xmlns:a16="http://schemas.microsoft.com/office/drawing/2014/main" id="{75D88FFE-1995-A862-5A2E-2C6C7D152CCF}"/>
                </a:ext>
              </a:extLst>
            </p:cNvPr>
            <p:cNvSpPr>
              <a:spLocks noEditPoints="1"/>
            </p:cNvSpPr>
            <p:nvPr userDrawn="1"/>
          </p:nvSpPr>
          <p:spPr bwMode="auto">
            <a:xfrm>
              <a:off x="6280" y="1189"/>
              <a:ext cx="1102" cy="1105"/>
            </a:xfrm>
            <a:custGeom>
              <a:avLst/>
              <a:gdLst>
                <a:gd name="T0" fmla="*/ 154128366 w 466"/>
                <a:gd name="T1" fmla="*/ 943010351 h 466"/>
                <a:gd name="T2" fmla="*/ 0 w 466"/>
                <a:gd name="T3" fmla="*/ 552442640 h 466"/>
                <a:gd name="T4" fmla="*/ 154128366 w 466"/>
                <a:gd name="T5" fmla="*/ 163833771 h 466"/>
                <a:gd name="T6" fmla="*/ 527029454 w 466"/>
                <a:gd name="T7" fmla="*/ 0 h 466"/>
                <a:gd name="T8" fmla="*/ 900145882 w 466"/>
                <a:gd name="T9" fmla="*/ 163833771 h 466"/>
                <a:gd name="T10" fmla="*/ 1054209675 w 466"/>
                <a:gd name="T11" fmla="*/ 552442640 h 466"/>
                <a:gd name="T12" fmla="*/ 900145882 w 466"/>
                <a:gd name="T13" fmla="*/ 943010351 h 466"/>
                <a:gd name="T14" fmla="*/ 527029454 w 466"/>
                <a:gd name="T15" fmla="*/ 1104057219 h 466"/>
                <a:gd name="T16" fmla="*/ 154128366 w 466"/>
                <a:gd name="T17" fmla="*/ 943010351 h 466"/>
                <a:gd name="T18" fmla="*/ 237118879 w 466"/>
                <a:gd name="T19" fmla="*/ 248554821 h 466"/>
                <a:gd name="T20" fmla="*/ 117706387 w 466"/>
                <a:gd name="T21" fmla="*/ 552442640 h 466"/>
                <a:gd name="T22" fmla="*/ 237118879 w 466"/>
                <a:gd name="T23" fmla="*/ 855407497 h 466"/>
                <a:gd name="T24" fmla="*/ 527029454 w 466"/>
                <a:gd name="T25" fmla="*/ 983016883 h 466"/>
                <a:gd name="T26" fmla="*/ 817155276 w 466"/>
                <a:gd name="T27" fmla="*/ 855407497 h 466"/>
                <a:gd name="T28" fmla="*/ 938406617 w 466"/>
                <a:gd name="T29" fmla="*/ 552442640 h 466"/>
                <a:gd name="T30" fmla="*/ 817155276 w 466"/>
                <a:gd name="T31" fmla="*/ 248554821 h 466"/>
                <a:gd name="T32" fmla="*/ 527029454 w 466"/>
                <a:gd name="T33" fmla="*/ 121039414 h 466"/>
                <a:gd name="T34" fmla="*/ 237118879 w 466"/>
                <a:gd name="T35" fmla="*/ 248554821 h 4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6" h="466">
                  <a:moveTo>
                    <a:pt x="68" y="398"/>
                  </a:moveTo>
                  <a:cubicBezTo>
                    <a:pt x="24" y="354"/>
                    <a:pt x="2" y="299"/>
                    <a:pt x="0" y="233"/>
                  </a:cubicBezTo>
                  <a:cubicBezTo>
                    <a:pt x="2" y="167"/>
                    <a:pt x="24" y="112"/>
                    <a:pt x="68" y="69"/>
                  </a:cubicBezTo>
                  <a:cubicBezTo>
                    <a:pt x="112" y="24"/>
                    <a:pt x="167" y="2"/>
                    <a:pt x="233" y="0"/>
                  </a:cubicBezTo>
                  <a:cubicBezTo>
                    <a:pt x="299" y="2"/>
                    <a:pt x="354" y="24"/>
                    <a:pt x="398" y="69"/>
                  </a:cubicBezTo>
                  <a:cubicBezTo>
                    <a:pt x="442" y="112"/>
                    <a:pt x="465" y="167"/>
                    <a:pt x="466" y="233"/>
                  </a:cubicBezTo>
                  <a:cubicBezTo>
                    <a:pt x="465" y="299"/>
                    <a:pt x="442" y="354"/>
                    <a:pt x="398" y="398"/>
                  </a:cubicBezTo>
                  <a:cubicBezTo>
                    <a:pt x="354" y="441"/>
                    <a:pt x="299" y="464"/>
                    <a:pt x="233" y="466"/>
                  </a:cubicBezTo>
                  <a:cubicBezTo>
                    <a:pt x="167" y="464"/>
                    <a:pt x="112" y="441"/>
                    <a:pt x="68" y="398"/>
                  </a:cubicBezTo>
                  <a:close/>
                  <a:moveTo>
                    <a:pt x="105" y="105"/>
                  </a:moveTo>
                  <a:cubicBezTo>
                    <a:pt x="70" y="139"/>
                    <a:pt x="53" y="181"/>
                    <a:pt x="52" y="233"/>
                  </a:cubicBezTo>
                  <a:cubicBezTo>
                    <a:pt x="53" y="284"/>
                    <a:pt x="70" y="327"/>
                    <a:pt x="105" y="361"/>
                  </a:cubicBezTo>
                  <a:cubicBezTo>
                    <a:pt x="139" y="395"/>
                    <a:pt x="181" y="413"/>
                    <a:pt x="233" y="415"/>
                  </a:cubicBezTo>
                  <a:cubicBezTo>
                    <a:pt x="284" y="413"/>
                    <a:pt x="327" y="395"/>
                    <a:pt x="361" y="361"/>
                  </a:cubicBezTo>
                  <a:cubicBezTo>
                    <a:pt x="395" y="327"/>
                    <a:pt x="413" y="284"/>
                    <a:pt x="415" y="233"/>
                  </a:cubicBezTo>
                  <a:cubicBezTo>
                    <a:pt x="413" y="181"/>
                    <a:pt x="395" y="139"/>
                    <a:pt x="361" y="105"/>
                  </a:cubicBezTo>
                  <a:cubicBezTo>
                    <a:pt x="327" y="71"/>
                    <a:pt x="284" y="53"/>
                    <a:pt x="233" y="51"/>
                  </a:cubicBezTo>
                  <a:cubicBezTo>
                    <a:pt x="181" y="53"/>
                    <a:pt x="139" y="71"/>
                    <a:pt x="105" y="105"/>
                  </a:cubicBezTo>
                  <a:close/>
                </a:path>
              </a:pathLst>
            </a:custGeom>
            <a:solidFill>
              <a:srgbClr val="64324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0" name="Freeform 11">
              <a:extLst>
                <a:ext uri="{FF2B5EF4-FFF2-40B4-BE49-F238E27FC236}">
                  <a16:creationId xmlns:a16="http://schemas.microsoft.com/office/drawing/2014/main" id="{781D6640-6E66-761D-FEE9-3D4C05DA13FC}"/>
                </a:ext>
              </a:extLst>
            </p:cNvPr>
            <p:cNvSpPr>
              <a:spLocks noEditPoints="1"/>
            </p:cNvSpPr>
            <p:nvPr userDrawn="1"/>
          </p:nvSpPr>
          <p:spPr bwMode="auto">
            <a:xfrm>
              <a:off x="4230" y="2552"/>
              <a:ext cx="334" cy="551"/>
            </a:xfrm>
            <a:custGeom>
              <a:avLst/>
              <a:gdLst>
                <a:gd name="T0" fmla="*/ 0 w 334"/>
                <a:gd name="T1" fmla="*/ 0 h 551"/>
                <a:gd name="T2" fmla="*/ 334 w 334"/>
                <a:gd name="T3" fmla="*/ 0 h 551"/>
                <a:gd name="T4" fmla="*/ 334 w 334"/>
                <a:gd name="T5" fmla="*/ 31 h 551"/>
                <a:gd name="T6" fmla="*/ 0 w 334"/>
                <a:gd name="T7" fmla="*/ 31 h 551"/>
                <a:gd name="T8" fmla="*/ 0 w 334"/>
                <a:gd name="T9" fmla="*/ 0 h 551"/>
                <a:gd name="T10" fmla="*/ 156 w 334"/>
                <a:gd name="T11" fmla="*/ 50 h 551"/>
                <a:gd name="T12" fmla="*/ 156 w 334"/>
                <a:gd name="T13" fmla="*/ 551 h 551"/>
                <a:gd name="T14" fmla="*/ 128 w 334"/>
                <a:gd name="T15" fmla="*/ 551 h 551"/>
                <a:gd name="T16" fmla="*/ 128 w 334"/>
                <a:gd name="T17" fmla="*/ 79 h 551"/>
                <a:gd name="T18" fmla="*/ 0 w 334"/>
                <a:gd name="T19" fmla="*/ 79 h 551"/>
                <a:gd name="T20" fmla="*/ 0 w 334"/>
                <a:gd name="T21" fmla="*/ 50 h 551"/>
                <a:gd name="T22" fmla="*/ 156 w 334"/>
                <a:gd name="T23" fmla="*/ 50 h 551"/>
                <a:gd name="T24" fmla="*/ 334 w 334"/>
                <a:gd name="T25" fmla="*/ 50 h 551"/>
                <a:gd name="T26" fmla="*/ 334 w 334"/>
                <a:gd name="T27" fmla="*/ 79 h 551"/>
                <a:gd name="T28" fmla="*/ 206 w 334"/>
                <a:gd name="T29" fmla="*/ 79 h 551"/>
                <a:gd name="T30" fmla="*/ 206 w 334"/>
                <a:gd name="T31" fmla="*/ 551 h 551"/>
                <a:gd name="T32" fmla="*/ 175 w 334"/>
                <a:gd name="T33" fmla="*/ 551 h 551"/>
                <a:gd name="T34" fmla="*/ 175 w 334"/>
                <a:gd name="T35" fmla="*/ 50 h 551"/>
                <a:gd name="T36" fmla="*/ 334 w 334"/>
                <a:gd name="T37" fmla="*/ 50 h 5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34" h="551">
                  <a:moveTo>
                    <a:pt x="0" y="0"/>
                  </a:moveTo>
                  <a:lnTo>
                    <a:pt x="334" y="0"/>
                  </a:lnTo>
                  <a:lnTo>
                    <a:pt x="334" y="31"/>
                  </a:lnTo>
                  <a:lnTo>
                    <a:pt x="0" y="31"/>
                  </a:lnTo>
                  <a:lnTo>
                    <a:pt x="0" y="0"/>
                  </a:lnTo>
                  <a:close/>
                  <a:moveTo>
                    <a:pt x="156" y="50"/>
                  </a:moveTo>
                  <a:lnTo>
                    <a:pt x="156" y="551"/>
                  </a:lnTo>
                  <a:lnTo>
                    <a:pt x="128" y="551"/>
                  </a:lnTo>
                  <a:lnTo>
                    <a:pt x="128" y="79"/>
                  </a:lnTo>
                  <a:lnTo>
                    <a:pt x="0" y="79"/>
                  </a:lnTo>
                  <a:lnTo>
                    <a:pt x="0" y="50"/>
                  </a:lnTo>
                  <a:lnTo>
                    <a:pt x="156" y="50"/>
                  </a:lnTo>
                  <a:close/>
                  <a:moveTo>
                    <a:pt x="334" y="50"/>
                  </a:moveTo>
                  <a:lnTo>
                    <a:pt x="334" y="79"/>
                  </a:lnTo>
                  <a:lnTo>
                    <a:pt x="206" y="79"/>
                  </a:lnTo>
                  <a:lnTo>
                    <a:pt x="206" y="551"/>
                  </a:lnTo>
                  <a:lnTo>
                    <a:pt x="175" y="551"/>
                  </a:lnTo>
                  <a:lnTo>
                    <a:pt x="175" y="50"/>
                  </a:lnTo>
                  <a:lnTo>
                    <a:pt x="334" y="50"/>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1" name="Freeform 12">
              <a:extLst>
                <a:ext uri="{FF2B5EF4-FFF2-40B4-BE49-F238E27FC236}">
                  <a16:creationId xmlns:a16="http://schemas.microsoft.com/office/drawing/2014/main" id="{053833DF-C46A-DD36-2B2A-0ECB46DE6BAA}"/>
                </a:ext>
              </a:extLst>
            </p:cNvPr>
            <p:cNvSpPr>
              <a:spLocks noEditPoints="1"/>
            </p:cNvSpPr>
            <p:nvPr userDrawn="1"/>
          </p:nvSpPr>
          <p:spPr bwMode="auto">
            <a:xfrm>
              <a:off x="4599" y="2552"/>
              <a:ext cx="312" cy="551"/>
            </a:xfrm>
            <a:custGeom>
              <a:avLst/>
              <a:gdLst>
                <a:gd name="T0" fmla="*/ 295891719 w 132"/>
                <a:gd name="T1" fmla="*/ 0 h 232"/>
                <a:gd name="T2" fmla="*/ 295891719 w 132"/>
                <a:gd name="T3" fmla="*/ 31976658 h 232"/>
                <a:gd name="T4" fmla="*/ 111981461 w 132"/>
                <a:gd name="T5" fmla="*/ 31976658 h 232"/>
                <a:gd name="T6" fmla="*/ 51443210 w 132"/>
                <a:gd name="T7" fmla="*/ 58299493 h 232"/>
                <a:gd name="T8" fmla="*/ 26510905 w 132"/>
                <a:gd name="T9" fmla="*/ 122107630 h 232"/>
                <a:gd name="T10" fmla="*/ 26510905 w 132"/>
                <a:gd name="T11" fmla="*/ 442759715 h 232"/>
                <a:gd name="T12" fmla="*/ 51443210 w 132"/>
                <a:gd name="T13" fmla="*/ 508305993 h 232"/>
                <a:gd name="T14" fmla="*/ 111981461 w 132"/>
                <a:gd name="T15" fmla="*/ 535913430 h 232"/>
                <a:gd name="T16" fmla="*/ 295891719 w 132"/>
                <a:gd name="T17" fmla="*/ 535913430 h 232"/>
                <a:gd name="T18" fmla="*/ 295891719 w 132"/>
                <a:gd name="T19" fmla="*/ 564828430 h 232"/>
                <a:gd name="T20" fmla="*/ 111981461 w 132"/>
                <a:gd name="T21" fmla="*/ 564828430 h 232"/>
                <a:gd name="T22" fmla="*/ 33265636 w 132"/>
                <a:gd name="T23" fmla="*/ 527724589 h 232"/>
                <a:gd name="T24" fmla="*/ 0 w 132"/>
                <a:gd name="T25" fmla="*/ 442759715 h 232"/>
                <a:gd name="T26" fmla="*/ 0 w 132"/>
                <a:gd name="T27" fmla="*/ 122107630 h 232"/>
                <a:gd name="T28" fmla="*/ 33265636 w 132"/>
                <a:gd name="T29" fmla="*/ 37103839 h 232"/>
                <a:gd name="T30" fmla="*/ 111981461 w 132"/>
                <a:gd name="T31" fmla="*/ 0 h 232"/>
                <a:gd name="T32" fmla="*/ 295891719 w 132"/>
                <a:gd name="T33" fmla="*/ 0 h 232"/>
                <a:gd name="T34" fmla="*/ 47376772 w 132"/>
                <a:gd name="T35" fmla="*/ 122107630 h 232"/>
                <a:gd name="T36" fmla="*/ 65404189 w 132"/>
                <a:gd name="T37" fmla="*/ 70832843 h 232"/>
                <a:gd name="T38" fmla="*/ 111981461 w 132"/>
                <a:gd name="T39" fmla="*/ 51413739 h 232"/>
                <a:gd name="T40" fmla="*/ 295891719 w 132"/>
                <a:gd name="T41" fmla="*/ 51413739 h 232"/>
                <a:gd name="T42" fmla="*/ 295891719 w 132"/>
                <a:gd name="T43" fmla="*/ 79781492 h 232"/>
                <a:gd name="T44" fmla="*/ 111981461 w 132"/>
                <a:gd name="T45" fmla="*/ 79781492 h 232"/>
                <a:gd name="T46" fmla="*/ 85443339 w 132"/>
                <a:gd name="T47" fmla="*/ 92335711 h 232"/>
                <a:gd name="T48" fmla="*/ 73893437 w 132"/>
                <a:gd name="T49" fmla="*/ 122107630 h 232"/>
                <a:gd name="T50" fmla="*/ 73893437 w 132"/>
                <a:gd name="T51" fmla="*/ 202009418 h 232"/>
                <a:gd name="T52" fmla="*/ 295891719 w 132"/>
                <a:gd name="T53" fmla="*/ 202009418 h 232"/>
                <a:gd name="T54" fmla="*/ 295891719 w 132"/>
                <a:gd name="T55" fmla="*/ 233836064 h 232"/>
                <a:gd name="T56" fmla="*/ 47376772 w 132"/>
                <a:gd name="T57" fmla="*/ 233836064 h 232"/>
                <a:gd name="T58" fmla="*/ 47376772 w 132"/>
                <a:gd name="T59" fmla="*/ 122107630 h 232"/>
                <a:gd name="T60" fmla="*/ 47376772 w 132"/>
                <a:gd name="T61" fmla="*/ 253283286 h 232"/>
                <a:gd name="T62" fmla="*/ 295891719 w 132"/>
                <a:gd name="T63" fmla="*/ 253283286 h 232"/>
                <a:gd name="T64" fmla="*/ 295891719 w 132"/>
                <a:gd name="T65" fmla="*/ 283050061 h 232"/>
                <a:gd name="T66" fmla="*/ 73893437 w 132"/>
                <a:gd name="T67" fmla="*/ 283050061 h 232"/>
                <a:gd name="T68" fmla="*/ 73893437 w 132"/>
                <a:gd name="T69" fmla="*/ 442759715 h 232"/>
                <a:gd name="T70" fmla="*/ 85443339 w 132"/>
                <a:gd name="T71" fmla="*/ 472485538 h 232"/>
                <a:gd name="T72" fmla="*/ 111981461 w 132"/>
                <a:gd name="T73" fmla="*/ 484506888 h 232"/>
                <a:gd name="T74" fmla="*/ 295891719 w 132"/>
                <a:gd name="T75" fmla="*/ 484506888 h 232"/>
                <a:gd name="T76" fmla="*/ 295891719 w 132"/>
                <a:gd name="T77" fmla="*/ 513431020 h 232"/>
                <a:gd name="T78" fmla="*/ 111981461 w 132"/>
                <a:gd name="T79" fmla="*/ 513431020 h 232"/>
                <a:gd name="T80" fmla="*/ 65404189 w 132"/>
                <a:gd name="T81" fmla="*/ 494012295 h 232"/>
                <a:gd name="T82" fmla="*/ 47376772 w 132"/>
                <a:gd name="T83" fmla="*/ 442759715 h 232"/>
                <a:gd name="T84" fmla="*/ 47376772 w 132"/>
                <a:gd name="T85" fmla="*/ 253283286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132" y="0"/>
                  </a:moveTo>
                  <a:cubicBezTo>
                    <a:pt x="132" y="13"/>
                    <a:pt x="132" y="13"/>
                    <a:pt x="132" y="13"/>
                  </a:cubicBezTo>
                  <a:cubicBezTo>
                    <a:pt x="50" y="13"/>
                    <a:pt x="50" y="13"/>
                    <a:pt x="50" y="13"/>
                  </a:cubicBezTo>
                  <a:cubicBezTo>
                    <a:pt x="39" y="13"/>
                    <a:pt x="31" y="16"/>
                    <a:pt x="23" y="24"/>
                  </a:cubicBezTo>
                  <a:cubicBezTo>
                    <a:pt x="16" y="31"/>
                    <a:pt x="12" y="40"/>
                    <a:pt x="12" y="50"/>
                  </a:cubicBezTo>
                  <a:cubicBezTo>
                    <a:pt x="12" y="182"/>
                    <a:pt x="12" y="182"/>
                    <a:pt x="12" y="182"/>
                  </a:cubicBezTo>
                  <a:cubicBezTo>
                    <a:pt x="12" y="193"/>
                    <a:pt x="16" y="201"/>
                    <a:pt x="23" y="209"/>
                  </a:cubicBezTo>
                  <a:cubicBezTo>
                    <a:pt x="31" y="216"/>
                    <a:pt x="39" y="220"/>
                    <a:pt x="50" y="220"/>
                  </a:cubicBezTo>
                  <a:cubicBezTo>
                    <a:pt x="132" y="220"/>
                    <a:pt x="132" y="220"/>
                    <a:pt x="132" y="220"/>
                  </a:cubicBezTo>
                  <a:cubicBezTo>
                    <a:pt x="132" y="232"/>
                    <a:pt x="132" y="232"/>
                    <a:pt x="132" y="232"/>
                  </a:cubicBezTo>
                  <a:cubicBezTo>
                    <a:pt x="50" y="232"/>
                    <a:pt x="50" y="232"/>
                    <a:pt x="50" y="232"/>
                  </a:cubicBezTo>
                  <a:cubicBezTo>
                    <a:pt x="36" y="232"/>
                    <a:pt x="24" y="227"/>
                    <a:pt x="15" y="217"/>
                  </a:cubicBezTo>
                  <a:cubicBezTo>
                    <a:pt x="5" y="208"/>
                    <a:pt x="0" y="196"/>
                    <a:pt x="0" y="182"/>
                  </a:cubicBezTo>
                  <a:cubicBezTo>
                    <a:pt x="0" y="50"/>
                    <a:pt x="0" y="50"/>
                    <a:pt x="0" y="50"/>
                  </a:cubicBezTo>
                  <a:cubicBezTo>
                    <a:pt x="0" y="36"/>
                    <a:pt x="5" y="25"/>
                    <a:pt x="15" y="15"/>
                  </a:cubicBezTo>
                  <a:cubicBezTo>
                    <a:pt x="24" y="5"/>
                    <a:pt x="36" y="0"/>
                    <a:pt x="50" y="0"/>
                  </a:cubicBezTo>
                  <a:lnTo>
                    <a:pt x="132" y="0"/>
                  </a:lnTo>
                  <a:close/>
                  <a:moveTo>
                    <a:pt x="21" y="50"/>
                  </a:moveTo>
                  <a:cubicBezTo>
                    <a:pt x="21" y="42"/>
                    <a:pt x="24" y="35"/>
                    <a:pt x="29" y="29"/>
                  </a:cubicBezTo>
                  <a:cubicBezTo>
                    <a:pt x="35" y="24"/>
                    <a:pt x="42" y="21"/>
                    <a:pt x="50" y="21"/>
                  </a:cubicBezTo>
                  <a:cubicBezTo>
                    <a:pt x="132" y="21"/>
                    <a:pt x="132" y="21"/>
                    <a:pt x="132" y="21"/>
                  </a:cubicBezTo>
                  <a:cubicBezTo>
                    <a:pt x="132" y="33"/>
                    <a:pt x="132" y="33"/>
                    <a:pt x="132" y="33"/>
                  </a:cubicBezTo>
                  <a:cubicBezTo>
                    <a:pt x="50" y="33"/>
                    <a:pt x="50" y="33"/>
                    <a:pt x="50" y="33"/>
                  </a:cubicBezTo>
                  <a:cubicBezTo>
                    <a:pt x="45" y="33"/>
                    <a:pt x="41" y="35"/>
                    <a:pt x="38" y="38"/>
                  </a:cubicBezTo>
                  <a:cubicBezTo>
                    <a:pt x="35" y="42"/>
                    <a:pt x="33" y="45"/>
                    <a:pt x="33" y="50"/>
                  </a:cubicBezTo>
                  <a:cubicBezTo>
                    <a:pt x="33" y="83"/>
                    <a:pt x="33" y="83"/>
                    <a:pt x="33" y="83"/>
                  </a:cubicBezTo>
                  <a:cubicBezTo>
                    <a:pt x="132" y="83"/>
                    <a:pt x="132" y="83"/>
                    <a:pt x="132" y="83"/>
                  </a:cubicBezTo>
                  <a:cubicBezTo>
                    <a:pt x="132" y="96"/>
                    <a:pt x="132" y="96"/>
                    <a:pt x="132" y="96"/>
                  </a:cubicBezTo>
                  <a:cubicBezTo>
                    <a:pt x="21" y="96"/>
                    <a:pt x="21" y="96"/>
                    <a:pt x="21" y="96"/>
                  </a:cubicBezTo>
                  <a:lnTo>
                    <a:pt x="21" y="50"/>
                  </a:lnTo>
                  <a:close/>
                  <a:moveTo>
                    <a:pt x="21" y="104"/>
                  </a:moveTo>
                  <a:cubicBezTo>
                    <a:pt x="132" y="104"/>
                    <a:pt x="132" y="104"/>
                    <a:pt x="132" y="104"/>
                  </a:cubicBezTo>
                  <a:cubicBezTo>
                    <a:pt x="132" y="116"/>
                    <a:pt x="132" y="116"/>
                    <a:pt x="132" y="116"/>
                  </a:cubicBezTo>
                  <a:cubicBezTo>
                    <a:pt x="33" y="116"/>
                    <a:pt x="33" y="116"/>
                    <a:pt x="33" y="116"/>
                  </a:cubicBezTo>
                  <a:cubicBezTo>
                    <a:pt x="33" y="182"/>
                    <a:pt x="33" y="182"/>
                    <a:pt x="33" y="182"/>
                  </a:cubicBezTo>
                  <a:cubicBezTo>
                    <a:pt x="33" y="187"/>
                    <a:pt x="35" y="191"/>
                    <a:pt x="38" y="194"/>
                  </a:cubicBezTo>
                  <a:cubicBezTo>
                    <a:pt x="41" y="197"/>
                    <a:pt x="45" y="199"/>
                    <a:pt x="50" y="199"/>
                  </a:cubicBezTo>
                  <a:cubicBezTo>
                    <a:pt x="132" y="199"/>
                    <a:pt x="132" y="199"/>
                    <a:pt x="132" y="199"/>
                  </a:cubicBezTo>
                  <a:cubicBezTo>
                    <a:pt x="132" y="211"/>
                    <a:pt x="132" y="211"/>
                    <a:pt x="132" y="211"/>
                  </a:cubicBezTo>
                  <a:cubicBezTo>
                    <a:pt x="50" y="211"/>
                    <a:pt x="50" y="211"/>
                    <a:pt x="50" y="211"/>
                  </a:cubicBezTo>
                  <a:cubicBezTo>
                    <a:pt x="42" y="211"/>
                    <a:pt x="35" y="209"/>
                    <a:pt x="29" y="203"/>
                  </a:cubicBezTo>
                  <a:cubicBezTo>
                    <a:pt x="24" y="197"/>
                    <a:pt x="21" y="190"/>
                    <a:pt x="21" y="182"/>
                  </a:cubicBezTo>
                  <a:lnTo>
                    <a:pt x="21" y="104"/>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13">
              <a:extLst>
                <a:ext uri="{FF2B5EF4-FFF2-40B4-BE49-F238E27FC236}">
                  <a16:creationId xmlns:a16="http://schemas.microsoft.com/office/drawing/2014/main" id="{06B624D9-73DB-FE02-26C3-8028057E4083}"/>
                </a:ext>
              </a:extLst>
            </p:cNvPr>
            <p:cNvSpPr>
              <a:spLocks noEditPoints="1"/>
            </p:cNvSpPr>
            <p:nvPr userDrawn="1"/>
          </p:nvSpPr>
          <p:spPr bwMode="auto">
            <a:xfrm>
              <a:off x="4958" y="2552"/>
              <a:ext cx="391" cy="551"/>
            </a:xfrm>
            <a:custGeom>
              <a:avLst/>
              <a:gdLst>
                <a:gd name="T0" fmla="*/ 309548631 w 165"/>
                <a:gd name="T1" fmla="*/ 0 h 232"/>
                <a:gd name="T2" fmla="*/ 363029971 w 165"/>
                <a:gd name="T3" fmla="*/ 24547155 h 232"/>
                <a:gd name="T4" fmla="*/ 386832786 w 165"/>
                <a:gd name="T5" fmla="*/ 79781492 h 232"/>
                <a:gd name="T6" fmla="*/ 386832786 w 165"/>
                <a:gd name="T7" fmla="*/ 564828430 h 232"/>
                <a:gd name="T8" fmla="*/ 358797870 w 165"/>
                <a:gd name="T9" fmla="*/ 564828430 h 232"/>
                <a:gd name="T10" fmla="*/ 358797870 w 165"/>
                <a:gd name="T11" fmla="*/ 79781492 h 232"/>
                <a:gd name="T12" fmla="*/ 344252405 w 165"/>
                <a:gd name="T13" fmla="*/ 46120372 h 232"/>
                <a:gd name="T14" fmla="*/ 309548631 w 165"/>
                <a:gd name="T15" fmla="*/ 31976658 h 232"/>
                <a:gd name="T16" fmla="*/ 77129169 w 165"/>
                <a:gd name="T17" fmla="*/ 31976658 h 232"/>
                <a:gd name="T18" fmla="*/ 42581549 w 165"/>
                <a:gd name="T19" fmla="*/ 46120372 h 232"/>
                <a:gd name="T20" fmla="*/ 27493911 w 165"/>
                <a:gd name="T21" fmla="*/ 79781492 h 232"/>
                <a:gd name="T22" fmla="*/ 27493911 w 165"/>
                <a:gd name="T23" fmla="*/ 564828430 h 232"/>
                <a:gd name="T24" fmla="*/ 0 w 165"/>
                <a:gd name="T25" fmla="*/ 564828430 h 232"/>
                <a:gd name="T26" fmla="*/ 0 w 165"/>
                <a:gd name="T27" fmla="*/ 79781492 h 232"/>
                <a:gd name="T28" fmla="*/ 20815816 w 165"/>
                <a:gd name="T29" fmla="*/ 24547155 h 232"/>
                <a:gd name="T30" fmla="*/ 77129169 w 165"/>
                <a:gd name="T31" fmla="*/ 0 h 232"/>
                <a:gd name="T32" fmla="*/ 309548631 w 165"/>
                <a:gd name="T33" fmla="*/ 0 h 232"/>
                <a:gd name="T34" fmla="*/ 182772758 w 165"/>
                <a:gd name="T35" fmla="*/ 51413739 h 232"/>
                <a:gd name="T36" fmla="*/ 182772758 w 165"/>
                <a:gd name="T37" fmla="*/ 263208180 h 232"/>
                <a:gd name="T38" fmla="*/ 154391061 w 165"/>
                <a:gd name="T39" fmla="*/ 263208180 h 232"/>
                <a:gd name="T40" fmla="*/ 154391061 w 165"/>
                <a:gd name="T41" fmla="*/ 79781492 h 232"/>
                <a:gd name="T42" fmla="*/ 77129169 w 165"/>
                <a:gd name="T43" fmla="*/ 79781492 h 232"/>
                <a:gd name="T44" fmla="*/ 77129169 w 165"/>
                <a:gd name="T45" fmla="*/ 564828430 h 232"/>
                <a:gd name="T46" fmla="*/ 46283478 w 165"/>
                <a:gd name="T47" fmla="*/ 564828430 h 232"/>
                <a:gd name="T48" fmla="*/ 46283478 w 165"/>
                <a:gd name="T49" fmla="*/ 79781492 h 232"/>
                <a:gd name="T50" fmla="*/ 56311393 w 165"/>
                <a:gd name="T51" fmla="*/ 60526659 h 232"/>
                <a:gd name="T52" fmla="*/ 77129169 w 165"/>
                <a:gd name="T53" fmla="*/ 51413739 h 232"/>
                <a:gd name="T54" fmla="*/ 182772758 w 165"/>
                <a:gd name="T55" fmla="*/ 51413739 h 232"/>
                <a:gd name="T56" fmla="*/ 309548631 w 165"/>
                <a:gd name="T57" fmla="*/ 51413739 h 232"/>
                <a:gd name="T58" fmla="*/ 329989272 w 165"/>
                <a:gd name="T59" fmla="*/ 60526659 h 232"/>
                <a:gd name="T60" fmla="*/ 337199511 w 165"/>
                <a:gd name="T61" fmla="*/ 79781492 h 232"/>
                <a:gd name="T62" fmla="*/ 337199511 w 165"/>
                <a:gd name="T63" fmla="*/ 564828430 h 232"/>
                <a:gd name="T64" fmla="*/ 309548631 w 165"/>
                <a:gd name="T65" fmla="*/ 564828430 h 232"/>
                <a:gd name="T66" fmla="*/ 309548631 w 165"/>
                <a:gd name="T67" fmla="*/ 79781492 h 232"/>
                <a:gd name="T68" fmla="*/ 232402284 w 165"/>
                <a:gd name="T69" fmla="*/ 79781492 h 232"/>
                <a:gd name="T70" fmla="*/ 232402284 w 165"/>
                <a:gd name="T71" fmla="*/ 263208180 h 232"/>
                <a:gd name="T72" fmla="*/ 203534936 w 165"/>
                <a:gd name="T73" fmla="*/ 263208180 h 232"/>
                <a:gd name="T74" fmla="*/ 203534936 w 165"/>
                <a:gd name="T75" fmla="*/ 51413739 h 232"/>
                <a:gd name="T76" fmla="*/ 309548631 w 165"/>
                <a:gd name="T77" fmla="*/ 51413739 h 23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65" h="232">
                  <a:moveTo>
                    <a:pt x="132" y="0"/>
                  </a:moveTo>
                  <a:cubicBezTo>
                    <a:pt x="141" y="0"/>
                    <a:pt x="149" y="4"/>
                    <a:pt x="155" y="10"/>
                  </a:cubicBezTo>
                  <a:cubicBezTo>
                    <a:pt x="162" y="16"/>
                    <a:pt x="165" y="24"/>
                    <a:pt x="165" y="33"/>
                  </a:cubicBezTo>
                  <a:cubicBezTo>
                    <a:pt x="165" y="232"/>
                    <a:pt x="165" y="232"/>
                    <a:pt x="165" y="232"/>
                  </a:cubicBezTo>
                  <a:cubicBezTo>
                    <a:pt x="153" y="232"/>
                    <a:pt x="153" y="232"/>
                    <a:pt x="153" y="232"/>
                  </a:cubicBezTo>
                  <a:cubicBezTo>
                    <a:pt x="153" y="33"/>
                    <a:pt x="153" y="33"/>
                    <a:pt x="153" y="33"/>
                  </a:cubicBezTo>
                  <a:cubicBezTo>
                    <a:pt x="153" y="28"/>
                    <a:pt x="151" y="23"/>
                    <a:pt x="147" y="19"/>
                  </a:cubicBezTo>
                  <a:cubicBezTo>
                    <a:pt x="143" y="15"/>
                    <a:pt x="138" y="13"/>
                    <a:pt x="132" y="13"/>
                  </a:cubicBezTo>
                  <a:cubicBezTo>
                    <a:pt x="33" y="13"/>
                    <a:pt x="33" y="13"/>
                    <a:pt x="33" y="13"/>
                  </a:cubicBezTo>
                  <a:cubicBezTo>
                    <a:pt x="27" y="13"/>
                    <a:pt x="22" y="15"/>
                    <a:pt x="18" y="19"/>
                  </a:cubicBezTo>
                  <a:cubicBezTo>
                    <a:pt x="14" y="23"/>
                    <a:pt x="12" y="28"/>
                    <a:pt x="12" y="33"/>
                  </a:cubicBezTo>
                  <a:cubicBezTo>
                    <a:pt x="12" y="232"/>
                    <a:pt x="12" y="232"/>
                    <a:pt x="12" y="232"/>
                  </a:cubicBezTo>
                  <a:cubicBezTo>
                    <a:pt x="0" y="232"/>
                    <a:pt x="0" y="232"/>
                    <a:pt x="0" y="232"/>
                  </a:cubicBezTo>
                  <a:cubicBezTo>
                    <a:pt x="0" y="33"/>
                    <a:pt x="0" y="33"/>
                    <a:pt x="0" y="33"/>
                  </a:cubicBezTo>
                  <a:cubicBezTo>
                    <a:pt x="0" y="24"/>
                    <a:pt x="3" y="16"/>
                    <a:pt x="9" y="10"/>
                  </a:cubicBezTo>
                  <a:cubicBezTo>
                    <a:pt x="16" y="4"/>
                    <a:pt x="24" y="0"/>
                    <a:pt x="33" y="0"/>
                  </a:cubicBezTo>
                  <a:lnTo>
                    <a:pt x="132" y="0"/>
                  </a:lnTo>
                  <a:close/>
                  <a:moveTo>
                    <a:pt x="78" y="21"/>
                  </a:moveTo>
                  <a:cubicBezTo>
                    <a:pt x="78" y="108"/>
                    <a:pt x="78" y="108"/>
                    <a:pt x="78" y="108"/>
                  </a:cubicBezTo>
                  <a:cubicBezTo>
                    <a:pt x="66" y="108"/>
                    <a:pt x="66" y="108"/>
                    <a:pt x="66" y="108"/>
                  </a:cubicBezTo>
                  <a:cubicBezTo>
                    <a:pt x="66" y="33"/>
                    <a:pt x="66" y="33"/>
                    <a:pt x="66" y="33"/>
                  </a:cubicBezTo>
                  <a:cubicBezTo>
                    <a:pt x="33" y="33"/>
                    <a:pt x="33" y="33"/>
                    <a:pt x="33" y="33"/>
                  </a:cubicBezTo>
                  <a:cubicBezTo>
                    <a:pt x="33" y="232"/>
                    <a:pt x="33" y="232"/>
                    <a:pt x="33" y="232"/>
                  </a:cubicBezTo>
                  <a:cubicBezTo>
                    <a:pt x="20" y="232"/>
                    <a:pt x="20" y="232"/>
                    <a:pt x="20" y="232"/>
                  </a:cubicBezTo>
                  <a:cubicBezTo>
                    <a:pt x="20" y="33"/>
                    <a:pt x="20" y="33"/>
                    <a:pt x="20" y="33"/>
                  </a:cubicBezTo>
                  <a:cubicBezTo>
                    <a:pt x="20" y="30"/>
                    <a:pt x="21" y="27"/>
                    <a:pt x="24" y="25"/>
                  </a:cubicBezTo>
                  <a:cubicBezTo>
                    <a:pt x="26" y="22"/>
                    <a:pt x="29" y="21"/>
                    <a:pt x="33" y="21"/>
                  </a:cubicBezTo>
                  <a:lnTo>
                    <a:pt x="78" y="21"/>
                  </a:lnTo>
                  <a:close/>
                  <a:moveTo>
                    <a:pt x="132" y="21"/>
                  </a:moveTo>
                  <a:cubicBezTo>
                    <a:pt x="135" y="21"/>
                    <a:pt x="138" y="22"/>
                    <a:pt x="141" y="25"/>
                  </a:cubicBezTo>
                  <a:cubicBezTo>
                    <a:pt x="143" y="27"/>
                    <a:pt x="144" y="30"/>
                    <a:pt x="144" y="33"/>
                  </a:cubicBezTo>
                  <a:cubicBezTo>
                    <a:pt x="144" y="232"/>
                    <a:pt x="144" y="232"/>
                    <a:pt x="144" y="232"/>
                  </a:cubicBezTo>
                  <a:cubicBezTo>
                    <a:pt x="132" y="232"/>
                    <a:pt x="132" y="232"/>
                    <a:pt x="132" y="232"/>
                  </a:cubicBezTo>
                  <a:cubicBezTo>
                    <a:pt x="132" y="33"/>
                    <a:pt x="132" y="33"/>
                    <a:pt x="132" y="33"/>
                  </a:cubicBezTo>
                  <a:cubicBezTo>
                    <a:pt x="99" y="33"/>
                    <a:pt x="99" y="33"/>
                    <a:pt x="99" y="33"/>
                  </a:cubicBezTo>
                  <a:cubicBezTo>
                    <a:pt x="99" y="108"/>
                    <a:pt x="99" y="108"/>
                    <a:pt x="99" y="108"/>
                  </a:cubicBezTo>
                  <a:cubicBezTo>
                    <a:pt x="87" y="108"/>
                    <a:pt x="87" y="108"/>
                    <a:pt x="87" y="108"/>
                  </a:cubicBezTo>
                  <a:cubicBezTo>
                    <a:pt x="87" y="21"/>
                    <a:pt x="87" y="21"/>
                    <a:pt x="87" y="21"/>
                  </a:cubicBezTo>
                  <a:lnTo>
                    <a:pt x="132" y="21"/>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3" name="Freeform 14">
              <a:extLst>
                <a:ext uri="{FF2B5EF4-FFF2-40B4-BE49-F238E27FC236}">
                  <a16:creationId xmlns:a16="http://schemas.microsoft.com/office/drawing/2014/main" id="{9B39FB87-DA58-CDCD-56ED-99A90BFE5BC9}"/>
                </a:ext>
              </a:extLst>
            </p:cNvPr>
            <p:cNvSpPr>
              <a:spLocks noEditPoints="1"/>
            </p:cNvSpPr>
            <p:nvPr userDrawn="1"/>
          </p:nvSpPr>
          <p:spPr bwMode="auto">
            <a:xfrm>
              <a:off x="5412" y="2552"/>
              <a:ext cx="313" cy="551"/>
            </a:xfrm>
            <a:custGeom>
              <a:avLst/>
              <a:gdLst>
                <a:gd name="T0" fmla="*/ 234667157 w 132"/>
                <a:gd name="T1" fmla="*/ 0 h 232"/>
                <a:gd name="T2" fmla="*/ 291517195 w 132"/>
                <a:gd name="T3" fmla="*/ 24547155 h 232"/>
                <a:gd name="T4" fmla="*/ 312488786 w 132"/>
                <a:gd name="T5" fmla="*/ 79781492 h 232"/>
                <a:gd name="T6" fmla="*/ 312488786 w 132"/>
                <a:gd name="T7" fmla="*/ 202009418 h 232"/>
                <a:gd name="T8" fmla="*/ 291517195 w 132"/>
                <a:gd name="T9" fmla="*/ 258572736 h 232"/>
                <a:gd name="T10" fmla="*/ 234667157 w 132"/>
                <a:gd name="T11" fmla="*/ 283050061 h 232"/>
                <a:gd name="T12" fmla="*/ 77977488 w 132"/>
                <a:gd name="T13" fmla="*/ 283050061 h 232"/>
                <a:gd name="T14" fmla="*/ 77977488 w 132"/>
                <a:gd name="T15" fmla="*/ 564828430 h 232"/>
                <a:gd name="T16" fmla="*/ 46760663 w 132"/>
                <a:gd name="T17" fmla="*/ 564828430 h 232"/>
                <a:gd name="T18" fmla="*/ 46760663 w 132"/>
                <a:gd name="T19" fmla="*/ 253283286 h 232"/>
                <a:gd name="T20" fmla="*/ 234667157 w 132"/>
                <a:gd name="T21" fmla="*/ 253283286 h 232"/>
                <a:gd name="T22" fmla="*/ 269717845 w 132"/>
                <a:gd name="T23" fmla="*/ 238499835 h 232"/>
                <a:gd name="T24" fmla="*/ 284788810 w 132"/>
                <a:gd name="T25" fmla="*/ 202009418 h 232"/>
                <a:gd name="T26" fmla="*/ 284788810 w 132"/>
                <a:gd name="T27" fmla="*/ 79781492 h 232"/>
                <a:gd name="T28" fmla="*/ 269717845 w 132"/>
                <a:gd name="T29" fmla="*/ 46120372 h 232"/>
                <a:gd name="T30" fmla="*/ 234667157 w 132"/>
                <a:gd name="T31" fmla="*/ 31976658 h 232"/>
                <a:gd name="T32" fmla="*/ 115836743 w 132"/>
                <a:gd name="T33" fmla="*/ 31976658 h 232"/>
                <a:gd name="T34" fmla="*/ 54699961 w 132"/>
                <a:gd name="T35" fmla="*/ 58299493 h 232"/>
                <a:gd name="T36" fmla="*/ 27860863 w 132"/>
                <a:gd name="T37" fmla="*/ 122107630 h 232"/>
                <a:gd name="T38" fmla="*/ 27860863 w 132"/>
                <a:gd name="T39" fmla="*/ 564828430 h 232"/>
                <a:gd name="T40" fmla="*/ 0 w 132"/>
                <a:gd name="T41" fmla="*/ 564828430 h 232"/>
                <a:gd name="T42" fmla="*/ 0 w 132"/>
                <a:gd name="T43" fmla="*/ 122107630 h 232"/>
                <a:gd name="T44" fmla="*/ 32885075 w 132"/>
                <a:gd name="T45" fmla="*/ 37103839 h 232"/>
                <a:gd name="T46" fmla="*/ 115836743 w 132"/>
                <a:gd name="T47" fmla="*/ 0 h 232"/>
                <a:gd name="T48" fmla="*/ 234667157 w 132"/>
                <a:gd name="T49" fmla="*/ 0 h 232"/>
                <a:gd name="T50" fmla="*/ 262918698 w 132"/>
                <a:gd name="T51" fmla="*/ 202009418 h 232"/>
                <a:gd name="T52" fmla="*/ 255645496 w 132"/>
                <a:gd name="T53" fmla="*/ 224358826 h 232"/>
                <a:gd name="T54" fmla="*/ 234667157 w 132"/>
                <a:gd name="T55" fmla="*/ 233836064 h 232"/>
                <a:gd name="T56" fmla="*/ 46760663 w 132"/>
                <a:gd name="T57" fmla="*/ 233836064 h 232"/>
                <a:gd name="T58" fmla="*/ 46760663 w 132"/>
                <a:gd name="T59" fmla="*/ 122107630 h 232"/>
                <a:gd name="T60" fmla="*/ 69064519 w 132"/>
                <a:gd name="T61" fmla="*/ 70832843 h 232"/>
                <a:gd name="T62" fmla="*/ 115836743 w 132"/>
                <a:gd name="T63" fmla="*/ 51413739 h 232"/>
                <a:gd name="T64" fmla="*/ 234667157 w 132"/>
                <a:gd name="T65" fmla="*/ 51413739 h 232"/>
                <a:gd name="T66" fmla="*/ 255645496 w 132"/>
                <a:gd name="T67" fmla="*/ 60526659 h 232"/>
                <a:gd name="T68" fmla="*/ 262918698 w 132"/>
                <a:gd name="T69" fmla="*/ 79781492 h 232"/>
                <a:gd name="T70" fmla="*/ 262918698 w 132"/>
                <a:gd name="T71" fmla="*/ 202009418 h 232"/>
                <a:gd name="T72" fmla="*/ 77977488 w 132"/>
                <a:gd name="T73" fmla="*/ 202009418 h 232"/>
                <a:gd name="T74" fmla="*/ 234667157 w 132"/>
                <a:gd name="T75" fmla="*/ 202009418 h 232"/>
                <a:gd name="T76" fmla="*/ 234667157 w 132"/>
                <a:gd name="T77" fmla="*/ 79781492 h 232"/>
                <a:gd name="T78" fmla="*/ 115836743 w 132"/>
                <a:gd name="T79" fmla="*/ 79781492 h 232"/>
                <a:gd name="T80" fmla="*/ 89678239 w 132"/>
                <a:gd name="T81" fmla="*/ 92335711 h 232"/>
                <a:gd name="T82" fmla="*/ 77977488 w 132"/>
                <a:gd name="T83" fmla="*/ 122107630 h 232"/>
                <a:gd name="T84" fmla="*/ 77977488 w 132"/>
                <a:gd name="T85" fmla="*/ 202009418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99" y="0"/>
                  </a:moveTo>
                  <a:cubicBezTo>
                    <a:pt x="108" y="0"/>
                    <a:pt x="116" y="4"/>
                    <a:pt x="123" y="10"/>
                  </a:cubicBezTo>
                  <a:cubicBezTo>
                    <a:pt x="129" y="16"/>
                    <a:pt x="132" y="24"/>
                    <a:pt x="132" y="33"/>
                  </a:cubicBezTo>
                  <a:cubicBezTo>
                    <a:pt x="132" y="83"/>
                    <a:pt x="132" y="83"/>
                    <a:pt x="132" y="83"/>
                  </a:cubicBezTo>
                  <a:cubicBezTo>
                    <a:pt x="132" y="92"/>
                    <a:pt x="129" y="100"/>
                    <a:pt x="123" y="106"/>
                  </a:cubicBezTo>
                  <a:cubicBezTo>
                    <a:pt x="116" y="113"/>
                    <a:pt x="108" y="116"/>
                    <a:pt x="99" y="116"/>
                  </a:cubicBezTo>
                  <a:cubicBezTo>
                    <a:pt x="33" y="116"/>
                    <a:pt x="33" y="116"/>
                    <a:pt x="33" y="116"/>
                  </a:cubicBezTo>
                  <a:cubicBezTo>
                    <a:pt x="33" y="232"/>
                    <a:pt x="33" y="232"/>
                    <a:pt x="33" y="232"/>
                  </a:cubicBezTo>
                  <a:cubicBezTo>
                    <a:pt x="20" y="232"/>
                    <a:pt x="20" y="232"/>
                    <a:pt x="20" y="232"/>
                  </a:cubicBezTo>
                  <a:cubicBezTo>
                    <a:pt x="20" y="104"/>
                    <a:pt x="20" y="104"/>
                    <a:pt x="20" y="104"/>
                  </a:cubicBezTo>
                  <a:cubicBezTo>
                    <a:pt x="99" y="104"/>
                    <a:pt x="99" y="104"/>
                    <a:pt x="99" y="104"/>
                  </a:cubicBezTo>
                  <a:cubicBezTo>
                    <a:pt x="105" y="104"/>
                    <a:pt x="110" y="102"/>
                    <a:pt x="114" y="98"/>
                  </a:cubicBezTo>
                  <a:cubicBezTo>
                    <a:pt x="118" y="94"/>
                    <a:pt x="120" y="89"/>
                    <a:pt x="120" y="83"/>
                  </a:cubicBezTo>
                  <a:cubicBezTo>
                    <a:pt x="120" y="33"/>
                    <a:pt x="120" y="33"/>
                    <a:pt x="120" y="33"/>
                  </a:cubicBezTo>
                  <a:cubicBezTo>
                    <a:pt x="120" y="28"/>
                    <a:pt x="118" y="23"/>
                    <a:pt x="114" y="19"/>
                  </a:cubicBezTo>
                  <a:cubicBezTo>
                    <a:pt x="110" y="15"/>
                    <a:pt x="105" y="13"/>
                    <a:pt x="99" y="13"/>
                  </a:cubicBezTo>
                  <a:cubicBezTo>
                    <a:pt x="49" y="13"/>
                    <a:pt x="49" y="13"/>
                    <a:pt x="49" y="13"/>
                  </a:cubicBezTo>
                  <a:cubicBezTo>
                    <a:pt x="39" y="13"/>
                    <a:pt x="30" y="16"/>
                    <a:pt x="23" y="24"/>
                  </a:cubicBezTo>
                  <a:cubicBezTo>
                    <a:pt x="16" y="31"/>
                    <a:pt x="12" y="40"/>
                    <a:pt x="12" y="50"/>
                  </a:cubicBezTo>
                  <a:cubicBezTo>
                    <a:pt x="12" y="232"/>
                    <a:pt x="12" y="232"/>
                    <a:pt x="12" y="232"/>
                  </a:cubicBezTo>
                  <a:cubicBezTo>
                    <a:pt x="0" y="232"/>
                    <a:pt x="0" y="232"/>
                    <a:pt x="0" y="232"/>
                  </a:cubicBezTo>
                  <a:cubicBezTo>
                    <a:pt x="0" y="50"/>
                    <a:pt x="0" y="50"/>
                    <a:pt x="0" y="50"/>
                  </a:cubicBezTo>
                  <a:cubicBezTo>
                    <a:pt x="0" y="36"/>
                    <a:pt x="5" y="25"/>
                    <a:pt x="14" y="15"/>
                  </a:cubicBezTo>
                  <a:cubicBezTo>
                    <a:pt x="24" y="5"/>
                    <a:pt x="36" y="0"/>
                    <a:pt x="49" y="0"/>
                  </a:cubicBezTo>
                  <a:lnTo>
                    <a:pt x="99" y="0"/>
                  </a:lnTo>
                  <a:close/>
                  <a:moveTo>
                    <a:pt x="111" y="83"/>
                  </a:moveTo>
                  <a:cubicBezTo>
                    <a:pt x="111" y="87"/>
                    <a:pt x="110" y="89"/>
                    <a:pt x="108" y="92"/>
                  </a:cubicBezTo>
                  <a:cubicBezTo>
                    <a:pt x="105" y="94"/>
                    <a:pt x="102" y="96"/>
                    <a:pt x="99" y="96"/>
                  </a:cubicBezTo>
                  <a:cubicBezTo>
                    <a:pt x="20" y="96"/>
                    <a:pt x="20" y="96"/>
                    <a:pt x="20" y="96"/>
                  </a:cubicBezTo>
                  <a:cubicBezTo>
                    <a:pt x="20" y="50"/>
                    <a:pt x="20" y="50"/>
                    <a:pt x="20" y="50"/>
                  </a:cubicBezTo>
                  <a:cubicBezTo>
                    <a:pt x="20" y="42"/>
                    <a:pt x="23" y="35"/>
                    <a:pt x="29" y="29"/>
                  </a:cubicBezTo>
                  <a:cubicBezTo>
                    <a:pt x="35" y="24"/>
                    <a:pt x="41" y="21"/>
                    <a:pt x="49" y="21"/>
                  </a:cubicBezTo>
                  <a:cubicBezTo>
                    <a:pt x="99" y="21"/>
                    <a:pt x="99" y="21"/>
                    <a:pt x="99" y="21"/>
                  </a:cubicBezTo>
                  <a:cubicBezTo>
                    <a:pt x="102" y="21"/>
                    <a:pt x="105" y="22"/>
                    <a:pt x="108" y="25"/>
                  </a:cubicBezTo>
                  <a:cubicBezTo>
                    <a:pt x="110" y="27"/>
                    <a:pt x="111" y="30"/>
                    <a:pt x="111" y="33"/>
                  </a:cubicBezTo>
                  <a:lnTo>
                    <a:pt x="111" y="83"/>
                  </a:lnTo>
                  <a:close/>
                  <a:moveTo>
                    <a:pt x="33" y="83"/>
                  </a:moveTo>
                  <a:cubicBezTo>
                    <a:pt x="99" y="83"/>
                    <a:pt x="99" y="83"/>
                    <a:pt x="99" y="83"/>
                  </a:cubicBezTo>
                  <a:cubicBezTo>
                    <a:pt x="99" y="33"/>
                    <a:pt x="99" y="33"/>
                    <a:pt x="99" y="33"/>
                  </a:cubicBezTo>
                  <a:cubicBezTo>
                    <a:pt x="49" y="33"/>
                    <a:pt x="49" y="33"/>
                    <a:pt x="49" y="33"/>
                  </a:cubicBezTo>
                  <a:cubicBezTo>
                    <a:pt x="45" y="33"/>
                    <a:pt x="41" y="35"/>
                    <a:pt x="38" y="38"/>
                  </a:cubicBezTo>
                  <a:cubicBezTo>
                    <a:pt x="34" y="42"/>
                    <a:pt x="33" y="45"/>
                    <a:pt x="33" y="50"/>
                  </a:cubicBezTo>
                  <a:lnTo>
                    <a:pt x="33" y="83"/>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5">
              <a:extLst>
                <a:ext uri="{FF2B5EF4-FFF2-40B4-BE49-F238E27FC236}">
                  <a16:creationId xmlns:a16="http://schemas.microsoft.com/office/drawing/2014/main" id="{5D726E9C-266D-3E45-DB1D-4EBC4C91295B}"/>
                </a:ext>
              </a:extLst>
            </p:cNvPr>
            <p:cNvSpPr>
              <a:spLocks noEditPoints="1"/>
            </p:cNvSpPr>
            <p:nvPr userDrawn="1"/>
          </p:nvSpPr>
          <p:spPr bwMode="auto">
            <a:xfrm>
              <a:off x="5774" y="2552"/>
              <a:ext cx="312" cy="551"/>
            </a:xfrm>
            <a:custGeom>
              <a:avLst/>
              <a:gdLst>
                <a:gd name="T0" fmla="*/ 26510905 w 132"/>
                <a:gd name="T1" fmla="*/ 442759715 h 232"/>
                <a:gd name="T2" fmla="*/ 51443210 w 132"/>
                <a:gd name="T3" fmla="*/ 508305993 h 232"/>
                <a:gd name="T4" fmla="*/ 110103249 w 132"/>
                <a:gd name="T5" fmla="*/ 535913430 h 232"/>
                <a:gd name="T6" fmla="*/ 295891719 w 132"/>
                <a:gd name="T7" fmla="*/ 535913430 h 232"/>
                <a:gd name="T8" fmla="*/ 295891719 w 132"/>
                <a:gd name="T9" fmla="*/ 564828430 h 232"/>
                <a:gd name="T10" fmla="*/ 110103249 w 132"/>
                <a:gd name="T11" fmla="*/ 564828430 h 232"/>
                <a:gd name="T12" fmla="*/ 31262608 w 132"/>
                <a:gd name="T13" fmla="*/ 527724589 h 232"/>
                <a:gd name="T14" fmla="*/ 0 w 132"/>
                <a:gd name="T15" fmla="*/ 442759715 h 232"/>
                <a:gd name="T16" fmla="*/ 0 w 132"/>
                <a:gd name="T17" fmla="*/ 0 h 232"/>
                <a:gd name="T18" fmla="*/ 26510905 w 132"/>
                <a:gd name="T19" fmla="*/ 0 h 232"/>
                <a:gd name="T20" fmla="*/ 26510905 w 132"/>
                <a:gd name="T21" fmla="*/ 442759715 h 232"/>
                <a:gd name="T22" fmla="*/ 295891719 w 132"/>
                <a:gd name="T23" fmla="*/ 484506888 h 232"/>
                <a:gd name="T24" fmla="*/ 295891719 w 132"/>
                <a:gd name="T25" fmla="*/ 513431020 h 232"/>
                <a:gd name="T26" fmla="*/ 110103249 w 132"/>
                <a:gd name="T27" fmla="*/ 513431020 h 232"/>
                <a:gd name="T28" fmla="*/ 65404189 w 132"/>
                <a:gd name="T29" fmla="*/ 494012295 h 232"/>
                <a:gd name="T30" fmla="*/ 44482705 w 132"/>
                <a:gd name="T31" fmla="*/ 442759715 h 232"/>
                <a:gd name="T32" fmla="*/ 44482705 w 132"/>
                <a:gd name="T33" fmla="*/ 0 h 232"/>
                <a:gd name="T34" fmla="*/ 73893437 w 132"/>
                <a:gd name="T35" fmla="*/ 0 h 232"/>
                <a:gd name="T36" fmla="*/ 73893437 w 132"/>
                <a:gd name="T37" fmla="*/ 442759715 h 232"/>
                <a:gd name="T38" fmla="*/ 85443339 w 132"/>
                <a:gd name="T39" fmla="*/ 472485538 h 232"/>
                <a:gd name="T40" fmla="*/ 110103249 w 132"/>
                <a:gd name="T41" fmla="*/ 484506888 h 232"/>
                <a:gd name="T42" fmla="*/ 295891719 w 132"/>
                <a:gd name="T43" fmla="*/ 484506888 h 2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2" h="232">
                  <a:moveTo>
                    <a:pt x="12" y="182"/>
                  </a:moveTo>
                  <a:cubicBezTo>
                    <a:pt x="12" y="193"/>
                    <a:pt x="16" y="201"/>
                    <a:pt x="23" y="209"/>
                  </a:cubicBezTo>
                  <a:cubicBezTo>
                    <a:pt x="30" y="216"/>
                    <a:pt x="39" y="220"/>
                    <a:pt x="49" y="220"/>
                  </a:cubicBezTo>
                  <a:cubicBezTo>
                    <a:pt x="132" y="220"/>
                    <a:pt x="132" y="220"/>
                    <a:pt x="132" y="220"/>
                  </a:cubicBezTo>
                  <a:cubicBezTo>
                    <a:pt x="132" y="232"/>
                    <a:pt x="132" y="232"/>
                    <a:pt x="132" y="232"/>
                  </a:cubicBezTo>
                  <a:cubicBezTo>
                    <a:pt x="49" y="232"/>
                    <a:pt x="49" y="232"/>
                    <a:pt x="49" y="232"/>
                  </a:cubicBezTo>
                  <a:cubicBezTo>
                    <a:pt x="36" y="232"/>
                    <a:pt x="24" y="227"/>
                    <a:pt x="14" y="217"/>
                  </a:cubicBezTo>
                  <a:cubicBezTo>
                    <a:pt x="4" y="208"/>
                    <a:pt x="0" y="196"/>
                    <a:pt x="0" y="182"/>
                  </a:cubicBezTo>
                  <a:cubicBezTo>
                    <a:pt x="0" y="0"/>
                    <a:pt x="0" y="0"/>
                    <a:pt x="0" y="0"/>
                  </a:cubicBezTo>
                  <a:cubicBezTo>
                    <a:pt x="12" y="0"/>
                    <a:pt x="12" y="0"/>
                    <a:pt x="12" y="0"/>
                  </a:cubicBezTo>
                  <a:lnTo>
                    <a:pt x="12" y="182"/>
                  </a:lnTo>
                  <a:close/>
                  <a:moveTo>
                    <a:pt x="132" y="199"/>
                  </a:moveTo>
                  <a:cubicBezTo>
                    <a:pt x="132" y="211"/>
                    <a:pt x="132" y="211"/>
                    <a:pt x="132" y="211"/>
                  </a:cubicBezTo>
                  <a:cubicBezTo>
                    <a:pt x="49" y="211"/>
                    <a:pt x="49" y="211"/>
                    <a:pt x="49" y="211"/>
                  </a:cubicBezTo>
                  <a:cubicBezTo>
                    <a:pt x="41" y="211"/>
                    <a:pt x="34" y="209"/>
                    <a:pt x="29" y="203"/>
                  </a:cubicBezTo>
                  <a:cubicBezTo>
                    <a:pt x="23" y="197"/>
                    <a:pt x="20" y="190"/>
                    <a:pt x="20" y="182"/>
                  </a:cubicBezTo>
                  <a:cubicBezTo>
                    <a:pt x="20" y="0"/>
                    <a:pt x="20" y="0"/>
                    <a:pt x="20" y="0"/>
                  </a:cubicBezTo>
                  <a:cubicBezTo>
                    <a:pt x="33" y="0"/>
                    <a:pt x="33" y="0"/>
                    <a:pt x="33" y="0"/>
                  </a:cubicBezTo>
                  <a:cubicBezTo>
                    <a:pt x="33" y="182"/>
                    <a:pt x="33" y="182"/>
                    <a:pt x="33" y="182"/>
                  </a:cubicBezTo>
                  <a:cubicBezTo>
                    <a:pt x="33" y="187"/>
                    <a:pt x="34" y="191"/>
                    <a:pt x="38" y="194"/>
                  </a:cubicBezTo>
                  <a:cubicBezTo>
                    <a:pt x="41" y="197"/>
                    <a:pt x="45" y="199"/>
                    <a:pt x="49" y="199"/>
                  </a:cubicBezTo>
                  <a:lnTo>
                    <a:pt x="132" y="199"/>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5" name="Freeform 16">
              <a:extLst>
                <a:ext uri="{FF2B5EF4-FFF2-40B4-BE49-F238E27FC236}">
                  <a16:creationId xmlns:a16="http://schemas.microsoft.com/office/drawing/2014/main" id="{5A33EB9C-C3BB-2F8A-A346-3E3C9BACFF96}"/>
                </a:ext>
              </a:extLst>
            </p:cNvPr>
            <p:cNvSpPr>
              <a:spLocks noEditPoints="1"/>
            </p:cNvSpPr>
            <p:nvPr userDrawn="1"/>
          </p:nvSpPr>
          <p:spPr bwMode="auto">
            <a:xfrm>
              <a:off x="6120" y="2552"/>
              <a:ext cx="331" cy="551"/>
            </a:xfrm>
            <a:custGeom>
              <a:avLst/>
              <a:gdLst>
                <a:gd name="T0" fmla="*/ 315628455 w 140"/>
                <a:gd name="T1" fmla="*/ 0 h 232"/>
                <a:gd name="T2" fmla="*/ 315628455 w 140"/>
                <a:gd name="T3" fmla="*/ 564828430 h 232"/>
                <a:gd name="T4" fmla="*/ 288722604 w 140"/>
                <a:gd name="T5" fmla="*/ 564828430 h 232"/>
                <a:gd name="T6" fmla="*/ 288722604 w 140"/>
                <a:gd name="T7" fmla="*/ 31976658 h 232"/>
                <a:gd name="T8" fmla="*/ 110489077 w 140"/>
                <a:gd name="T9" fmla="*/ 31976658 h 232"/>
                <a:gd name="T10" fmla="*/ 51651254 w 140"/>
                <a:gd name="T11" fmla="*/ 58299493 h 232"/>
                <a:gd name="T12" fmla="*/ 26606139 w 140"/>
                <a:gd name="T13" fmla="*/ 122107630 h 232"/>
                <a:gd name="T14" fmla="*/ 26606139 w 140"/>
                <a:gd name="T15" fmla="*/ 564828430 h 232"/>
                <a:gd name="T16" fmla="*/ 0 w 140"/>
                <a:gd name="T17" fmla="*/ 564828430 h 232"/>
                <a:gd name="T18" fmla="*/ 0 w 140"/>
                <a:gd name="T19" fmla="*/ 122107630 h 232"/>
                <a:gd name="T20" fmla="*/ 31354195 w 140"/>
                <a:gd name="T21" fmla="*/ 37103839 h 232"/>
                <a:gd name="T22" fmla="*/ 110489077 w 140"/>
                <a:gd name="T23" fmla="*/ 0 h 232"/>
                <a:gd name="T24" fmla="*/ 315628455 w 140"/>
                <a:gd name="T25" fmla="*/ 0 h 232"/>
                <a:gd name="T26" fmla="*/ 44631525 w 140"/>
                <a:gd name="T27" fmla="*/ 122107630 h 232"/>
                <a:gd name="T28" fmla="*/ 65649001 w 140"/>
                <a:gd name="T29" fmla="*/ 70832843 h 232"/>
                <a:gd name="T30" fmla="*/ 110489077 w 140"/>
                <a:gd name="T31" fmla="*/ 51413739 h 232"/>
                <a:gd name="T32" fmla="*/ 270477527 w 140"/>
                <a:gd name="T33" fmla="*/ 51413739 h 232"/>
                <a:gd name="T34" fmla="*/ 270477527 w 140"/>
                <a:gd name="T35" fmla="*/ 233836064 h 232"/>
                <a:gd name="T36" fmla="*/ 44631525 w 140"/>
                <a:gd name="T37" fmla="*/ 233836064 h 232"/>
                <a:gd name="T38" fmla="*/ 44631525 w 140"/>
                <a:gd name="T39" fmla="*/ 122107630 h 232"/>
                <a:gd name="T40" fmla="*/ 270477527 w 140"/>
                <a:gd name="T41" fmla="*/ 253283286 h 232"/>
                <a:gd name="T42" fmla="*/ 270477527 w 140"/>
                <a:gd name="T43" fmla="*/ 564828430 h 232"/>
                <a:gd name="T44" fmla="*/ 241121972 w 140"/>
                <a:gd name="T45" fmla="*/ 564828430 h 232"/>
                <a:gd name="T46" fmla="*/ 241121972 w 140"/>
                <a:gd name="T47" fmla="*/ 283050061 h 232"/>
                <a:gd name="T48" fmla="*/ 74130275 w 140"/>
                <a:gd name="T49" fmla="*/ 283050061 h 232"/>
                <a:gd name="T50" fmla="*/ 74130275 w 140"/>
                <a:gd name="T51" fmla="*/ 564828430 h 232"/>
                <a:gd name="T52" fmla="*/ 44631525 w 140"/>
                <a:gd name="T53" fmla="*/ 564828430 h 232"/>
                <a:gd name="T54" fmla="*/ 44631525 w 140"/>
                <a:gd name="T55" fmla="*/ 253283286 h 232"/>
                <a:gd name="T56" fmla="*/ 270477527 w 140"/>
                <a:gd name="T57" fmla="*/ 253283286 h 232"/>
                <a:gd name="T58" fmla="*/ 241121972 w 140"/>
                <a:gd name="T59" fmla="*/ 79781492 h 232"/>
                <a:gd name="T60" fmla="*/ 110489077 w 140"/>
                <a:gd name="T61" fmla="*/ 79781492 h 232"/>
                <a:gd name="T62" fmla="*/ 85974132 w 140"/>
                <a:gd name="T63" fmla="*/ 92335711 h 232"/>
                <a:gd name="T64" fmla="*/ 74130275 w 140"/>
                <a:gd name="T65" fmla="*/ 122107630 h 232"/>
                <a:gd name="T66" fmla="*/ 74130275 w 140"/>
                <a:gd name="T67" fmla="*/ 202009418 h 232"/>
                <a:gd name="T68" fmla="*/ 241121972 w 140"/>
                <a:gd name="T69" fmla="*/ 202009418 h 232"/>
                <a:gd name="T70" fmla="*/ 241121972 w 140"/>
                <a:gd name="T71" fmla="*/ 79781492 h 23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40" h="232">
                  <a:moveTo>
                    <a:pt x="140" y="0"/>
                  </a:moveTo>
                  <a:cubicBezTo>
                    <a:pt x="140" y="232"/>
                    <a:pt x="140" y="232"/>
                    <a:pt x="140" y="232"/>
                  </a:cubicBezTo>
                  <a:cubicBezTo>
                    <a:pt x="128" y="232"/>
                    <a:pt x="128" y="232"/>
                    <a:pt x="128" y="232"/>
                  </a:cubicBezTo>
                  <a:cubicBezTo>
                    <a:pt x="128" y="13"/>
                    <a:pt x="128" y="13"/>
                    <a:pt x="128" y="13"/>
                  </a:cubicBezTo>
                  <a:cubicBezTo>
                    <a:pt x="49" y="13"/>
                    <a:pt x="49" y="13"/>
                    <a:pt x="49" y="13"/>
                  </a:cubicBezTo>
                  <a:cubicBezTo>
                    <a:pt x="39" y="13"/>
                    <a:pt x="30" y="16"/>
                    <a:pt x="23" y="24"/>
                  </a:cubicBezTo>
                  <a:cubicBezTo>
                    <a:pt x="16" y="31"/>
                    <a:pt x="12" y="40"/>
                    <a:pt x="12" y="50"/>
                  </a:cubicBezTo>
                  <a:cubicBezTo>
                    <a:pt x="12" y="232"/>
                    <a:pt x="12" y="232"/>
                    <a:pt x="12" y="232"/>
                  </a:cubicBezTo>
                  <a:cubicBezTo>
                    <a:pt x="0" y="232"/>
                    <a:pt x="0" y="232"/>
                    <a:pt x="0" y="232"/>
                  </a:cubicBezTo>
                  <a:cubicBezTo>
                    <a:pt x="0" y="50"/>
                    <a:pt x="0" y="50"/>
                    <a:pt x="0" y="50"/>
                  </a:cubicBezTo>
                  <a:cubicBezTo>
                    <a:pt x="0" y="36"/>
                    <a:pt x="5" y="25"/>
                    <a:pt x="14" y="15"/>
                  </a:cubicBezTo>
                  <a:cubicBezTo>
                    <a:pt x="24" y="5"/>
                    <a:pt x="36" y="0"/>
                    <a:pt x="49" y="0"/>
                  </a:cubicBezTo>
                  <a:lnTo>
                    <a:pt x="140" y="0"/>
                  </a:lnTo>
                  <a:close/>
                  <a:moveTo>
                    <a:pt x="20" y="50"/>
                  </a:moveTo>
                  <a:cubicBezTo>
                    <a:pt x="20" y="42"/>
                    <a:pt x="23" y="35"/>
                    <a:pt x="29" y="29"/>
                  </a:cubicBezTo>
                  <a:cubicBezTo>
                    <a:pt x="35" y="24"/>
                    <a:pt x="41" y="21"/>
                    <a:pt x="49" y="21"/>
                  </a:cubicBezTo>
                  <a:cubicBezTo>
                    <a:pt x="120" y="21"/>
                    <a:pt x="120" y="21"/>
                    <a:pt x="120" y="21"/>
                  </a:cubicBezTo>
                  <a:cubicBezTo>
                    <a:pt x="120" y="96"/>
                    <a:pt x="120" y="96"/>
                    <a:pt x="120" y="96"/>
                  </a:cubicBezTo>
                  <a:cubicBezTo>
                    <a:pt x="20" y="96"/>
                    <a:pt x="20" y="96"/>
                    <a:pt x="20" y="96"/>
                  </a:cubicBezTo>
                  <a:lnTo>
                    <a:pt x="20" y="50"/>
                  </a:lnTo>
                  <a:close/>
                  <a:moveTo>
                    <a:pt x="120" y="104"/>
                  </a:moveTo>
                  <a:cubicBezTo>
                    <a:pt x="120" y="232"/>
                    <a:pt x="120" y="232"/>
                    <a:pt x="120" y="232"/>
                  </a:cubicBezTo>
                  <a:cubicBezTo>
                    <a:pt x="107" y="232"/>
                    <a:pt x="107" y="232"/>
                    <a:pt x="107" y="232"/>
                  </a:cubicBezTo>
                  <a:cubicBezTo>
                    <a:pt x="107" y="116"/>
                    <a:pt x="107" y="116"/>
                    <a:pt x="107" y="116"/>
                  </a:cubicBezTo>
                  <a:cubicBezTo>
                    <a:pt x="33" y="116"/>
                    <a:pt x="33" y="116"/>
                    <a:pt x="33" y="116"/>
                  </a:cubicBezTo>
                  <a:cubicBezTo>
                    <a:pt x="33" y="232"/>
                    <a:pt x="33" y="232"/>
                    <a:pt x="33" y="232"/>
                  </a:cubicBezTo>
                  <a:cubicBezTo>
                    <a:pt x="20" y="232"/>
                    <a:pt x="20" y="232"/>
                    <a:pt x="20" y="232"/>
                  </a:cubicBezTo>
                  <a:cubicBezTo>
                    <a:pt x="20" y="104"/>
                    <a:pt x="20" y="104"/>
                    <a:pt x="20" y="104"/>
                  </a:cubicBezTo>
                  <a:lnTo>
                    <a:pt x="120" y="104"/>
                  </a:lnTo>
                  <a:close/>
                  <a:moveTo>
                    <a:pt x="107" y="33"/>
                  </a:moveTo>
                  <a:cubicBezTo>
                    <a:pt x="49" y="33"/>
                    <a:pt x="49" y="33"/>
                    <a:pt x="49" y="33"/>
                  </a:cubicBezTo>
                  <a:cubicBezTo>
                    <a:pt x="45" y="33"/>
                    <a:pt x="41" y="35"/>
                    <a:pt x="38" y="38"/>
                  </a:cubicBezTo>
                  <a:cubicBezTo>
                    <a:pt x="34" y="42"/>
                    <a:pt x="33" y="45"/>
                    <a:pt x="33" y="50"/>
                  </a:cubicBezTo>
                  <a:cubicBezTo>
                    <a:pt x="33" y="83"/>
                    <a:pt x="33" y="83"/>
                    <a:pt x="33" y="83"/>
                  </a:cubicBezTo>
                  <a:cubicBezTo>
                    <a:pt x="107" y="83"/>
                    <a:pt x="107" y="83"/>
                    <a:pt x="107" y="83"/>
                  </a:cubicBezTo>
                  <a:lnTo>
                    <a:pt x="107" y="33"/>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6" name="Freeform 17">
              <a:extLst>
                <a:ext uri="{FF2B5EF4-FFF2-40B4-BE49-F238E27FC236}">
                  <a16:creationId xmlns:a16="http://schemas.microsoft.com/office/drawing/2014/main" id="{A6CAF839-397C-AD7A-16C6-342FD028E020}"/>
                </a:ext>
              </a:extLst>
            </p:cNvPr>
            <p:cNvSpPr>
              <a:spLocks noEditPoints="1"/>
            </p:cNvSpPr>
            <p:nvPr userDrawn="1"/>
          </p:nvSpPr>
          <p:spPr bwMode="auto">
            <a:xfrm>
              <a:off x="6517" y="2552"/>
              <a:ext cx="331" cy="551"/>
            </a:xfrm>
            <a:custGeom>
              <a:avLst/>
              <a:gdLst>
                <a:gd name="T0" fmla="*/ 0 w 331"/>
                <a:gd name="T1" fmla="*/ 0 h 551"/>
                <a:gd name="T2" fmla="*/ 331 w 331"/>
                <a:gd name="T3" fmla="*/ 0 h 551"/>
                <a:gd name="T4" fmla="*/ 331 w 331"/>
                <a:gd name="T5" fmla="*/ 31 h 551"/>
                <a:gd name="T6" fmla="*/ 0 w 331"/>
                <a:gd name="T7" fmla="*/ 31 h 551"/>
                <a:gd name="T8" fmla="*/ 0 w 331"/>
                <a:gd name="T9" fmla="*/ 0 h 551"/>
                <a:gd name="T10" fmla="*/ 156 w 331"/>
                <a:gd name="T11" fmla="*/ 50 h 551"/>
                <a:gd name="T12" fmla="*/ 156 w 331"/>
                <a:gd name="T13" fmla="*/ 551 h 551"/>
                <a:gd name="T14" fmla="*/ 128 w 331"/>
                <a:gd name="T15" fmla="*/ 551 h 551"/>
                <a:gd name="T16" fmla="*/ 128 w 331"/>
                <a:gd name="T17" fmla="*/ 79 h 551"/>
                <a:gd name="T18" fmla="*/ 0 w 331"/>
                <a:gd name="T19" fmla="*/ 79 h 551"/>
                <a:gd name="T20" fmla="*/ 0 w 331"/>
                <a:gd name="T21" fmla="*/ 50 h 551"/>
                <a:gd name="T22" fmla="*/ 156 w 331"/>
                <a:gd name="T23" fmla="*/ 50 h 551"/>
                <a:gd name="T24" fmla="*/ 331 w 331"/>
                <a:gd name="T25" fmla="*/ 50 h 551"/>
                <a:gd name="T26" fmla="*/ 331 w 331"/>
                <a:gd name="T27" fmla="*/ 79 h 551"/>
                <a:gd name="T28" fmla="*/ 206 w 331"/>
                <a:gd name="T29" fmla="*/ 79 h 551"/>
                <a:gd name="T30" fmla="*/ 206 w 331"/>
                <a:gd name="T31" fmla="*/ 551 h 551"/>
                <a:gd name="T32" fmla="*/ 175 w 331"/>
                <a:gd name="T33" fmla="*/ 551 h 551"/>
                <a:gd name="T34" fmla="*/ 175 w 331"/>
                <a:gd name="T35" fmla="*/ 50 h 551"/>
                <a:gd name="T36" fmla="*/ 331 w 331"/>
                <a:gd name="T37" fmla="*/ 50 h 5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31" h="551">
                  <a:moveTo>
                    <a:pt x="0" y="0"/>
                  </a:moveTo>
                  <a:lnTo>
                    <a:pt x="331" y="0"/>
                  </a:lnTo>
                  <a:lnTo>
                    <a:pt x="331" y="31"/>
                  </a:lnTo>
                  <a:lnTo>
                    <a:pt x="0" y="31"/>
                  </a:lnTo>
                  <a:lnTo>
                    <a:pt x="0" y="0"/>
                  </a:lnTo>
                  <a:close/>
                  <a:moveTo>
                    <a:pt x="156" y="50"/>
                  </a:moveTo>
                  <a:lnTo>
                    <a:pt x="156" y="551"/>
                  </a:lnTo>
                  <a:lnTo>
                    <a:pt x="128" y="551"/>
                  </a:lnTo>
                  <a:lnTo>
                    <a:pt x="128" y="79"/>
                  </a:lnTo>
                  <a:lnTo>
                    <a:pt x="0" y="79"/>
                  </a:lnTo>
                  <a:lnTo>
                    <a:pt x="0" y="50"/>
                  </a:lnTo>
                  <a:lnTo>
                    <a:pt x="156" y="50"/>
                  </a:lnTo>
                  <a:close/>
                  <a:moveTo>
                    <a:pt x="331" y="50"/>
                  </a:moveTo>
                  <a:lnTo>
                    <a:pt x="331" y="79"/>
                  </a:lnTo>
                  <a:lnTo>
                    <a:pt x="206" y="79"/>
                  </a:lnTo>
                  <a:lnTo>
                    <a:pt x="206" y="551"/>
                  </a:lnTo>
                  <a:lnTo>
                    <a:pt x="175" y="551"/>
                  </a:lnTo>
                  <a:lnTo>
                    <a:pt x="175" y="50"/>
                  </a:lnTo>
                  <a:lnTo>
                    <a:pt x="331" y="50"/>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 name="Freeform 18">
              <a:extLst>
                <a:ext uri="{FF2B5EF4-FFF2-40B4-BE49-F238E27FC236}">
                  <a16:creationId xmlns:a16="http://schemas.microsoft.com/office/drawing/2014/main" id="{7E4CB476-D050-C951-148D-4447CD8DE6AB}"/>
                </a:ext>
              </a:extLst>
            </p:cNvPr>
            <p:cNvSpPr>
              <a:spLocks noEditPoints="1"/>
            </p:cNvSpPr>
            <p:nvPr userDrawn="1"/>
          </p:nvSpPr>
          <p:spPr bwMode="auto">
            <a:xfrm>
              <a:off x="6886" y="2552"/>
              <a:ext cx="312" cy="551"/>
            </a:xfrm>
            <a:custGeom>
              <a:avLst/>
              <a:gdLst>
                <a:gd name="T0" fmla="*/ 295891719 w 132"/>
                <a:gd name="T1" fmla="*/ 0 h 232"/>
                <a:gd name="T2" fmla="*/ 295891719 w 132"/>
                <a:gd name="T3" fmla="*/ 31976658 h 232"/>
                <a:gd name="T4" fmla="*/ 110103249 w 132"/>
                <a:gd name="T5" fmla="*/ 31976658 h 232"/>
                <a:gd name="T6" fmla="*/ 51443210 w 132"/>
                <a:gd name="T7" fmla="*/ 58299493 h 232"/>
                <a:gd name="T8" fmla="*/ 26510905 w 132"/>
                <a:gd name="T9" fmla="*/ 122107630 h 232"/>
                <a:gd name="T10" fmla="*/ 26510905 w 132"/>
                <a:gd name="T11" fmla="*/ 442759715 h 232"/>
                <a:gd name="T12" fmla="*/ 51443210 w 132"/>
                <a:gd name="T13" fmla="*/ 508305993 h 232"/>
                <a:gd name="T14" fmla="*/ 110103249 w 132"/>
                <a:gd name="T15" fmla="*/ 535913430 h 232"/>
                <a:gd name="T16" fmla="*/ 295891719 w 132"/>
                <a:gd name="T17" fmla="*/ 535913430 h 232"/>
                <a:gd name="T18" fmla="*/ 295891719 w 132"/>
                <a:gd name="T19" fmla="*/ 564828430 h 232"/>
                <a:gd name="T20" fmla="*/ 110103249 w 132"/>
                <a:gd name="T21" fmla="*/ 564828430 h 232"/>
                <a:gd name="T22" fmla="*/ 31262608 w 132"/>
                <a:gd name="T23" fmla="*/ 527724589 h 232"/>
                <a:gd name="T24" fmla="*/ 0 w 132"/>
                <a:gd name="T25" fmla="*/ 442759715 h 232"/>
                <a:gd name="T26" fmla="*/ 0 w 132"/>
                <a:gd name="T27" fmla="*/ 122107630 h 232"/>
                <a:gd name="T28" fmla="*/ 31262608 w 132"/>
                <a:gd name="T29" fmla="*/ 37103839 h 232"/>
                <a:gd name="T30" fmla="*/ 110103249 w 132"/>
                <a:gd name="T31" fmla="*/ 0 h 232"/>
                <a:gd name="T32" fmla="*/ 295891719 w 132"/>
                <a:gd name="T33" fmla="*/ 0 h 232"/>
                <a:gd name="T34" fmla="*/ 44482705 w 132"/>
                <a:gd name="T35" fmla="*/ 122107630 h 232"/>
                <a:gd name="T36" fmla="*/ 65404189 w 132"/>
                <a:gd name="T37" fmla="*/ 70832843 h 232"/>
                <a:gd name="T38" fmla="*/ 111981461 w 132"/>
                <a:gd name="T39" fmla="*/ 51413739 h 232"/>
                <a:gd name="T40" fmla="*/ 295891719 w 132"/>
                <a:gd name="T41" fmla="*/ 51413739 h 232"/>
                <a:gd name="T42" fmla="*/ 295891719 w 132"/>
                <a:gd name="T43" fmla="*/ 79781492 h 232"/>
                <a:gd name="T44" fmla="*/ 111981461 w 132"/>
                <a:gd name="T45" fmla="*/ 79781492 h 232"/>
                <a:gd name="T46" fmla="*/ 85443339 w 132"/>
                <a:gd name="T47" fmla="*/ 92335711 h 232"/>
                <a:gd name="T48" fmla="*/ 73893437 w 132"/>
                <a:gd name="T49" fmla="*/ 122107630 h 232"/>
                <a:gd name="T50" fmla="*/ 73893437 w 132"/>
                <a:gd name="T51" fmla="*/ 202009418 h 232"/>
                <a:gd name="T52" fmla="*/ 295891719 w 132"/>
                <a:gd name="T53" fmla="*/ 202009418 h 232"/>
                <a:gd name="T54" fmla="*/ 295891719 w 132"/>
                <a:gd name="T55" fmla="*/ 233836064 h 232"/>
                <a:gd name="T56" fmla="*/ 44482705 w 132"/>
                <a:gd name="T57" fmla="*/ 233836064 h 232"/>
                <a:gd name="T58" fmla="*/ 44482705 w 132"/>
                <a:gd name="T59" fmla="*/ 122107630 h 232"/>
                <a:gd name="T60" fmla="*/ 44482705 w 132"/>
                <a:gd name="T61" fmla="*/ 253283286 h 232"/>
                <a:gd name="T62" fmla="*/ 295891719 w 132"/>
                <a:gd name="T63" fmla="*/ 253283286 h 232"/>
                <a:gd name="T64" fmla="*/ 295891719 w 132"/>
                <a:gd name="T65" fmla="*/ 283050061 h 232"/>
                <a:gd name="T66" fmla="*/ 73893437 w 132"/>
                <a:gd name="T67" fmla="*/ 283050061 h 232"/>
                <a:gd name="T68" fmla="*/ 73893437 w 132"/>
                <a:gd name="T69" fmla="*/ 442759715 h 232"/>
                <a:gd name="T70" fmla="*/ 85443339 w 132"/>
                <a:gd name="T71" fmla="*/ 472485538 h 232"/>
                <a:gd name="T72" fmla="*/ 111981461 w 132"/>
                <a:gd name="T73" fmla="*/ 484506888 h 232"/>
                <a:gd name="T74" fmla="*/ 295891719 w 132"/>
                <a:gd name="T75" fmla="*/ 484506888 h 232"/>
                <a:gd name="T76" fmla="*/ 295891719 w 132"/>
                <a:gd name="T77" fmla="*/ 513431020 h 232"/>
                <a:gd name="T78" fmla="*/ 111981461 w 132"/>
                <a:gd name="T79" fmla="*/ 513431020 h 232"/>
                <a:gd name="T80" fmla="*/ 65404189 w 132"/>
                <a:gd name="T81" fmla="*/ 494012295 h 232"/>
                <a:gd name="T82" fmla="*/ 44482705 w 132"/>
                <a:gd name="T83" fmla="*/ 442759715 h 232"/>
                <a:gd name="T84" fmla="*/ 44482705 w 132"/>
                <a:gd name="T85" fmla="*/ 253283286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132" y="0"/>
                  </a:moveTo>
                  <a:cubicBezTo>
                    <a:pt x="132" y="13"/>
                    <a:pt x="132" y="13"/>
                    <a:pt x="132" y="13"/>
                  </a:cubicBezTo>
                  <a:cubicBezTo>
                    <a:pt x="49" y="13"/>
                    <a:pt x="49" y="13"/>
                    <a:pt x="49" y="13"/>
                  </a:cubicBezTo>
                  <a:cubicBezTo>
                    <a:pt x="39" y="13"/>
                    <a:pt x="30" y="16"/>
                    <a:pt x="23" y="24"/>
                  </a:cubicBezTo>
                  <a:cubicBezTo>
                    <a:pt x="16" y="31"/>
                    <a:pt x="12" y="40"/>
                    <a:pt x="12" y="50"/>
                  </a:cubicBezTo>
                  <a:cubicBezTo>
                    <a:pt x="12" y="182"/>
                    <a:pt x="12" y="182"/>
                    <a:pt x="12" y="182"/>
                  </a:cubicBezTo>
                  <a:cubicBezTo>
                    <a:pt x="12" y="193"/>
                    <a:pt x="16" y="201"/>
                    <a:pt x="23" y="209"/>
                  </a:cubicBezTo>
                  <a:cubicBezTo>
                    <a:pt x="30" y="216"/>
                    <a:pt x="39" y="220"/>
                    <a:pt x="49" y="220"/>
                  </a:cubicBezTo>
                  <a:cubicBezTo>
                    <a:pt x="132" y="220"/>
                    <a:pt x="132" y="220"/>
                    <a:pt x="132" y="220"/>
                  </a:cubicBezTo>
                  <a:cubicBezTo>
                    <a:pt x="132" y="232"/>
                    <a:pt x="132" y="232"/>
                    <a:pt x="132" y="232"/>
                  </a:cubicBezTo>
                  <a:cubicBezTo>
                    <a:pt x="49" y="232"/>
                    <a:pt x="49" y="232"/>
                    <a:pt x="49" y="232"/>
                  </a:cubicBezTo>
                  <a:cubicBezTo>
                    <a:pt x="36" y="232"/>
                    <a:pt x="24" y="227"/>
                    <a:pt x="14" y="217"/>
                  </a:cubicBezTo>
                  <a:cubicBezTo>
                    <a:pt x="5" y="208"/>
                    <a:pt x="0" y="196"/>
                    <a:pt x="0" y="182"/>
                  </a:cubicBezTo>
                  <a:cubicBezTo>
                    <a:pt x="0" y="50"/>
                    <a:pt x="0" y="50"/>
                    <a:pt x="0" y="50"/>
                  </a:cubicBezTo>
                  <a:cubicBezTo>
                    <a:pt x="0" y="36"/>
                    <a:pt x="5" y="25"/>
                    <a:pt x="14" y="15"/>
                  </a:cubicBezTo>
                  <a:cubicBezTo>
                    <a:pt x="24" y="5"/>
                    <a:pt x="36" y="0"/>
                    <a:pt x="49" y="0"/>
                  </a:cubicBezTo>
                  <a:lnTo>
                    <a:pt x="132" y="0"/>
                  </a:lnTo>
                  <a:close/>
                  <a:moveTo>
                    <a:pt x="20" y="50"/>
                  </a:moveTo>
                  <a:cubicBezTo>
                    <a:pt x="20" y="42"/>
                    <a:pt x="23" y="35"/>
                    <a:pt x="29" y="29"/>
                  </a:cubicBezTo>
                  <a:cubicBezTo>
                    <a:pt x="35" y="24"/>
                    <a:pt x="42" y="21"/>
                    <a:pt x="50" y="21"/>
                  </a:cubicBezTo>
                  <a:cubicBezTo>
                    <a:pt x="132" y="21"/>
                    <a:pt x="132" y="21"/>
                    <a:pt x="132" y="21"/>
                  </a:cubicBezTo>
                  <a:cubicBezTo>
                    <a:pt x="132" y="33"/>
                    <a:pt x="132" y="33"/>
                    <a:pt x="132" y="33"/>
                  </a:cubicBezTo>
                  <a:cubicBezTo>
                    <a:pt x="50" y="33"/>
                    <a:pt x="50" y="33"/>
                    <a:pt x="50" y="33"/>
                  </a:cubicBezTo>
                  <a:cubicBezTo>
                    <a:pt x="45" y="33"/>
                    <a:pt x="41" y="35"/>
                    <a:pt x="38" y="38"/>
                  </a:cubicBezTo>
                  <a:cubicBezTo>
                    <a:pt x="35" y="42"/>
                    <a:pt x="33" y="45"/>
                    <a:pt x="33" y="50"/>
                  </a:cubicBezTo>
                  <a:cubicBezTo>
                    <a:pt x="33" y="83"/>
                    <a:pt x="33" y="83"/>
                    <a:pt x="33" y="83"/>
                  </a:cubicBezTo>
                  <a:cubicBezTo>
                    <a:pt x="132" y="83"/>
                    <a:pt x="132" y="83"/>
                    <a:pt x="132" y="83"/>
                  </a:cubicBezTo>
                  <a:cubicBezTo>
                    <a:pt x="132" y="96"/>
                    <a:pt x="132" y="96"/>
                    <a:pt x="132" y="96"/>
                  </a:cubicBezTo>
                  <a:cubicBezTo>
                    <a:pt x="20" y="96"/>
                    <a:pt x="20" y="96"/>
                    <a:pt x="20" y="96"/>
                  </a:cubicBezTo>
                  <a:lnTo>
                    <a:pt x="20" y="50"/>
                  </a:lnTo>
                  <a:close/>
                  <a:moveTo>
                    <a:pt x="20" y="104"/>
                  </a:moveTo>
                  <a:cubicBezTo>
                    <a:pt x="132" y="104"/>
                    <a:pt x="132" y="104"/>
                    <a:pt x="132" y="104"/>
                  </a:cubicBezTo>
                  <a:cubicBezTo>
                    <a:pt x="132" y="116"/>
                    <a:pt x="132" y="116"/>
                    <a:pt x="132" y="116"/>
                  </a:cubicBezTo>
                  <a:cubicBezTo>
                    <a:pt x="33" y="116"/>
                    <a:pt x="33" y="116"/>
                    <a:pt x="33" y="116"/>
                  </a:cubicBezTo>
                  <a:cubicBezTo>
                    <a:pt x="33" y="182"/>
                    <a:pt x="33" y="182"/>
                    <a:pt x="33" y="182"/>
                  </a:cubicBezTo>
                  <a:cubicBezTo>
                    <a:pt x="33" y="187"/>
                    <a:pt x="35" y="191"/>
                    <a:pt x="38" y="194"/>
                  </a:cubicBezTo>
                  <a:cubicBezTo>
                    <a:pt x="41" y="197"/>
                    <a:pt x="45" y="199"/>
                    <a:pt x="50" y="199"/>
                  </a:cubicBezTo>
                  <a:cubicBezTo>
                    <a:pt x="132" y="199"/>
                    <a:pt x="132" y="199"/>
                    <a:pt x="132" y="199"/>
                  </a:cubicBezTo>
                  <a:cubicBezTo>
                    <a:pt x="132" y="211"/>
                    <a:pt x="132" y="211"/>
                    <a:pt x="132" y="211"/>
                  </a:cubicBezTo>
                  <a:cubicBezTo>
                    <a:pt x="50" y="211"/>
                    <a:pt x="50" y="211"/>
                    <a:pt x="50" y="211"/>
                  </a:cubicBezTo>
                  <a:cubicBezTo>
                    <a:pt x="42" y="211"/>
                    <a:pt x="35" y="209"/>
                    <a:pt x="29" y="203"/>
                  </a:cubicBezTo>
                  <a:cubicBezTo>
                    <a:pt x="23" y="197"/>
                    <a:pt x="20" y="190"/>
                    <a:pt x="20" y="182"/>
                  </a:cubicBezTo>
                  <a:lnTo>
                    <a:pt x="20" y="104"/>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8" name="TextBox 23">
            <a:extLst>
              <a:ext uri="{FF2B5EF4-FFF2-40B4-BE49-F238E27FC236}">
                <a16:creationId xmlns:a16="http://schemas.microsoft.com/office/drawing/2014/main" id="{852CBEE9-9D87-F111-6F05-444DAB30EBDB}"/>
              </a:ext>
            </a:extLst>
          </p:cNvPr>
          <p:cNvSpPr txBox="1">
            <a:spLocks noChangeArrowheads="1"/>
          </p:cNvSpPr>
          <p:nvPr/>
        </p:nvSpPr>
        <p:spPr bwMode="auto">
          <a:xfrm>
            <a:off x="11345863" y="6402388"/>
            <a:ext cx="354012" cy="261937"/>
          </a:xfrm>
          <a:prstGeom prst="rect">
            <a:avLst/>
          </a:prstGeom>
          <a:noFill/>
          <a:ln>
            <a:noFill/>
          </a:ln>
        </p:spPr>
        <p:txBody>
          <a:bodyPr wrap="none">
            <a:spAutoFit/>
          </a:bodyPr>
          <a:lstStyle>
            <a:lvl1pPr>
              <a:defRPr>
                <a:solidFill>
                  <a:schemeClr val="tx1"/>
                </a:solidFill>
                <a:latin typeface="Lato Light" panose="020F0502020204030203" pitchFamily="34" charset="0"/>
              </a:defRPr>
            </a:lvl1pPr>
            <a:lvl2pPr marL="742950" indent="-285750">
              <a:defRPr>
                <a:solidFill>
                  <a:schemeClr val="tx1"/>
                </a:solidFill>
                <a:latin typeface="Lato Light" panose="020F0502020204030203" pitchFamily="34" charset="0"/>
              </a:defRPr>
            </a:lvl2pPr>
            <a:lvl3pPr marL="1143000" indent="-228600">
              <a:defRPr>
                <a:solidFill>
                  <a:schemeClr val="tx1"/>
                </a:solidFill>
                <a:latin typeface="Lato Light" panose="020F0502020204030203" pitchFamily="34" charset="0"/>
              </a:defRPr>
            </a:lvl3pPr>
            <a:lvl4pPr marL="1600200" indent="-228600">
              <a:defRPr>
                <a:solidFill>
                  <a:schemeClr val="tx1"/>
                </a:solidFill>
                <a:latin typeface="Lato Light" panose="020F0502020204030203" pitchFamily="34" charset="0"/>
              </a:defRPr>
            </a:lvl4pPr>
            <a:lvl5pPr marL="2057400" indent="-228600">
              <a:defRPr>
                <a:solidFill>
                  <a:schemeClr val="tx1"/>
                </a:solidFill>
                <a:latin typeface="Lato Light" panose="020F0502020204030203" pitchFamily="34" charset="0"/>
              </a:defRPr>
            </a:lvl5pPr>
            <a:lvl6pPr marL="2514600" indent="-228600" eaLnBrk="0" fontAlgn="base" hangingPunct="0">
              <a:spcBef>
                <a:spcPct val="0"/>
              </a:spcBef>
              <a:spcAft>
                <a:spcPct val="0"/>
              </a:spcAft>
              <a:defRPr>
                <a:solidFill>
                  <a:schemeClr val="tx1"/>
                </a:solidFill>
                <a:latin typeface="Lato Light" panose="020F0502020204030203" pitchFamily="34" charset="0"/>
              </a:defRPr>
            </a:lvl6pPr>
            <a:lvl7pPr marL="2971800" indent="-228600" eaLnBrk="0" fontAlgn="base" hangingPunct="0">
              <a:spcBef>
                <a:spcPct val="0"/>
              </a:spcBef>
              <a:spcAft>
                <a:spcPct val="0"/>
              </a:spcAft>
              <a:defRPr>
                <a:solidFill>
                  <a:schemeClr val="tx1"/>
                </a:solidFill>
                <a:latin typeface="Lato Light" panose="020F0502020204030203" pitchFamily="34" charset="0"/>
              </a:defRPr>
            </a:lvl7pPr>
            <a:lvl8pPr marL="3429000" indent="-228600" eaLnBrk="0" fontAlgn="base" hangingPunct="0">
              <a:spcBef>
                <a:spcPct val="0"/>
              </a:spcBef>
              <a:spcAft>
                <a:spcPct val="0"/>
              </a:spcAft>
              <a:defRPr>
                <a:solidFill>
                  <a:schemeClr val="tx1"/>
                </a:solidFill>
                <a:latin typeface="Lato Light" panose="020F0502020204030203" pitchFamily="34" charset="0"/>
              </a:defRPr>
            </a:lvl8pPr>
            <a:lvl9pPr marL="3886200" indent="-228600" eaLnBrk="0" fontAlgn="base" hangingPunct="0">
              <a:spcBef>
                <a:spcPct val="0"/>
              </a:spcBef>
              <a:spcAft>
                <a:spcPct val="0"/>
              </a:spcAft>
              <a:defRPr>
                <a:solidFill>
                  <a:schemeClr val="tx1"/>
                </a:solidFill>
                <a:latin typeface="Lato Light" panose="020F0502020204030203" pitchFamily="34" charset="0"/>
              </a:defRPr>
            </a:lvl9pPr>
          </a:lstStyle>
          <a:p>
            <a:pPr algn="ctr" eaLnBrk="1" hangingPunct="1">
              <a:defRPr/>
            </a:pPr>
            <a:fld id="{ECEF8C92-0DC5-46F5-8E2C-C49F7C4728C1}" type="slidenum">
              <a:rPr lang="en-US" altLang="tr-TR" sz="1100" smtClean="0">
                <a:solidFill>
                  <a:schemeClr val="tx2"/>
                </a:solidFill>
              </a:rPr>
              <a:pPr algn="ctr" eaLnBrk="1" hangingPunct="1">
                <a:defRPr/>
              </a:pPr>
              <a:t>‹#›</a:t>
            </a:fld>
            <a:endParaRPr lang="en-US" altLang="tr-TR" sz="1100">
              <a:solidFill>
                <a:schemeClr val="tx2"/>
              </a:solidFill>
            </a:endParaRPr>
          </a:p>
        </p:txBody>
      </p:sp>
      <p:sp>
        <p:nvSpPr>
          <p:cNvPr id="25" name="Picture Placeholder 3"/>
          <p:cNvSpPr>
            <a:spLocks noGrp="1"/>
          </p:cNvSpPr>
          <p:nvPr>
            <p:ph type="pic" sz="quarter" idx="18"/>
          </p:nvPr>
        </p:nvSpPr>
        <p:spPr>
          <a:xfrm>
            <a:off x="-2437" y="0"/>
            <a:ext cx="3047998" cy="6096000"/>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
        <p:nvSpPr>
          <p:cNvPr id="26" name="Picture Placeholder 3"/>
          <p:cNvSpPr>
            <a:spLocks noGrp="1"/>
          </p:cNvSpPr>
          <p:nvPr>
            <p:ph type="pic" sz="quarter" idx="19"/>
          </p:nvPr>
        </p:nvSpPr>
        <p:spPr>
          <a:xfrm>
            <a:off x="3045561" y="3047999"/>
            <a:ext cx="6100877" cy="3048000"/>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
        <p:nvSpPr>
          <p:cNvPr id="27" name="Picture Placeholder 3"/>
          <p:cNvSpPr>
            <a:spLocks noGrp="1"/>
          </p:cNvSpPr>
          <p:nvPr>
            <p:ph type="pic" sz="quarter" idx="20"/>
          </p:nvPr>
        </p:nvSpPr>
        <p:spPr>
          <a:xfrm>
            <a:off x="3045561" y="0"/>
            <a:ext cx="3052877" cy="3047161"/>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
        <p:nvSpPr>
          <p:cNvPr id="28" name="Picture Placeholder 3"/>
          <p:cNvSpPr>
            <a:spLocks noGrp="1"/>
          </p:cNvSpPr>
          <p:nvPr>
            <p:ph type="pic" sz="quarter" idx="21"/>
          </p:nvPr>
        </p:nvSpPr>
        <p:spPr>
          <a:xfrm>
            <a:off x="6087465" y="0"/>
            <a:ext cx="3052877" cy="3047161"/>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
        <p:nvSpPr>
          <p:cNvPr id="29" name="Picture Placeholder 3"/>
          <p:cNvSpPr>
            <a:spLocks noGrp="1"/>
          </p:cNvSpPr>
          <p:nvPr>
            <p:ph type="pic" sz="quarter" idx="22"/>
          </p:nvPr>
        </p:nvSpPr>
        <p:spPr>
          <a:xfrm>
            <a:off x="9139120" y="0"/>
            <a:ext cx="3052877" cy="3047161"/>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
        <p:nvSpPr>
          <p:cNvPr id="30" name="Picture Placeholder 3"/>
          <p:cNvSpPr>
            <a:spLocks noGrp="1"/>
          </p:cNvSpPr>
          <p:nvPr>
            <p:ph type="pic" sz="quarter" idx="23"/>
          </p:nvPr>
        </p:nvSpPr>
        <p:spPr>
          <a:xfrm>
            <a:off x="9139120" y="3048418"/>
            <a:ext cx="3052877" cy="3047161"/>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Tree>
    <p:extLst>
      <p:ext uri="{BB962C8B-B14F-4D97-AF65-F5344CB8AC3E}">
        <p14:creationId xmlns:p14="http://schemas.microsoft.com/office/powerpoint/2010/main" val="803452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8_Custom Layout">
    <p:spTree>
      <p:nvGrpSpPr>
        <p:cNvPr id="1" name=""/>
        <p:cNvGrpSpPr/>
        <p:nvPr/>
      </p:nvGrpSpPr>
      <p:grpSpPr>
        <a:xfrm>
          <a:off x="0" y="0"/>
          <a:ext cx="0" cy="0"/>
          <a:chOff x="0" y="0"/>
          <a:chExt cx="0" cy="0"/>
        </a:xfrm>
      </p:grpSpPr>
      <p:sp>
        <p:nvSpPr>
          <p:cNvPr id="6" name="Picture Placeholder 3"/>
          <p:cNvSpPr>
            <a:spLocks noGrp="1"/>
          </p:cNvSpPr>
          <p:nvPr>
            <p:ph type="pic" sz="quarter" idx="19"/>
          </p:nvPr>
        </p:nvSpPr>
        <p:spPr>
          <a:xfrm>
            <a:off x="0" y="0"/>
            <a:ext cx="12191999" cy="6858000"/>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Tree>
    <p:extLst>
      <p:ext uri="{BB962C8B-B14F-4D97-AF65-F5344CB8AC3E}">
        <p14:creationId xmlns:p14="http://schemas.microsoft.com/office/powerpoint/2010/main" val="21112579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203618D2-E5D1-2CB3-86AE-DA39807E2356}"/>
              </a:ext>
            </a:extLst>
          </p:cNvPr>
          <p:cNvSpPr>
            <a:spLocks noGrp="1"/>
          </p:cNvSpPr>
          <p:nvPr>
            <p:ph type="dt" sz="half" idx="10"/>
          </p:nvPr>
        </p:nvSpPr>
        <p:spPr/>
        <p:txBody>
          <a:bodyPr/>
          <a:lstStyle>
            <a:lvl1pPr>
              <a:defRPr/>
            </a:lvl1pPr>
          </a:lstStyle>
          <a:p>
            <a:pPr>
              <a:defRPr/>
            </a:pPr>
            <a:endParaRPr lang="en-US"/>
          </a:p>
        </p:txBody>
      </p:sp>
      <p:sp>
        <p:nvSpPr>
          <p:cNvPr id="3" name="Footer Placeholder 4">
            <a:extLst>
              <a:ext uri="{FF2B5EF4-FFF2-40B4-BE49-F238E27FC236}">
                <a16:creationId xmlns:a16="http://schemas.microsoft.com/office/drawing/2014/main" id="{6C07A2C4-4C37-08C4-7ED9-61DE79F629CC}"/>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3C6D14AA-3533-D03B-6AD8-185BD4319BD0}"/>
              </a:ext>
            </a:extLst>
          </p:cNvPr>
          <p:cNvSpPr>
            <a:spLocks noGrp="1"/>
          </p:cNvSpPr>
          <p:nvPr>
            <p:ph type="sldNum" sz="quarter" idx="12"/>
          </p:nvPr>
        </p:nvSpPr>
        <p:spPr/>
        <p:txBody>
          <a:bodyPr/>
          <a:lstStyle>
            <a:lvl1pPr>
              <a:defRPr/>
            </a:lvl1pPr>
          </a:lstStyle>
          <a:p>
            <a:pPr>
              <a:defRPr/>
            </a:pPr>
            <a:fld id="{41692D99-CC23-4C08-822B-8394A6288553}" type="slidenum">
              <a:rPr lang="en-US" altLang="tr-TR"/>
              <a:pPr>
                <a:defRPr/>
              </a:pPr>
              <a:t>‹#›</a:t>
            </a:fld>
            <a:endParaRPr lang="en-US" altLang="tr-TR"/>
          </a:p>
        </p:txBody>
      </p:sp>
    </p:spTree>
    <p:extLst>
      <p:ext uri="{BB962C8B-B14F-4D97-AF65-F5344CB8AC3E}">
        <p14:creationId xmlns:p14="http://schemas.microsoft.com/office/powerpoint/2010/main" val="22036300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tr-TR"/>
              <a:t>Asıl başlık stili için tıklatın</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a:t>Asıl metin stillerini düzenle</a:t>
            </a:r>
          </a:p>
          <a:p>
            <a:pPr lvl="1"/>
            <a:r>
              <a:rPr lang="tr-TR"/>
              <a:t>İkinci düzey</a:t>
            </a:r>
          </a:p>
          <a:p>
            <a:pPr lvl="2"/>
            <a:r>
              <a:rPr lang="tr-TR"/>
              <a:t>Üçüncü düzey</a:t>
            </a:r>
          </a:p>
          <a:p>
            <a:pPr lvl="3"/>
            <a:r>
              <a:rPr lang="tr-TR"/>
              <a:t>Dördüncü düzey</a:t>
            </a:r>
          </a:p>
          <a:p>
            <a:pPr lvl="4"/>
            <a:r>
              <a:rPr lang="tr-TR"/>
              <a:t>Beşinci düzey</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tr-TR"/>
              <a:t>Asıl metin stillerini düzenle</a:t>
            </a:r>
          </a:p>
        </p:txBody>
      </p:sp>
      <p:sp>
        <p:nvSpPr>
          <p:cNvPr id="5" name="Date Placeholder 3">
            <a:extLst>
              <a:ext uri="{FF2B5EF4-FFF2-40B4-BE49-F238E27FC236}">
                <a16:creationId xmlns:a16="http://schemas.microsoft.com/office/drawing/2014/main" id="{07680EEE-B312-6F9B-2D20-7E1507A289EA}"/>
              </a:ext>
            </a:extLst>
          </p:cNvPr>
          <p:cNvSpPr>
            <a:spLocks noGrp="1"/>
          </p:cNvSpPr>
          <p:nvPr>
            <p:ph type="dt" sz="half" idx="10"/>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id="{2FA9C75F-6AF0-57D7-2E00-B8FA2CBE920C}"/>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12083BA5-0BB5-0237-1FF5-C26BCF25C802}"/>
              </a:ext>
            </a:extLst>
          </p:cNvPr>
          <p:cNvSpPr>
            <a:spLocks noGrp="1"/>
          </p:cNvSpPr>
          <p:nvPr>
            <p:ph type="sldNum" sz="quarter" idx="12"/>
          </p:nvPr>
        </p:nvSpPr>
        <p:spPr/>
        <p:txBody>
          <a:bodyPr/>
          <a:lstStyle>
            <a:lvl1pPr>
              <a:defRPr/>
            </a:lvl1pPr>
          </a:lstStyle>
          <a:p>
            <a:pPr>
              <a:defRPr/>
            </a:pPr>
            <a:fld id="{6532A81F-0BEE-4D59-BE77-D19CAD31B5DE}" type="slidenum">
              <a:rPr lang="en-US" altLang="tr-TR"/>
              <a:pPr>
                <a:defRPr/>
              </a:pPr>
              <a:t>‹#›</a:t>
            </a:fld>
            <a:endParaRPr lang="en-US" altLang="tr-TR"/>
          </a:p>
        </p:txBody>
      </p:sp>
    </p:spTree>
    <p:extLst>
      <p:ext uri="{BB962C8B-B14F-4D97-AF65-F5344CB8AC3E}">
        <p14:creationId xmlns:p14="http://schemas.microsoft.com/office/powerpoint/2010/main" val="31464055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tr-TR"/>
              <a:t>Asıl başlık stili için tıklatın</a:t>
            </a:r>
            <a:endParaRPr lang="en-US"/>
          </a:p>
        </p:txBody>
      </p:sp>
      <p:sp>
        <p:nvSpPr>
          <p:cNvPr id="3" name="Picture Placeholder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tr-TR" noProof="0"/>
              <a:t>Resim eklemek için simgeyi tıklatın</a:t>
            </a:r>
            <a:endParaRPr lang="en-US"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tr-TR"/>
              <a:t>Asıl metin stillerini düzenle</a:t>
            </a:r>
          </a:p>
        </p:txBody>
      </p:sp>
      <p:sp>
        <p:nvSpPr>
          <p:cNvPr id="5" name="Date Placeholder 3">
            <a:extLst>
              <a:ext uri="{FF2B5EF4-FFF2-40B4-BE49-F238E27FC236}">
                <a16:creationId xmlns:a16="http://schemas.microsoft.com/office/drawing/2014/main" id="{105EF083-1843-F6F7-A028-58334403114A}"/>
              </a:ext>
            </a:extLst>
          </p:cNvPr>
          <p:cNvSpPr>
            <a:spLocks noGrp="1"/>
          </p:cNvSpPr>
          <p:nvPr>
            <p:ph type="dt" sz="half" idx="10"/>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id="{9D4581C3-F96A-0EDB-D178-F9FAB6F855C6}"/>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04775AA8-BD71-75A4-1B1D-1FD42D4377BA}"/>
              </a:ext>
            </a:extLst>
          </p:cNvPr>
          <p:cNvSpPr>
            <a:spLocks noGrp="1"/>
          </p:cNvSpPr>
          <p:nvPr>
            <p:ph type="sldNum" sz="quarter" idx="12"/>
          </p:nvPr>
        </p:nvSpPr>
        <p:spPr/>
        <p:txBody>
          <a:bodyPr/>
          <a:lstStyle>
            <a:lvl1pPr>
              <a:defRPr/>
            </a:lvl1pPr>
          </a:lstStyle>
          <a:p>
            <a:pPr>
              <a:defRPr/>
            </a:pPr>
            <a:fld id="{2EFE6299-5BC9-46DA-90A1-5382F9628D9B}" type="slidenum">
              <a:rPr lang="en-US" altLang="tr-TR"/>
              <a:pPr>
                <a:defRPr/>
              </a:pPr>
              <a:t>‹#›</a:t>
            </a:fld>
            <a:endParaRPr lang="en-US" altLang="tr-TR"/>
          </a:p>
        </p:txBody>
      </p:sp>
    </p:spTree>
    <p:extLst>
      <p:ext uri="{BB962C8B-B14F-4D97-AF65-F5344CB8AC3E}">
        <p14:creationId xmlns:p14="http://schemas.microsoft.com/office/powerpoint/2010/main" val="2026827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Başlık ve Dikey Meti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a:t>Asıl başlık stili için tıklatın</a:t>
            </a:r>
            <a:endParaRPr lang="en-US"/>
          </a:p>
        </p:txBody>
      </p:sp>
      <p:sp>
        <p:nvSpPr>
          <p:cNvPr id="3" name="Vertical Text Placeholder 2"/>
          <p:cNvSpPr>
            <a:spLocks noGrp="1"/>
          </p:cNvSpPr>
          <p:nvPr>
            <p:ph type="body" orient="vert" idx="1"/>
          </p:nvPr>
        </p:nvSpPr>
        <p:spPr/>
        <p:txBody>
          <a:bodyPr vert="eaVert"/>
          <a:lstStyle/>
          <a:p>
            <a:pPr lvl="0"/>
            <a:r>
              <a:rPr lang="tr-TR"/>
              <a:t>Asıl metin stillerini düzenle</a:t>
            </a:r>
          </a:p>
          <a:p>
            <a:pPr lvl="1"/>
            <a:r>
              <a:rPr lang="tr-TR"/>
              <a:t>İkinci düzey</a:t>
            </a:r>
          </a:p>
          <a:p>
            <a:pPr lvl="2"/>
            <a:r>
              <a:rPr lang="tr-TR"/>
              <a:t>Üçüncü düzey</a:t>
            </a:r>
          </a:p>
          <a:p>
            <a:pPr lvl="3"/>
            <a:r>
              <a:rPr lang="tr-TR"/>
              <a:t>Dördüncü düzey</a:t>
            </a:r>
          </a:p>
          <a:p>
            <a:pPr lvl="4"/>
            <a:r>
              <a:rPr lang="tr-TR"/>
              <a:t>Beşinci düzey</a:t>
            </a:r>
            <a:endParaRPr lang="en-US"/>
          </a:p>
        </p:txBody>
      </p:sp>
      <p:sp>
        <p:nvSpPr>
          <p:cNvPr id="4" name="Date Placeholder 3">
            <a:extLst>
              <a:ext uri="{FF2B5EF4-FFF2-40B4-BE49-F238E27FC236}">
                <a16:creationId xmlns:a16="http://schemas.microsoft.com/office/drawing/2014/main" id="{7539554C-9946-08A2-F9D7-E7ED05731663}"/>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A9B4DA33-A45D-3751-0A52-5DDBCBFFA15F}"/>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2644765C-B6B0-5D60-2938-C113C413203C}"/>
              </a:ext>
            </a:extLst>
          </p:cNvPr>
          <p:cNvSpPr>
            <a:spLocks noGrp="1"/>
          </p:cNvSpPr>
          <p:nvPr>
            <p:ph type="sldNum" sz="quarter" idx="12"/>
          </p:nvPr>
        </p:nvSpPr>
        <p:spPr/>
        <p:txBody>
          <a:bodyPr/>
          <a:lstStyle>
            <a:lvl1pPr>
              <a:defRPr/>
            </a:lvl1pPr>
          </a:lstStyle>
          <a:p>
            <a:pPr>
              <a:defRPr/>
            </a:pPr>
            <a:fld id="{5EF60529-564C-4426-A739-912C7C5DEBFE}" type="slidenum">
              <a:rPr lang="en-US" altLang="tr-TR"/>
              <a:pPr>
                <a:defRPr/>
              </a:pPr>
              <a:t>‹#›</a:t>
            </a:fld>
            <a:endParaRPr lang="en-US" altLang="tr-TR"/>
          </a:p>
        </p:txBody>
      </p:sp>
    </p:spTree>
    <p:extLst>
      <p:ext uri="{BB962C8B-B14F-4D97-AF65-F5344CB8AC3E}">
        <p14:creationId xmlns:p14="http://schemas.microsoft.com/office/powerpoint/2010/main" val="2131888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tr-TR"/>
              <a:t>Asıl başlık stili için tıklatın</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tr-TR"/>
              <a:t>Asıl metin stillerini düzenle</a:t>
            </a:r>
          </a:p>
          <a:p>
            <a:pPr lvl="1"/>
            <a:r>
              <a:rPr lang="tr-TR"/>
              <a:t>İkinci düzey</a:t>
            </a:r>
          </a:p>
          <a:p>
            <a:pPr lvl="2"/>
            <a:r>
              <a:rPr lang="tr-TR"/>
              <a:t>Üçüncü düzey</a:t>
            </a:r>
          </a:p>
          <a:p>
            <a:pPr lvl="3"/>
            <a:r>
              <a:rPr lang="tr-TR"/>
              <a:t>Dördüncü düzey</a:t>
            </a:r>
          </a:p>
          <a:p>
            <a:pPr lvl="4"/>
            <a:r>
              <a:rPr lang="tr-TR"/>
              <a:t>Beşinci düzey</a:t>
            </a:r>
            <a:endParaRPr lang="en-US"/>
          </a:p>
        </p:txBody>
      </p:sp>
      <p:sp>
        <p:nvSpPr>
          <p:cNvPr id="4" name="Date Placeholder 3">
            <a:extLst>
              <a:ext uri="{FF2B5EF4-FFF2-40B4-BE49-F238E27FC236}">
                <a16:creationId xmlns:a16="http://schemas.microsoft.com/office/drawing/2014/main" id="{8CE7F178-ABBD-C8F9-54EE-285AAB96E974}"/>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63388A24-8879-AC62-7984-7985C5673230}"/>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FCF9AC54-95A4-92E7-BB11-A00FEEA80E50}"/>
              </a:ext>
            </a:extLst>
          </p:cNvPr>
          <p:cNvSpPr>
            <a:spLocks noGrp="1"/>
          </p:cNvSpPr>
          <p:nvPr>
            <p:ph type="sldNum" sz="quarter" idx="12"/>
          </p:nvPr>
        </p:nvSpPr>
        <p:spPr/>
        <p:txBody>
          <a:bodyPr/>
          <a:lstStyle>
            <a:lvl1pPr>
              <a:defRPr/>
            </a:lvl1pPr>
          </a:lstStyle>
          <a:p>
            <a:pPr>
              <a:defRPr/>
            </a:pPr>
            <a:fld id="{0DAD7A4B-1DD2-45CE-892B-733F94F927C3}" type="slidenum">
              <a:rPr lang="en-US" altLang="tr-TR"/>
              <a:pPr>
                <a:defRPr/>
              </a:pPr>
              <a:t>‹#›</a:t>
            </a:fld>
            <a:endParaRPr lang="en-US" altLang="tr-TR"/>
          </a:p>
        </p:txBody>
      </p:sp>
    </p:spTree>
    <p:extLst>
      <p:ext uri="{BB962C8B-B14F-4D97-AF65-F5344CB8AC3E}">
        <p14:creationId xmlns:p14="http://schemas.microsoft.com/office/powerpoint/2010/main" val="42339010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Picture Placeholder 6"/>
          <p:cNvSpPr>
            <a:spLocks noGrp="1"/>
          </p:cNvSpPr>
          <p:nvPr>
            <p:ph type="pic" sz="quarter" idx="10"/>
          </p:nvPr>
        </p:nvSpPr>
        <p:spPr>
          <a:xfrm>
            <a:off x="0" y="0"/>
            <a:ext cx="12192000" cy="6858000"/>
          </a:xfrm>
        </p:spPr>
        <p:txBody>
          <a:bodyPr rtlCol="0">
            <a:normAutofit/>
          </a:bodyPr>
          <a:lstStyle/>
          <a:p>
            <a:pPr lvl="0"/>
            <a:r>
              <a:rPr lang="tr-TR" noProof="0"/>
              <a:t>Resim eklemek için simgeyi tıklatın</a:t>
            </a:r>
            <a:endParaRPr lang="id-ID" noProof="0"/>
          </a:p>
        </p:txBody>
      </p:sp>
    </p:spTree>
    <p:extLst>
      <p:ext uri="{BB962C8B-B14F-4D97-AF65-F5344CB8AC3E}">
        <p14:creationId xmlns:p14="http://schemas.microsoft.com/office/powerpoint/2010/main" val="32892897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15557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tr-TR"/>
              <a:t>Asıl başlık stili için tıklatın</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tr-TR"/>
              <a:t>Asıl metin stillerini düzenle</a:t>
            </a:r>
          </a:p>
        </p:txBody>
      </p:sp>
      <p:sp>
        <p:nvSpPr>
          <p:cNvPr id="4" name="Date Placeholder 3">
            <a:extLst>
              <a:ext uri="{FF2B5EF4-FFF2-40B4-BE49-F238E27FC236}">
                <a16:creationId xmlns:a16="http://schemas.microsoft.com/office/drawing/2014/main" id="{01F788E6-2813-51E5-391C-1E774377D90D}"/>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55C8B4F4-39EF-2C52-021E-27941B0BEEF8}"/>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88EC8428-BC47-8B95-D418-8B6DC1C3DA6A}"/>
              </a:ext>
            </a:extLst>
          </p:cNvPr>
          <p:cNvSpPr>
            <a:spLocks noGrp="1"/>
          </p:cNvSpPr>
          <p:nvPr>
            <p:ph type="sldNum" sz="quarter" idx="12"/>
          </p:nvPr>
        </p:nvSpPr>
        <p:spPr/>
        <p:txBody>
          <a:bodyPr/>
          <a:lstStyle>
            <a:lvl1pPr>
              <a:defRPr/>
            </a:lvl1pPr>
          </a:lstStyle>
          <a:p>
            <a:pPr>
              <a:defRPr/>
            </a:pPr>
            <a:fld id="{90D0CA8E-4E0A-44E0-91A0-6158BC4EEF49}" type="slidenum">
              <a:rPr lang="en-US" altLang="tr-TR"/>
              <a:pPr>
                <a:defRPr/>
              </a:pPr>
              <a:t>‹#›</a:t>
            </a:fld>
            <a:endParaRPr lang="en-US" altLang="tr-TR"/>
          </a:p>
        </p:txBody>
      </p:sp>
    </p:spTree>
    <p:extLst>
      <p:ext uri="{BB962C8B-B14F-4D97-AF65-F5344CB8AC3E}">
        <p14:creationId xmlns:p14="http://schemas.microsoft.com/office/powerpoint/2010/main" val="964852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a:t>Asıl başlık stili için tıklatın</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tr-TR"/>
              <a:t>Asıl metin stillerini düzenle</a:t>
            </a:r>
          </a:p>
          <a:p>
            <a:pPr lvl="1"/>
            <a:r>
              <a:rPr lang="tr-TR"/>
              <a:t>İkinci düzey</a:t>
            </a:r>
          </a:p>
          <a:p>
            <a:pPr lvl="2"/>
            <a:r>
              <a:rPr lang="tr-TR"/>
              <a:t>Üçüncü düzey</a:t>
            </a:r>
          </a:p>
          <a:p>
            <a:pPr lvl="3"/>
            <a:r>
              <a:rPr lang="tr-TR"/>
              <a:t>Dördüncü düzey</a:t>
            </a:r>
          </a:p>
          <a:p>
            <a:pPr lvl="4"/>
            <a:r>
              <a:rPr lang="tr-TR"/>
              <a:t>Beşinci düzey</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tr-TR"/>
              <a:t>Asıl metin stillerini düzenle</a:t>
            </a:r>
          </a:p>
          <a:p>
            <a:pPr lvl="1"/>
            <a:r>
              <a:rPr lang="tr-TR"/>
              <a:t>İkinci düzey</a:t>
            </a:r>
          </a:p>
          <a:p>
            <a:pPr lvl="2"/>
            <a:r>
              <a:rPr lang="tr-TR"/>
              <a:t>Üçüncü düzey</a:t>
            </a:r>
          </a:p>
          <a:p>
            <a:pPr lvl="3"/>
            <a:r>
              <a:rPr lang="tr-TR"/>
              <a:t>Dördüncü düzey</a:t>
            </a:r>
          </a:p>
          <a:p>
            <a:pPr lvl="4"/>
            <a:r>
              <a:rPr lang="tr-TR"/>
              <a:t>Beşinci düzey</a:t>
            </a:r>
            <a:endParaRPr lang="en-US"/>
          </a:p>
        </p:txBody>
      </p:sp>
      <p:sp>
        <p:nvSpPr>
          <p:cNvPr id="5" name="Date Placeholder 3">
            <a:extLst>
              <a:ext uri="{FF2B5EF4-FFF2-40B4-BE49-F238E27FC236}">
                <a16:creationId xmlns:a16="http://schemas.microsoft.com/office/drawing/2014/main" id="{D6A7600C-2149-D08F-4A60-447C7329C6F0}"/>
              </a:ext>
            </a:extLst>
          </p:cNvPr>
          <p:cNvSpPr>
            <a:spLocks noGrp="1"/>
          </p:cNvSpPr>
          <p:nvPr>
            <p:ph type="dt" sz="half" idx="10"/>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id="{BF3F55DF-506C-1D7A-63F3-A22527218284}"/>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93EB9FFD-A0A3-ABF3-D2E8-1194D61E231D}"/>
              </a:ext>
            </a:extLst>
          </p:cNvPr>
          <p:cNvSpPr>
            <a:spLocks noGrp="1"/>
          </p:cNvSpPr>
          <p:nvPr>
            <p:ph type="sldNum" sz="quarter" idx="12"/>
          </p:nvPr>
        </p:nvSpPr>
        <p:spPr/>
        <p:txBody>
          <a:bodyPr/>
          <a:lstStyle>
            <a:lvl1pPr>
              <a:defRPr/>
            </a:lvl1pPr>
          </a:lstStyle>
          <a:p>
            <a:pPr>
              <a:defRPr/>
            </a:pPr>
            <a:fld id="{D5683AF4-EEE5-454B-B28F-A99F3003A8A2}" type="slidenum">
              <a:rPr lang="en-US" altLang="tr-TR"/>
              <a:pPr>
                <a:defRPr/>
              </a:pPr>
              <a:t>‹#›</a:t>
            </a:fld>
            <a:endParaRPr lang="en-US" altLang="tr-TR"/>
          </a:p>
        </p:txBody>
      </p:sp>
    </p:spTree>
    <p:extLst>
      <p:ext uri="{BB962C8B-B14F-4D97-AF65-F5344CB8AC3E}">
        <p14:creationId xmlns:p14="http://schemas.microsoft.com/office/powerpoint/2010/main" val="16464238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tr-TR"/>
              <a:t>Asıl başlık stili için tıklatın</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a:t>Asıl metin stillerini düzenle</a:t>
            </a:r>
          </a:p>
        </p:txBody>
      </p:sp>
      <p:sp>
        <p:nvSpPr>
          <p:cNvPr id="4" name="Content Placeholder 3"/>
          <p:cNvSpPr>
            <a:spLocks noGrp="1"/>
          </p:cNvSpPr>
          <p:nvPr>
            <p:ph sz="half" idx="2"/>
          </p:nvPr>
        </p:nvSpPr>
        <p:spPr>
          <a:xfrm>
            <a:off x="839788" y="2505075"/>
            <a:ext cx="5157787" cy="3684588"/>
          </a:xfrm>
        </p:spPr>
        <p:txBody>
          <a:bodyPr/>
          <a:lstStyle/>
          <a:p>
            <a:pPr lvl="0"/>
            <a:r>
              <a:rPr lang="tr-TR"/>
              <a:t>Asıl metin stillerini düzenle</a:t>
            </a:r>
          </a:p>
          <a:p>
            <a:pPr lvl="1"/>
            <a:r>
              <a:rPr lang="tr-TR"/>
              <a:t>İkinci düzey</a:t>
            </a:r>
          </a:p>
          <a:p>
            <a:pPr lvl="2"/>
            <a:r>
              <a:rPr lang="tr-TR"/>
              <a:t>Üçüncü düzey</a:t>
            </a:r>
          </a:p>
          <a:p>
            <a:pPr lvl="3"/>
            <a:r>
              <a:rPr lang="tr-TR"/>
              <a:t>Dördüncü düzey</a:t>
            </a:r>
          </a:p>
          <a:p>
            <a:pPr lvl="4"/>
            <a:r>
              <a:rPr lang="tr-TR"/>
              <a:t>Beşinci düzey</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a:t>Asıl metin stillerini düzenle</a:t>
            </a:r>
          </a:p>
        </p:txBody>
      </p:sp>
      <p:sp>
        <p:nvSpPr>
          <p:cNvPr id="6" name="Content Placeholder 5"/>
          <p:cNvSpPr>
            <a:spLocks noGrp="1"/>
          </p:cNvSpPr>
          <p:nvPr>
            <p:ph sz="quarter" idx="4"/>
          </p:nvPr>
        </p:nvSpPr>
        <p:spPr>
          <a:xfrm>
            <a:off x="6172200" y="2505075"/>
            <a:ext cx="5183188" cy="3684588"/>
          </a:xfrm>
        </p:spPr>
        <p:txBody>
          <a:bodyPr/>
          <a:lstStyle/>
          <a:p>
            <a:pPr lvl="0"/>
            <a:r>
              <a:rPr lang="tr-TR"/>
              <a:t>Asıl metin stillerini düzenle</a:t>
            </a:r>
          </a:p>
          <a:p>
            <a:pPr lvl="1"/>
            <a:r>
              <a:rPr lang="tr-TR"/>
              <a:t>İkinci düzey</a:t>
            </a:r>
          </a:p>
          <a:p>
            <a:pPr lvl="2"/>
            <a:r>
              <a:rPr lang="tr-TR"/>
              <a:t>Üçüncü düzey</a:t>
            </a:r>
          </a:p>
          <a:p>
            <a:pPr lvl="3"/>
            <a:r>
              <a:rPr lang="tr-TR"/>
              <a:t>Dördüncü düzey</a:t>
            </a:r>
          </a:p>
          <a:p>
            <a:pPr lvl="4"/>
            <a:r>
              <a:rPr lang="tr-TR"/>
              <a:t>Beşinci düzey</a:t>
            </a:r>
            <a:endParaRPr lang="en-US"/>
          </a:p>
        </p:txBody>
      </p:sp>
      <p:sp>
        <p:nvSpPr>
          <p:cNvPr id="7" name="Date Placeholder 3">
            <a:extLst>
              <a:ext uri="{FF2B5EF4-FFF2-40B4-BE49-F238E27FC236}">
                <a16:creationId xmlns:a16="http://schemas.microsoft.com/office/drawing/2014/main" id="{5874A0E7-9BBC-B906-4A19-8B7233D0B135}"/>
              </a:ext>
            </a:extLst>
          </p:cNvPr>
          <p:cNvSpPr>
            <a:spLocks noGrp="1"/>
          </p:cNvSpPr>
          <p:nvPr>
            <p:ph type="dt" sz="half" idx="10"/>
          </p:nvPr>
        </p:nvSpPr>
        <p:spPr/>
        <p:txBody>
          <a:bodyPr/>
          <a:lstStyle>
            <a:lvl1pPr>
              <a:defRPr/>
            </a:lvl1pPr>
          </a:lstStyle>
          <a:p>
            <a:pPr>
              <a:defRPr/>
            </a:pPr>
            <a:endParaRPr lang="en-US"/>
          </a:p>
        </p:txBody>
      </p:sp>
      <p:sp>
        <p:nvSpPr>
          <p:cNvPr id="8" name="Footer Placeholder 4">
            <a:extLst>
              <a:ext uri="{FF2B5EF4-FFF2-40B4-BE49-F238E27FC236}">
                <a16:creationId xmlns:a16="http://schemas.microsoft.com/office/drawing/2014/main" id="{20DBD9E2-C785-1BF5-C1C5-8F2AF4ED8A8F}"/>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82320751-7F58-5C4D-15C7-425F2E9F8498}"/>
              </a:ext>
            </a:extLst>
          </p:cNvPr>
          <p:cNvSpPr>
            <a:spLocks noGrp="1"/>
          </p:cNvSpPr>
          <p:nvPr>
            <p:ph type="sldNum" sz="quarter" idx="12"/>
          </p:nvPr>
        </p:nvSpPr>
        <p:spPr/>
        <p:txBody>
          <a:bodyPr/>
          <a:lstStyle>
            <a:lvl1pPr>
              <a:defRPr/>
            </a:lvl1pPr>
          </a:lstStyle>
          <a:p>
            <a:pPr>
              <a:defRPr/>
            </a:pPr>
            <a:fld id="{42B09379-9246-4B09-A89B-C5CCBE215A07}" type="slidenum">
              <a:rPr lang="en-US" altLang="tr-TR"/>
              <a:pPr>
                <a:defRPr/>
              </a:pPr>
              <a:t>‹#›</a:t>
            </a:fld>
            <a:endParaRPr lang="en-US" altLang="tr-TR"/>
          </a:p>
        </p:txBody>
      </p:sp>
    </p:spTree>
    <p:extLst>
      <p:ext uri="{BB962C8B-B14F-4D97-AF65-F5344CB8AC3E}">
        <p14:creationId xmlns:p14="http://schemas.microsoft.com/office/powerpoint/2010/main" val="29454103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ull">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88677C8-FD0E-A0D4-D1D3-FA4B52EE74E9}"/>
              </a:ext>
            </a:extLst>
          </p:cNvPr>
          <p:cNvSpPr/>
          <p:nvPr/>
        </p:nvSpPr>
        <p:spPr>
          <a:xfrm>
            <a:off x="11350625" y="6361113"/>
            <a:ext cx="344488" cy="344487"/>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2"/>
              </a:solidFill>
            </a:endParaRPr>
          </a:p>
        </p:txBody>
      </p:sp>
      <p:grpSp>
        <p:nvGrpSpPr>
          <p:cNvPr id="3" name="Group 4">
            <a:extLst>
              <a:ext uri="{FF2B5EF4-FFF2-40B4-BE49-F238E27FC236}">
                <a16:creationId xmlns:a16="http://schemas.microsoft.com/office/drawing/2014/main" id="{C6613479-3F57-E13E-5E82-D45C5C1809D1}"/>
              </a:ext>
            </a:extLst>
          </p:cNvPr>
          <p:cNvGrpSpPr>
            <a:grpSpLocks noChangeAspect="1"/>
          </p:cNvGrpSpPr>
          <p:nvPr/>
        </p:nvGrpSpPr>
        <p:grpSpPr bwMode="auto">
          <a:xfrm>
            <a:off x="527050" y="6389688"/>
            <a:ext cx="1039813" cy="284162"/>
            <a:chOff x="297" y="1187"/>
            <a:chExt cx="7085" cy="1944"/>
          </a:xfrm>
        </p:grpSpPr>
        <p:sp>
          <p:nvSpPr>
            <p:cNvPr id="4" name="Freeform 6">
              <a:extLst>
                <a:ext uri="{FF2B5EF4-FFF2-40B4-BE49-F238E27FC236}">
                  <a16:creationId xmlns:a16="http://schemas.microsoft.com/office/drawing/2014/main" id="{5626F9E1-12BA-7E80-6F46-00CDAA6B5FB1}"/>
                </a:ext>
              </a:extLst>
            </p:cNvPr>
            <p:cNvSpPr>
              <a:spLocks noEditPoints="1"/>
            </p:cNvSpPr>
            <p:nvPr userDrawn="1"/>
          </p:nvSpPr>
          <p:spPr bwMode="auto">
            <a:xfrm>
              <a:off x="297" y="1189"/>
              <a:ext cx="1266" cy="1105"/>
            </a:xfrm>
            <a:custGeom>
              <a:avLst/>
              <a:gdLst>
                <a:gd name="T0" fmla="*/ 592814223 w 535"/>
                <a:gd name="T1" fmla="*/ 490470457 h 466"/>
                <a:gd name="T2" fmla="*/ 475447313 w 535"/>
                <a:gd name="T3" fmla="*/ 198813566 h 466"/>
                <a:gd name="T4" fmla="*/ 254086917 w 535"/>
                <a:gd name="T5" fmla="*/ 767261907 h 466"/>
                <a:gd name="T6" fmla="*/ 205935911 w 535"/>
                <a:gd name="T7" fmla="*/ 898255873 h 466"/>
                <a:gd name="T8" fmla="*/ 135177273 w 535"/>
                <a:gd name="T9" fmla="*/ 1082812292 h 466"/>
                <a:gd name="T10" fmla="*/ 135177273 w 535"/>
                <a:gd name="T11" fmla="*/ 1079972834 h 466"/>
                <a:gd name="T12" fmla="*/ 102568007 w 535"/>
                <a:gd name="T13" fmla="*/ 1104057219 h 466"/>
                <a:gd name="T14" fmla="*/ 25381052 w 535"/>
                <a:gd name="T15" fmla="*/ 1104057219 h 466"/>
                <a:gd name="T16" fmla="*/ 0 w 535"/>
                <a:gd name="T17" fmla="*/ 1087116478 h 466"/>
                <a:gd name="T18" fmla="*/ 2031267 w 535"/>
                <a:gd name="T19" fmla="*/ 1078264271 h 466"/>
                <a:gd name="T20" fmla="*/ 4806699 w 535"/>
                <a:gd name="T21" fmla="*/ 1068152912 h 466"/>
                <a:gd name="T22" fmla="*/ 423281075 w 535"/>
                <a:gd name="T23" fmla="*/ 19018883 h 466"/>
                <a:gd name="T24" fmla="*/ 425157884 w 535"/>
                <a:gd name="T25" fmla="*/ 16871626 h 466"/>
                <a:gd name="T26" fmla="*/ 423281075 w 535"/>
                <a:gd name="T27" fmla="*/ 19018883 h 466"/>
                <a:gd name="T28" fmla="*/ 430186005 w 535"/>
                <a:gd name="T29" fmla="*/ 7115093 h 466"/>
                <a:gd name="T30" fmla="*/ 453467932 w 535"/>
                <a:gd name="T31" fmla="*/ 0 h 466"/>
                <a:gd name="T32" fmla="*/ 500809590 w 535"/>
                <a:gd name="T33" fmla="*/ 0 h 466"/>
                <a:gd name="T34" fmla="*/ 522062318 w 535"/>
                <a:gd name="T35" fmla="*/ 7115093 h 466"/>
                <a:gd name="T36" fmla="*/ 528624526 w 535"/>
                <a:gd name="T37" fmla="*/ 19018883 h 466"/>
                <a:gd name="T38" fmla="*/ 530657417 w 535"/>
                <a:gd name="T39" fmla="*/ 19018883 h 466"/>
                <a:gd name="T40" fmla="*/ 532753721 w 535"/>
                <a:gd name="T41" fmla="*/ 23986629 h 466"/>
                <a:gd name="T42" fmla="*/ 530657417 w 535"/>
                <a:gd name="T43" fmla="*/ 21137875 h 466"/>
                <a:gd name="T44" fmla="*/ 656507488 w 535"/>
                <a:gd name="T45" fmla="*/ 336755356 h 466"/>
                <a:gd name="T46" fmla="*/ 592814223 w 535"/>
                <a:gd name="T47" fmla="*/ 490470457 h 466"/>
                <a:gd name="T48" fmla="*/ 1063415281 w 535"/>
                <a:gd name="T49" fmla="*/ 1007003229 h 466"/>
                <a:gd name="T50" fmla="*/ 1020096784 w 535"/>
                <a:gd name="T51" fmla="*/ 898255873 h 466"/>
                <a:gd name="T52" fmla="*/ 862287051 w 535"/>
                <a:gd name="T53" fmla="*/ 490470457 h 466"/>
                <a:gd name="T54" fmla="*/ 745075518 w 535"/>
                <a:gd name="T55" fmla="*/ 198813566 h 466"/>
                <a:gd name="T56" fmla="*/ 524093625 w 535"/>
                <a:gd name="T57" fmla="*/ 767261907 h 466"/>
                <a:gd name="T58" fmla="*/ 473909525 w 535"/>
                <a:gd name="T59" fmla="*/ 898255873 h 466"/>
                <a:gd name="T60" fmla="*/ 405184384 w 535"/>
                <a:gd name="T61" fmla="*/ 1082812292 h 466"/>
                <a:gd name="T62" fmla="*/ 405184384 w 535"/>
                <a:gd name="T63" fmla="*/ 1079972834 h 466"/>
                <a:gd name="T64" fmla="*/ 372851835 w 535"/>
                <a:gd name="T65" fmla="*/ 1104057219 h 466"/>
                <a:gd name="T66" fmla="*/ 295029932 w 535"/>
                <a:gd name="T67" fmla="*/ 1104057219 h 466"/>
                <a:gd name="T68" fmla="*/ 269628205 w 535"/>
                <a:gd name="T69" fmla="*/ 1087116478 h 466"/>
                <a:gd name="T70" fmla="*/ 272403609 w 535"/>
                <a:gd name="T71" fmla="*/ 1078264271 h 466"/>
                <a:gd name="T72" fmla="*/ 274527635 w 535"/>
                <a:gd name="T73" fmla="*/ 1068152912 h 466"/>
                <a:gd name="T74" fmla="*/ 693246507 w 535"/>
                <a:gd name="T75" fmla="*/ 19018883 h 466"/>
                <a:gd name="T76" fmla="*/ 694891188 w 535"/>
                <a:gd name="T77" fmla="*/ 16871626 h 466"/>
                <a:gd name="T78" fmla="*/ 693246507 w 535"/>
                <a:gd name="T79" fmla="*/ 19018883 h 466"/>
                <a:gd name="T80" fmla="*/ 699814170 w 535"/>
                <a:gd name="T81" fmla="*/ 7115093 h 466"/>
                <a:gd name="T82" fmla="*/ 722963600 w 535"/>
                <a:gd name="T83" fmla="*/ 0 h 466"/>
                <a:gd name="T84" fmla="*/ 770453496 w 535"/>
                <a:gd name="T85" fmla="*/ 0 h 466"/>
                <a:gd name="T86" fmla="*/ 791690909 w 535"/>
                <a:gd name="T87" fmla="*/ 7115093 h 466"/>
                <a:gd name="T88" fmla="*/ 798593889 w 535"/>
                <a:gd name="T89" fmla="*/ 19018883 h 466"/>
                <a:gd name="T90" fmla="*/ 800282813 w 535"/>
                <a:gd name="T91" fmla="*/ 19018883 h 466"/>
                <a:gd name="T92" fmla="*/ 800282813 w 535"/>
                <a:gd name="T93" fmla="*/ 23986629 h 466"/>
                <a:gd name="T94" fmla="*/ 800282813 w 535"/>
                <a:gd name="T95" fmla="*/ 21137875 h 466"/>
                <a:gd name="T96" fmla="*/ 1221874959 w 535"/>
                <a:gd name="T97" fmla="*/ 1068152912 h 466"/>
                <a:gd name="T98" fmla="*/ 1223907795 w 535"/>
                <a:gd name="T99" fmla="*/ 1073239556 h 466"/>
                <a:gd name="T100" fmla="*/ 1223907795 w 535"/>
                <a:gd name="T101" fmla="*/ 1087116478 h 466"/>
                <a:gd name="T102" fmla="*/ 1198604492 w 535"/>
                <a:gd name="T103" fmla="*/ 1104057219 h 466"/>
                <a:gd name="T104" fmla="*/ 1123315401 w 535"/>
                <a:gd name="T105" fmla="*/ 1104057219 h 466"/>
                <a:gd name="T106" fmla="*/ 1091504023 w 535"/>
                <a:gd name="T107" fmla="*/ 1082812292 h 466"/>
                <a:gd name="T108" fmla="*/ 1063415281 w 535"/>
                <a:gd name="T109" fmla="*/ 1007003229 h 4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35" h="466">
                  <a:moveTo>
                    <a:pt x="259" y="207"/>
                  </a:moveTo>
                  <a:cubicBezTo>
                    <a:pt x="208" y="84"/>
                    <a:pt x="208" y="84"/>
                    <a:pt x="208" y="84"/>
                  </a:cubicBezTo>
                  <a:cubicBezTo>
                    <a:pt x="111" y="324"/>
                    <a:pt x="111" y="324"/>
                    <a:pt x="111" y="324"/>
                  </a:cubicBezTo>
                  <a:cubicBezTo>
                    <a:pt x="90" y="379"/>
                    <a:pt x="90" y="379"/>
                    <a:pt x="90" y="379"/>
                  </a:cubicBezTo>
                  <a:cubicBezTo>
                    <a:pt x="59" y="457"/>
                    <a:pt x="59" y="457"/>
                    <a:pt x="59" y="457"/>
                  </a:cubicBezTo>
                  <a:cubicBezTo>
                    <a:pt x="59" y="456"/>
                    <a:pt x="59" y="456"/>
                    <a:pt x="59" y="456"/>
                  </a:cubicBezTo>
                  <a:cubicBezTo>
                    <a:pt x="56" y="462"/>
                    <a:pt x="51" y="466"/>
                    <a:pt x="45" y="466"/>
                  </a:cubicBezTo>
                  <a:cubicBezTo>
                    <a:pt x="11" y="466"/>
                    <a:pt x="11" y="466"/>
                    <a:pt x="11" y="466"/>
                  </a:cubicBezTo>
                  <a:cubicBezTo>
                    <a:pt x="4" y="466"/>
                    <a:pt x="0" y="464"/>
                    <a:pt x="0" y="459"/>
                  </a:cubicBezTo>
                  <a:cubicBezTo>
                    <a:pt x="0" y="458"/>
                    <a:pt x="0" y="457"/>
                    <a:pt x="1" y="455"/>
                  </a:cubicBezTo>
                  <a:cubicBezTo>
                    <a:pt x="2" y="451"/>
                    <a:pt x="2" y="451"/>
                    <a:pt x="2" y="451"/>
                  </a:cubicBezTo>
                  <a:cubicBezTo>
                    <a:pt x="185" y="8"/>
                    <a:pt x="185" y="8"/>
                    <a:pt x="185" y="8"/>
                  </a:cubicBezTo>
                  <a:cubicBezTo>
                    <a:pt x="185" y="8"/>
                    <a:pt x="185" y="7"/>
                    <a:pt x="186" y="7"/>
                  </a:cubicBezTo>
                  <a:cubicBezTo>
                    <a:pt x="185" y="8"/>
                    <a:pt x="185" y="8"/>
                    <a:pt x="185" y="8"/>
                  </a:cubicBezTo>
                  <a:cubicBezTo>
                    <a:pt x="188" y="3"/>
                    <a:pt x="188" y="3"/>
                    <a:pt x="188" y="3"/>
                  </a:cubicBezTo>
                  <a:cubicBezTo>
                    <a:pt x="190" y="1"/>
                    <a:pt x="193" y="0"/>
                    <a:pt x="198" y="0"/>
                  </a:cubicBezTo>
                  <a:cubicBezTo>
                    <a:pt x="219" y="0"/>
                    <a:pt x="219" y="0"/>
                    <a:pt x="219" y="0"/>
                  </a:cubicBezTo>
                  <a:cubicBezTo>
                    <a:pt x="224" y="0"/>
                    <a:pt x="227" y="1"/>
                    <a:pt x="228" y="3"/>
                  </a:cubicBezTo>
                  <a:cubicBezTo>
                    <a:pt x="231" y="8"/>
                    <a:pt x="231" y="8"/>
                    <a:pt x="231" y="8"/>
                  </a:cubicBezTo>
                  <a:cubicBezTo>
                    <a:pt x="231" y="8"/>
                    <a:pt x="231" y="8"/>
                    <a:pt x="232" y="8"/>
                  </a:cubicBezTo>
                  <a:cubicBezTo>
                    <a:pt x="233" y="10"/>
                    <a:pt x="233" y="10"/>
                    <a:pt x="233" y="10"/>
                  </a:cubicBezTo>
                  <a:cubicBezTo>
                    <a:pt x="232" y="9"/>
                    <a:pt x="232" y="9"/>
                    <a:pt x="232" y="9"/>
                  </a:cubicBezTo>
                  <a:cubicBezTo>
                    <a:pt x="287" y="142"/>
                    <a:pt x="287" y="142"/>
                    <a:pt x="287" y="142"/>
                  </a:cubicBezTo>
                  <a:lnTo>
                    <a:pt x="259" y="207"/>
                  </a:lnTo>
                  <a:close/>
                  <a:moveTo>
                    <a:pt x="465" y="425"/>
                  </a:moveTo>
                  <a:cubicBezTo>
                    <a:pt x="446" y="379"/>
                    <a:pt x="446" y="379"/>
                    <a:pt x="446" y="379"/>
                  </a:cubicBezTo>
                  <a:cubicBezTo>
                    <a:pt x="377" y="207"/>
                    <a:pt x="377" y="207"/>
                    <a:pt x="377" y="207"/>
                  </a:cubicBezTo>
                  <a:cubicBezTo>
                    <a:pt x="326" y="84"/>
                    <a:pt x="326" y="84"/>
                    <a:pt x="326" y="84"/>
                  </a:cubicBezTo>
                  <a:cubicBezTo>
                    <a:pt x="229" y="324"/>
                    <a:pt x="229" y="324"/>
                    <a:pt x="229" y="324"/>
                  </a:cubicBezTo>
                  <a:cubicBezTo>
                    <a:pt x="207" y="379"/>
                    <a:pt x="207" y="379"/>
                    <a:pt x="207" y="379"/>
                  </a:cubicBezTo>
                  <a:cubicBezTo>
                    <a:pt x="177" y="457"/>
                    <a:pt x="177" y="457"/>
                    <a:pt x="177" y="457"/>
                  </a:cubicBezTo>
                  <a:cubicBezTo>
                    <a:pt x="177" y="456"/>
                    <a:pt x="177" y="456"/>
                    <a:pt x="177" y="456"/>
                  </a:cubicBezTo>
                  <a:cubicBezTo>
                    <a:pt x="174" y="462"/>
                    <a:pt x="169" y="466"/>
                    <a:pt x="163" y="466"/>
                  </a:cubicBezTo>
                  <a:cubicBezTo>
                    <a:pt x="129" y="466"/>
                    <a:pt x="129" y="466"/>
                    <a:pt x="129" y="466"/>
                  </a:cubicBezTo>
                  <a:cubicBezTo>
                    <a:pt x="122" y="466"/>
                    <a:pt x="118" y="464"/>
                    <a:pt x="118" y="459"/>
                  </a:cubicBezTo>
                  <a:cubicBezTo>
                    <a:pt x="118" y="458"/>
                    <a:pt x="118" y="457"/>
                    <a:pt x="119" y="455"/>
                  </a:cubicBezTo>
                  <a:cubicBezTo>
                    <a:pt x="120" y="451"/>
                    <a:pt x="120" y="451"/>
                    <a:pt x="120" y="451"/>
                  </a:cubicBezTo>
                  <a:cubicBezTo>
                    <a:pt x="303" y="8"/>
                    <a:pt x="303" y="8"/>
                    <a:pt x="303" y="8"/>
                  </a:cubicBezTo>
                  <a:cubicBezTo>
                    <a:pt x="303" y="8"/>
                    <a:pt x="303" y="7"/>
                    <a:pt x="304" y="7"/>
                  </a:cubicBezTo>
                  <a:cubicBezTo>
                    <a:pt x="303" y="8"/>
                    <a:pt x="303" y="8"/>
                    <a:pt x="303" y="8"/>
                  </a:cubicBezTo>
                  <a:cubicBezTo>
                    <a:pt x="306" y="3"/>
                    <a:pt x="306" y="3"/>
                    <a:pt x="306" y="3"/>
                  </a:cubicBezTo>
                  <a:cubicBezTo>
                    <a:pt x="308" y="1"/>
                    <a:pt x="311" y="0"/>
                    <a:pt x="316" y="0"/>
                  </a:cubicBezTo>
                  <a:cubicBezTo>
                    <a:pt x="337" y="0"/>
                    <a:pt x="337" y="0"/>
                    <a:pt x="337" y="0"/>
                  </a:cubicBezTo>
                  <a:cubicBezTo>
                    <a:pt x="342" y="0"/>
                    <a:pt x="344" y="1"/>
                    <a:pt x="346" y="3"/>
                  </a:cubicBezTo>
                  <a:cubicBezTo>
                    <a:pt x="349" y="8"/>
                    <a:pt x="349" y="8"/>
                    <a:pt x="349" y="8"/>
                  </a:cubicBezTo>
                  <a:cubicBezTo>
                    <a:pt x="349" y="8"/>
                    <a:pt x="349" y="8"/>
                    <a:pt x="350" y="8"/>
                  </a:cubicBezTo>
                  <a:cubicBezTo>
                    <a:pt x="350" y="10"/>
                    <a:pt x="350" y="10"/>
                    <a:pt x="350" y="10"/>
                  </a:cubicBezTo>
                  <a:cubicBezTo>
                    <a:pt x="350" y="9"/>
                    <a:pt x="350" y="9"/>
                    <a:pt x="350" y="9"/>
                  </a:cubicBezTo>
                  <a:cubicBezTo>
                    <a:pt x="534" y="451"/>
                    <a:pt x="534" y="451"/>
                    <a:pt x="534" y="451"/>
                  </a:cubicBezTo>
                  <a:cubicBezTo>
                    <a:pt x="535" y="453"/>
                    <a:pt x="535" y="453"/>
                    <a:pt x="535" y="453"/>
                  </a:cubicBezTo>
                  <a:cubicBezTo>
                    <a:pt x="535" y="455"/>
                    <a:pt x="535" y="457"/>
                    <a:pt x="535" y="459"/>
                  </a:cubicBezTo>
                  <a:cubicBezTo>
                    <a:pt x="535" y="464"/>
                    <a:pt x="532" y="466"/>
                    <a:pt x="524" y="466"/>
                  </a:cubicBezTo>
                  <a:cubicBezTo>
                    <a:pt x="491" y="466"/>
                    <a:pt x="491" y="466"/>
                    <a:pt x="491" y="466"/>
                  </a:cubicBezTo>
                  <a:cubicBezTo>
                    <a:pt x="479" y="466"/>
                    <a:pt x="477" y="456"/>
                    <a:pt x="477" y="457"/>
                  </a:cubicBezTo>
                  <a:lnTo>
                    <a:pt x="465" y="425"/>
                  </a:lnTo>
                  <a:close/>
                </a:path>
              </a:pathLst>
            </a:custGeom>
            <a:solidFill>
              <a:srgbClr val="2580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 name="Freeform 6">
              <a:extLst>
                <a:ext uri="{FF2B5EF4-FFF2-40B4-BE49-F238E27FC236}">
                  <a16:creationId xmlns:a16="http://schemas.microsoft.com/office/drawing/2014/main" id="{6F366503-5781-ECC8-A1DB-345F5F9926E5}"/>
                </a:ext>
              </a:extLst>
            </p:cNvPr>
            <p:cNvSpPr>
              <a:spLocks noEditPoints="1"/>
            </p:cNvSpPr>
            <p:nvPr userDrawn="1"/>
          </p:nvSpPr>
          <p:spPr bwMode="auto">
            <a:xfrm>
              <a:off x="1456" y="1189"/>
              <a:ext cx="986" cy="1105"/>
            </a:xfrm>
            <a:custGeom>
              <a:avLst/>
              <a:gdLst>
                <a:gd name="T0" fmla="*/ 26658435 w 417"/>
                <a:gd name="T1" fmla="*/ 1104057219 h 466"/>
                <a:gd name="T2" fmla="*/ 0 w 417"/>
                <a:gd name="T3" fmla="*/ 1084997487 h 466"/>
                <a:gd name="T4" fmla="*/ 0 w 417"/>
                <a:gd name="T5" fmla="*/ 1071148297 h 466"/>
                <a:gd name="T6" fmla="*/ 2016564 w 417"/>
                <a:gd name="T7" fmla="*/ 1065967725 h 466"/>
                <a:gd name="T8" fmla="*/ 440005146 w 417"/>
                <a:gd name="T9" fmla="*/ 19018883 h 466"/>
                <a:gd name="T10" fmla="*/ 469546985 w 417"/>
                <a:gd name="T11" fmla="*/ 0 h 466"/>
                <a:gd name="T12" fmla="*/ 474377529 w 417"/>
                <a:gd name="T13" fmla="*/ 0 h 466"/>
                <a:gd name="T14" fmla="*/ 505945896 w 417"/>
                <a:gd name="T15" fmla="*/ 21137875 h 466"/>
                <a:gd name="T16" fmla="*/ 612172944 w 417"/>
                <a:gd name="T17" fmla="*/ 284828039 h 466"/>
                <a:gd name="T18" fmla="*/ 830540312 w 417"/>
                <a:gd name="T19" fmla="*/ 805128453 h 466"/>
                <a:gd name="T20" fmla="*/ 936767478 w 417"/>
                <a:gd name="T21" fmla="*/ 1065967725 h 466"/>
                <a:gd name="T22" fmla="*/ 936767478 w 417"/>
                <a:gd name="T23" fmla="*/ 1065967725 h 466"/>
                <a:gd name="T24" fmla="*/ 941198430 w 417"/>
                <a:gd name="T25" fmla="*/ 1084997487 h 466"/>
                <a:gd name="T26" fmla="*/ 914535082 w 417"/>
                <a:gd name="T27" fmla="*/ 1104057219 h 466"/>
                <a:gd name="T28" fmla="*/ 26658435 w 417"/>
                <a:gd name="T29" fmla="*/ 1104057219 h 466"/>
                <a:gd name="T30" fmla="*/ 173692259 w 417"/>
                <a:gd name="T31" fmla="*/ 974102843 h 466"/>
                <a:gd name="T32" fmla="*/ 332252753 w 417"/>
                <a:gd name="T33" fmla="*/ 974102843 h 466"/>
                <a:gd name="T34" fmla="*/ 767506131 w 417"/>
                <a:gd name="T35" fmla="*/ 974102843 h 466"/>
                <a:gd name="T36" fmla="*/ 471651445 w 417"/>
                <a:gd name="T37" fmla="*/ 238808028 h 466"/>
                <a:gd name="T38" fmla="*/ 173692259 w 417"/>
                <a:gd name="T39" fmla="*/ 974102843 h 4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17" h="466">
                  <a:moveTo>
                    <a:pt x="12" y="466"/>
                  </a:moveTo>
                  <a:cubicBezTo>
                    <a:pt x="4" y="466"/>
                    <a:pt x="0" y="463"/>
                    <a:pt x="0" y="458"/>
                  </a:cubicBezTo>
                  <a:cubicBezTo>
                    <a:pt x="0" y="455"/>
                    <a:pt x="0" y="453"/>
                    <a:pt x="0" y="452"/>
                  </a:cubicBezTo>
                  <a:cubicBezTo>
                    <a:pt x="1" y="450"/>
                    <a:pt x="1" y="450"/>
                    <a:pt x="1" y="450"/>
                  </a:cubicBezTo>
                  <a:cubicBezTo>
                    <a:pt x="195" y="8"/>
                    <a:pt x="195" y="8"/>
                    <a:pt x="195" y="8"/>
                  </a:cubicBezTo>
                  <a:cubicBezTo>
                    <a:pt x="196" y="5"/>
                    <a:pt x="197" y="0"/>
                    <a:pt x="208" y="0"/>
                  </a:cubicBezTo>
                  <a:cubicBezTo>
                    <a:pt x="210" y="0"/>
                    <a:pt x="210" y="0"/>
                    <a:pt x="210" y="0"/>
                  </a:cubicBezTo>
                  <a:cubicBezTo>
                    <a:pt x="222" y="0"/>
                    <a:pt x="222" y="7"/>
                    <a:pt x="224" y="9"/>
                  </a:cubicBezTo>
                  <a:cubicBezTo>
                    <a:pt x="239" y="46"/>
                    <a:pt x="255" y="83"/>
                    <a:pt x="271" y="120"/>
                  </a:cubicBezTo>
                  <a:cubicBezTo>
                    <a:pt x="368" y="340"/>
                    <a:pt x="368" y="340"/>
                    <a:pt x="368" y="340"/>
                  </a:cubicBezTo>
                  <a:cubicBezTo>
                    <a:pt x="384" y="377"/>
                    <a:pt x="400" y="414"/>
                    <a:pt x="415" y="450"/>
                  </a:cubicBezTo>
                  <a:cubicBezTo>
                    <a:pt x="415" y="450"/>
                    <a:pt x="415" y="450"/>
                    <a:pt x="415" y="450"/>
                  </a:cubicBezTo>
                  <a:cubicBezTo>
                    <a:pt x="417" y="458"/>
                    <a:pt x="417" y="458"/>
                    <a:pt x="417" y="458"/>
                  </a:cubicBezTo>
                  <a:cubicBezTo>
                    <a:pt x="417" y="463"/>
                    <a:pt x="413" y="466"/>
                    <a:pt x="405" y="466"/>
                  </a:cubicBezTo>
                  <a:lnTo>
                    <a:pt x="12" y="466"/>
                  </a:lnTo>
                  <a:close/>
                  <a:moveTo>
                    <a:pt x="77" y="411"/>
                  </a:moveTo>
                  <a:cubicBezTo>
                    <a:pt x="147" y="411"/>
                    <a:pt x="147" y="411"/>
                    <a:pt x="147" y="411"/>
                  </a:cubicBezTo>
                  <a:cubicBezTo>
                    <a:pt x="340" y="411"/>
                    <a:pt x="340" y="411"/>
                    <a:pt x="340" y="411"/>
                  </a:cubicBezTo>
                  <a:cubicBezTo>
                    <a:pt x="209" y="101"/>
                    <a:pt x="209" y="101"/>
                    <a:pt x="209" y="101"/>
                  </a:cubicBezTo>
                  <a:lnTo>
                    <a:pt x="77" y="411"/>
                  </a:lnTo>
                  <a:close/>
                </a:path>
              </a:pathLst>
            </a:custGeom>
            <a:solidFill>
              <a:srgbClr val="1993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 name="Freeform 7">
              <a:extLst>
                <a:ext uri="{FF2B5EF4-FFF2-40B4-BE49-F238E27FC236}">
                  <a16:creationId xmlns:a16="http://schemas.microsoft.com/office/drawing/2014/main" id="{0B8354F7-9D6B-A540-575F-2ACE04FF0F68}"/>
                </a:ext>
              </a:extLst>
            </p:cNvPr>
            <p:cNvSpPr>
              <a:spLocks noEditPoints="1"/>
            </p:cNvSpPr>
            <p:nvPr userDrawn="1"/>
          </p:nvSpPr>
          <p:spPr bwMode="auto">
            <a:xfrm>
              <a:off x="2501" y="1189"/>
              <a:ext cx="1594" cy="1942"/>
            </a:xfrm>
            <a:custGeom>
              <a:avLst/>
              <a:gdLst>
                <a:gd name="T0" fmla="*/ 1483443497 w 674"/>
                <a:gd name="T1" fmla="*/ 1714655374 h 819"/>
                <a:gd name="T2" fmla="*/ 1526729097 w 674"/>
                <a:gd name="T3" fmla="*/ 1761916426 h 819"/>
                <a:gd name="T4" fmla="*/ 1526729097 w 674"/>
                <a:gd name="T5" fmla="*/ 1892482889 h 819"/>
                <a:gd name="T6" fmla="*/ 1483443497 w 674"/>
                <a:gd name="T7" fmla="*/ 1939529634 h 819"/>
                <a:gd name="T8" fmla="*/ 45037621 w 674"/>
                <a:gd name="T9" fmla="*/ 1939529634 h 819"/>
                <a:gd name="T10" fmla="*/ 2021131 w 674"/>
                <a:gd name="T11" fmla="*/ 1892482889 h 819"/>
                <a:gd name="T12" fmla="*/ 2021131 w 674"/>
                <a:gd name="T13" fmla="*/ 1747816468 h 819"/>
                <a:gd name="T14" fmla="*/ 4779945 w 674"/>
                <a:gd name="T15" fmla="*/ 1718918526 h 819"/>
                <a:gd name="T16" fmla="*/ 1173181872 w 674"/>
                <a:gd name="T17" fmla="*/ 224874255 h 819"/>
                <a:gd name="T18" fmla="*/ 67999529 w 674"/>
                <a:gd name="T19" fmla="*/ 224874255 h 819"/>
                <a:gd name="T20" fmla="*/ 23082570 w 674"/>
                <a:gd name="T21" fmla="*/ 177827380 h 819"/>
                <a:gd name="T22" fmla="*/ 23082570 w 674"/>
                <a:gd name="T23" fmla="*/ 39995312 h 819"/>
                <a:gd name="T24" fmla="*/ 67999529 w 674"/>
                <a:gd name="T25" fmla="*/ 0 h 819"/>
                <a:gd name="T26" fmla="*/ 1415437178 w 674"/>
                <a:gd name="T27" fmla="*/ 0 h 819"/>
                <a:gd name="T28" fmla="*/ 1460854109 w 674"/>
                <a:gd name="T29" fmla="*/ 45085377 h 819"/>
                <a:gd name="T30" fmla="*/ 1460854109 w 674"/>
                <a:gd name="T31" fmla="*/ 191701471 h 819"/>
                <a:gd name="T32" fmla="*/ 1458729657 w 674"/>
                <a:gd name="T33" fmla="*/ 205471911 h 819"/>
                <a:gd name="T34" fmla="*/ 1451728403 w 674"/>
                <a:gd name="T35" fmla="*/ 224874255 h 819"/>
                <a:gd name="T36" fmla="*/ 1453837196 w 674"/>
                <a:gd name="T37" fmla="*/ 220773085 h 819"/>
                <a:gd name="T38" fmla="*/ 298805398 w 674"/>
                <a:gd name="T39" fmla="*/ 1714655374 h 819"/>
                <a:gd name="T40" fmla="*/ 892477599 w 674"/>
                <a:gd name="T41" fmla="*/ 1714655374 h 819"/>
                <a:gd name="T42" fmla="*/ 1483443497 w 674"/>
                <a:gd name="T43" fmla="*/ 1714655374 h 819"/>
                <a:gd name="T44" fmla="*/ 901071203 w 674"/>
                <a:gd name="T45" fmla="*/ 1338067130 h 819"/>
                <a:gd name="T46" fmla="*/ 1485464242 w 674"/>
                <a:gd name="T47" fmla="*/ 1338067130 h 819"/>
                <a:gd name="T48" fmla="*/ 1526729097 w 674"/>
                <a:gd name="T49" fmla="*/ 1380181100 h 819"/>
                <a:gd name="T50" fmla="*/ 1526729097 w 674"/>
                <a:gd name="T51" fmla="*/ 1518014804 h 819"/>
                <a:gd name="T52" fmla="*/ 1485464242 w 674"/>
                <a:gd name="T53" fmla="*/ 1565124966 h 819"/>
                <a:gd name="T54" fmla="*/ 899479284 w 674"/>
                <a:gd name="T55" fmla="*/ 1565124966 h 819"/>
                <a:gd name="T56" fmla="*/ 858051680 w 674"/>
                <a:gd name="T57" fmla="*/ 1525126678 h 819"/>
                <a:gd name="T58" fmla="*/ 858051680 w 674"/>
                <a:gd name="T59" fmla="*/ 1385323779 h 819"/>
                <a:gd name="T60" fmla="*/ 872788267 w 674"/>
                <a:gd name="T61" fmla="*/ 1354121744 h 819"/>
                <a:gd name="T62" fmla="*/ 901071203 w 674"/>
                <a:gd name="T63" fmla="*/ 1338067130 h 81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74" h="819">
                  <a:moveTo>
                    <a:pt x="655" y="724"/>
                  </a:moveTo>
                  <a:cubicBezTo>
                    <a:pt x="654" y="724"/>
                    <a:pt x="674" y="721"/>
                    <a:pt x="674" y="744"/>
                  </a:cubicBezTo>
                  <a:cubicBezTo>
                    <a:pt x="674" y="799"/>
                    <a:pt x="674" y="799"/>
                    <a:pt x="674" y="799"/>
                  </a:cubicBezTo>
                  <a:cubicBezTo>
                    <a:pt x="674" y="809"/>
                    <a:pt x="666" y="819"/>
                    <a:pt x="655" y="819"/>
                  </a:cubicBezTo>
                  <a:cubicBezTo>
                    <a:pt x="20" y="819"/>
                    <a:pt x="20" y="819"/>
                    <a:pt x="20" y="819"/>
                  </a:cubicBezTo>
                  <a:cubicBezTo>
                    <a:pt x="10" y="819"/>
                    <a:pt x="0" y="811"/>
                    <a:pt x="1" y="799"/>
                  </a:cubicBezTo>
                  <a:cubicBezTo>
                    <a:pt x="1" y="738"/>
                    <a:pt x="1" y="738"/>
                    <a:pt x="1" y="738"/>
                  </a:cubicBezTo>
                  <a:cubicBezTo>
                    <a:pt x="0" y="735"/>
                    <a:pt x="2" y="730"/>
                    <a:pt x="2" y="726"/>
                  </a:cubicBezTo>
                  <a:cubicBezTo>
                    <a:pt x="518" y="95"/>
                    <a:pt x="518" y="95"/>
                    <a:pt x="518" y="95"/>
                  </a:cubicBezTo>
                  <a:cubicBezTo>
                    <a:pt x="30" y="95"/>
                    <a:pt x="30" y="95"/>
                    <a:pt x="30" y="95"/>
                  </a:cubicBezTo>
                  <a:cubicBezTo>
                    <a:pt x="15" y="95"/>
                    <a:pt x="10" y="88"/>
                    <a:pt x="10" y="75"/>
                  </a:cubicBezTo>
                  <a:cubicBezTo>
                    <a:pt x="10" y="17"/>
                    <a:pt x="10" y="17"/>
                    <a:pt x="10" y="17"/>
                  </a:cubicBezTo>
                  <a:cubicBezTo>
                    <a:pt x="10" y="5"/>
                    <a:pt x="15" y="0"/>
                    <a:pt x="30" y="0"/>
                  </a:cubicBezTo>
                  <a:cubicBezTo>
                    <a:pt x="625" y="0"/>
                    <a:pt x="625" y="0"/>
                    <a:pt x="625" y="0"/>
                  </a:cubicBezTo>
                  <a:cubicBezTo>
                    <a:pt x="637" y="0"/>
                    <a:pt x="645" y="6"/>
                    <a:pt x="645" y="19"/>
                  </a:cubicBezTo>
                  <a:cubicBezTo>
                    <a:pt x="645" y="81"/>
                    <a:pt x="645" y="81"/>
                    <a:pt x="645" y="81"/>
                  </a:cubicBezTo>
                  <a:cubicBezTo>
                    <a:pt x="645" y="82"/>
                    <a:pt x="645" y="85"/>
                    <a:pt x="644" y="87"/>
                  </a:cubicBezTo>
                  <a:cubicBezTo>
                    <a:pt x="641" y="95"/>
                    <a:pt x="641" y="95"/>
                    <a:pt x="641" y="95"/>
                  </a:cubicBezTo>
                  <a:cubicBezTo>
                    <a:pt x="642" y="93"/>
                    <a:pt x="642" y="93"/>
                    <a:pt x="642" y="93"/>
                  </a:cubicBezTo>
                  <a:cubicBezTo>
                    <a:pt x="132" y="724"/>
                    <a:pt x="132" y="724"/>
                    <a:pt x="132" y="724"/>
                  </a:cubicBezTo>
                  <a:cubicBezTo>
                    <a:pt x="394" y="724"/>
                    <a:pt x="394" y="724"/>
                    <a:pt x="394" y="724"/>
                  </a:cubicBezTo>
                  <a:lnTo>
                    <a:pt x="655" y="724"/>
                  </a:lnTo>
                  <a:close/>
                  <a:moveTo>
                    <a:pt x="398" y="565"/>
                  </a:moveTo>
                  <a:cubicBezTo>
                    <a:pt x="656" y="565"/>
                    <a:pt x="656" y="565"/>
                    <a:pt x="656" y="565"/>
                  </a:cubicBezTo>
                  <a:cubicBezTo>
                    <a:pt x="666" y="565"/>
                    <a:pt x="674" y="573"/>
                    <a:pt x="674" y="583"/>
                  </a:cubicBezTo>
                  <a:cubicBezTo>
                    <a:pt x="674" y="641"/>
                    <a:pt x="674" y="641"/>
                    <a:pt x="674" y="641"/>
                  </a:cubicBezTo>
                  <a:cubicBezTo>
                    <a:pt x="674" y="652"/>
                    <a:pt x="666" y="661"/>
                    <a:pt x="656" y="661"/>
                  </a:cubicBezTo>
                  <a:cubicBezTo>
                    <a:pt x="397" y="661"/>
                    <a:pt x="397" y="661"/>
                    <a:pt x="397" y="661"/>
                  </a:cubicBezTo>
                  <a:cubicBezTo>
                    <a:pt x="386" y="661"/>
                    <a:pt x="379" y="654"/>
                    <a:pt x="379" y="644"/>
                  </a:cubicBezTo>
                  <a:cubicBezTo>
                    <a:pt x="379" y="585"/>
                    <a:pt x="379" y="585"/>
                    <a:pt x="379" y="585"/>
                  </a:cubicBezTo>
                  <a:cubicBezTo>
                    <a:pt x="380" y="580"/>
                    <a:pt x="382" y="576"/>
                    <a:pt x="385" y="572"/>
                  </a:cubicBezTo>
                  <a:cubicBezTo>
                    <a:pt x="385" y="572"/>
                    <a:pt x="386" y="565"/>
                    <a:pt x="398" y="565"/>
                  </a:cubicBezTo>
                  <a:close/>
                </a:path>
              </a:pathLst>
            </a:custGeom>
            <a:solidFill>
              <a:srgbClr val="9EBE5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 name="Freeform 8">
              <a:extLst>
                <a:ext uri="{FF2B5EF4-FFF2-40B4-BE49-F238E27FC236}">
                  <a16:creationId xmlns:a16="http://schemas.microsoft.com/office/drawing/2014/main" id="{AC17E5A6-5563-BADC-AC42-AB85DF013B03}"/>
                </a:ext>
              </a:extLst>
            </p:cNvPr>
            <p:cNvSpPr>
              <a:spLocks noEditPoints="1"/>
            </p:cNvSpPr>
            <p:nvPr userDrawn="1"/>
          </p:nvSpPr>
          <p:spPr bwMode="auto">
            <a:xfrm>
              <a:off x="4133" y="1189"/>
              <a:ext cx="986" cy="1105"/>
            </a:xfrm>
            <a:custGeom>
              <a:avLst/>
              <a:gdLst>
                <a:gd name="T0" fmla="*/ 26658435 w 417"/>
                <a:gd name="T1" fmla="*/ 1104057219 h 466"/>
                <a:gd name="T2" fmla="*/ 2016564 w 417"/>
                <a:gd name="T3" fmla="*/ 1084997487 h 466"/>
                <a:gd name="T4" fmla="*/ 2016564 w 417"/>
                <a:gd name="T5" fmla="*/ 1071148297 h 466"/>
                <a:gd name="T6" fmla="*/ 4768183 w 417"/>
                <a:gd name="T7" fmla="*/ 1065967725 h 466"/>
                <a:gd name="T8" fmla="*/ 440005146 w 417"/>
                <a:gd name="T9" fmla="*/ 19018883 h 466"/>
                <a:gd name="T10" fmla="*/ 471651445 w 417"/>
                <a:gd name="T11" fmla="*/ 0 h 466"/>
                <a:gd name="T12" fmla="*/ 476419656 w 417"/>
                <a:gd name="T13" fmla="*/ 0 h 466"/>
                <a:gd name="T14" fmla="*/ 505945896 w 417"/>
                <a:gd name="T15" fmla="*/ 21137875 h 466"/>
                <a:gd name="T16" fmla="*/ 612172944 w 417"/>
                <a:gd name="T17" fmla="*/ 284828039 h 466"/>
                <a:gd name="T18" fmla="*/ 833293680 w 417"/>
                <a:gd name="T19" fmla="*/ 805128453 h 466"/>
                <a:gd name="T20" fmla="*/ 939517011 w 417"/>
                <a:gd name="T21" fmla="*/ 1065967725 h 466"/>
                <a:gd name="T22" fmla="*/ 936767478 w 417"/>
                <a:gd name="T23" fmla="*/ 1065967725 h 466"/>
                <a:gd name="T24" fmla="*/ 941198430 w 417"/>
                <a:gd name="T25" fmla="*/ 1084997487 h 466"/>
                <a:gd name="T26" fmla="*/ 916425650 w 417"/>
                <a:gd name="T27" fmla="*/ 1104057219 h 466"/>
                <a:gd name="T28" fmla="*/ 26658435 w 417"/>
                <a:gd name="T29" fmla="*/ 1104057219 h 466"/>
                <a:gd name="T30" fmla="*/ 173692259 w 417"/>
                <a:gd name="T31" fmla="*/ 974102843 h 466"/>
                <a:gd name="T32" fmla="*/ 332252753 w 417"/>
                <a:gd name="T33" fmla="*/ 974102843 h 466"/>
                <a:gd name="T34" fmla="*/ 767506131 w 417"/>
                <a:gd name="T35" fmla="*/ 974102843 h 466"/>
                <a:gd name="T36" fmla="*/ 471651445 w 417"/>
                <a:gd name="T37" fmla="*/ 238808028 h 466"/>
                <a:gd name="T38" fmla="*/ 173692259 w 417"/>
                <a:gd name="T39" fmla="*/ 974102843 h 4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17" h="466">
                  <a:moveTo>
                    <a:pt x="12" y="466"/>
                  </a:moveTo>
                  <a:cubicBezTo>
                    <a:pt x="4" y="466"/>
                    <a:pt x="0" y="463"/>
                    <a:pt x="1" y="458"/>
                  </a:cubicBezTo>
                  <a:cubicBezTo>
                    <a:pt x="0" y="455"/>
                    <a:pt x="0" y="453"/>
                    <a:pt x="1" y="452"/>
                  </a:cubicBezTo>
                  <a:cubicBezTo>
                    <a:pt x="2" y="450"/>
                    <a:pt x="2" y="450"/>
                    <a:pt x="2" y="450"/>
                  </a:cubicBezTo>
                  <a:cubicBezTo>
                    <a:pt x="195" y="8"/>
                    <a:pt x="195" y="8"/>
                    <a:pt x="195" y="8"/>
                  </a:cubicBezTo>
                  <a:cubicBezTo>
                    <a:pt x="197" y="5"/>
                    <a:pt x="198" y="0"/>
                    <a:pt x="209" y="0"/>
                  </a:cubicBezTo>
                  <a:cubicBezTo>
                    <a:pt x="211" y="0"/>
                    <a:pt x="211" y="0"/>
                    <a:pt x="211" y="0"/>
                  </a:cubicBezTo>
                  <a:cubicBezTo>
                    <a:pt x="222" y="0"/>
                    <a:pt x="223" y="7"/>
                    <a:pt x="224" y="9"/>
                  </a:cubicBezTo>
                  <a:cubicBezTo>
                    <a:pt x="239" y="46"/>
                    <a:pt x="255" y="83"/>
                    <a:pt x="271" y="120"/>
                  </a:cubicBezTo>
                  <a:cubicBezTo>
                    <a:pt x="369" y="340"/>
                    <a:pt x="369" y="340"/>
                    <a:pt x="369" y="340"/>
                  </a:cubicBezTo>
                  <a:cubicBezTo>
                    <a:pt x="385" y="377"/>
                    <a:pt x="401" y="414"/>
                    <a:pt x="416" y="450"/>
                  </a:cubicBezTo>
                  <a:cubicBezTo>
                    <a:pt x="415" y="450"/>
                    <a:pt x="415" y="450"/>
                    <a:pt x="415" y="450"/>
                  </a:cubicBezTo>
                  <a:cubicBezTo>
                    <a:pt x="417" y="458"/>
                    <a:pt x="417" y="458"/>
                    <a:pt x="417" y="458"/>
                  </a:cubicBezTo>
                  <a:cubicBezTo>
                    <a:pt x="417" y="463"/>
                    <a:pt x="414" y="466"/>
                    <a:pt x="406" y="466"/>
                  </a:cubicBezTo>
                  <a:lnTo>
                    <a:pt x="12" y="466"/>
                  </a:lnTo>
                  <a:close/>
                  <a:moveTo>
                    <a:pt x="77" y="411"/>
                  </a:moveTo>
                  <a:cubicBezTo>
                    <a:pt x="147" y="411"/>
                    <a:pt x="147" y="411"/>
                    <a:pt x="147" y="411"/>
                  </a:cubicBezTo>
                  <a:cubicBezTo>
                    <a:pt x="340" y="411"/>
                    <a:pt x="340" y="411"/>
                    <a:pt x="340" y="411"/>
                  </a:cubicBezTo>
                  <a:cubicBezTo>
                    <a:pt x="209" y="101"/>
                    <a:pt x="209" y="101"/>
                    <a:pt x="209" y="101"/>
                  </a:cubicBezTo>
                  <a:lnTo>
                    <a:pt x="77" y="411"/>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 name="Freeform 9">
              <a:extLst>
                <a:ext uri="{FF2B5EF4-FFF2-40B4-BE49-F238E27FC236}">
                  <a16:creationId xmlns:a16="http://schemas.microsoft.com/office/drawing/2014/main" id="{818DA244-8F4F-6642-1AF2-B16B2CBD5FEA}"/>
                </a:ext>
              </a:extLst>
            </p:cNvPr>
            <p:cNvSpPr>
              <a:spLocks noEditPoints="1"/>
            </p:cNvSpPr>
            <p:nvPr userDrawn="1"/>
          </p:nvSpPr>
          <p:spPr bwMode="auto">
            <a:xfrm>
              <a:off x="5259" y="1187"/>
              <a:ext cx="941" cy="1107"/>
            </a:xfrm>
            <a:custGeom>
              <a:avLst/>
              <a:gdLst>
                <a:gd name="T0" fmla="*/ 897379222 w 398"/>
                <a:gd name="T1" fmla="*/ 30594420 h 467"/>
                <a:gd name="T2" fmla="*/ 890358234 w 398"/>
                <a:gd name="T3" fmla="*/ 1076168270 h 467"/>
                <a:gd name="T4" fmla="*/ 863748004 w 398"/>
                <a:gd name="T5" fmla="*/ 1100058818 h 467"/>
                <a:gd name="T6" fmla="*/ 771485685 w 398"/>
                <a:gd name="T7" fmla="*/ 1100058818 h 467"/>
                <a:gd name="T8" fmla="*/ 125893508 w 398"/>
                <a:gd name="T9" fmla="*/ 184128005 h 467"/>
                <a:gd name="T10" fmla="*/ 122136901 w 398"/>
                <a:gd name="T11" fmla="*/ 754173992 h 467"/>
                <a:gd name="T12" fmla="*/ 376580847 w 398"/>
                <a:gd name="T13" fmla="*/ 754173992 h 467"/>
                <a:gd name="T14" fmla="*/ 398430025 w 398"/>
                <a:gd name="T15" fmla="*/ 777275989 h 467"/>
                <a:gd name="T16" fmla="*/ 398430025 w 398"/>
                <a:gd name="T17" fmla="*/ 854743724 h 467"/>
                <a:gd name="T18" fmla="*/ 376580847 w 398"/>
                <a:gd name="T19" fmla="*/ 883384289 h 467"/>
                <a:gd name="T20" fmla="*/ 24536535 w 398"/>
                <a:gd name="T21" fmla="*/ 878310296 h 467"/>
                <a:gd name="T22" fmla="*/ 23013058 w 398"/>
                <a:gd name="T23" fmla="*/ 878310296 h 467"/>
                <a:gd name="T24" fmla="*/ 0 w 398"/>
                <a:gd name="T25" fmla="*/ 859366371 h 467"/>
                <a:gd name="T26" fmla="*/ 6865536 w 398"/>
                <a:gd name="T27" fmla="*/ 25974653 h 467"/>
                <a:gd name="T28" fmla="*/ 31374522 w 398"/>
                <a:gd name="T29" fmla="*/ 2072546 h 467"/>
                <a:gd name="T30" fmla="*/ 125893508 w 398"/>
                <a:gd name="T31" fmla="*/ 2072546 h 467"/>
                <a:gd name="T32" fmla="*/ 148746381 w 398"/>
                <a:gd name="T33" fmla="*/ 13823806 h 467"/>
                <a:gd name="T34" fmla="*/ 768580627 w 398"/>
                <a:gd name="T35" fmla="*/ 885333514 h 467"/>
                <a:gd name="T36" fmla="*/ 775022528 w 398"/>
                <a:gd name="T37" fmla="*/ 23886284 h 467"/>
                <a:gd name="T38" fmla="*/ 798083455 w 398"/>
                <a:gd name="T39" fmla="*/ 7074865 h 467"/>
                <a:gd name="T40" fmla="*/ 870741434 w 398"/>
                <a:gd name="T41" fmla="*/ 7074865 h 467"/>
                <a:gd name="T42" fmla="*/ 888769892 w 398"/>
                <a:gd name="T43" fmla="*/ 13823806 h 467"/>
                <a:gd name="T44" fmla="*/ 897379222 w 398"/>
                <a:gd name="T45" fmla="*/ 30594420 h 467"/>
                <a:gd name="T46" fmla="*/ 502483131 w 398"/>
                <a:gd name="T47" fmla="*/ 967923553 h 467"/>
                <a:gd name="T48" fmla="*/ 525479561 w 398"/>
                <a:gd name="T49" fmla="*/ 991784983 h 467"/>
                <a:gd name="T50" fmla="*/ 525479561 w 398"/>
                <a:gd name="T51" fmla="*/ 1069462303 h 467"/>
                <a:gd name="T52" fmla="*/ 502483131 w 398"/>
                <a:gd name="T53" fmla="*/ 1097986322 h 467"/>
                <a:gd name="T54" fmla="*/ 23013058 w 398"/>
                <a:gd name="T55" fmla="*/ 1097986322 h 467"/>
                <a:gd name="T56" fmla="*/ 0 w 398"/>
                <a:gd name="T57" fmla="*/ 1074095937 h 467"/>
                <a:gd name="T58" fmla="*/ 0 w 398"/>
                <a:gd name="T59" fmla="*/ 993579494 h 467"/>
                <a:gd name="T60" fmla="*/ 24536535 w 398"/>
                <a:gd name="T61" fmla="*/ 967923553 h 467"/>
                <a:gd name="T62" fmla="*/ 264174943 w 398"/>
                <a:gd name="T63" fmla="*/ 967923553 h 467"/>
                <a:gd name="T64" fmla="*/ 502483131 w 398"/>
                <a:gd name="T65" fmla="*/ 967923553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98" h="467">
                  <a:moveTo>
                    <a:pt x="398" y="13"/>
                  </a:moveTo>
                  <a:cubicBezTo>
                    <a:pt x="395" y="457"/>
                    <a:pt x="395" y="457"/>
                    <a:pt x="395" y="457"/>
                  </a:cubicBezTo>
                  <a:cubicBezTo>
                    <a:pt x="395" y="464"/>
                    <a:pt x="390" y="467"/>
                    <a:pt x="383" y="467"/>
                  </a:cubicBezTo>
                  <a:cubicBezTo>
                    <a:pt x="342" y="467"/>
                    <a:pt x="342" y="467"/>
                    <a:pt x="342" y="467"/>
                  </a:cubicBezTo>
                  <a:cubicBezTo>
                    <a:pt x="56" y="78"/>
                    <a:pt x="56" y="78"/>
                    <a:pt x="56" y="78"/>
                  </a:cubicBezTo>
                  <a:cubicBezTo>
                    <a:pt x="54" y="320"/>
                    <a:pt x="54" y="320"/>
                    <a:pt x="54" y="320"/>
                  </a:cubicBezTo>
                  <a:cubicBezTo>
                    <a:pt x="167" y="320"/>
                    <a:pt x="167" y="320"/>
                    <a:pt x="167" y="320"/>
                  </a:cubicBezTo>
                  <a:cubicBezTo>
                    <a:pt x="173" y="320"/>
                    <a:pt x="177" y="324"/>
                    <a:pt x="177" y="330"/>
                  </a:cubicBezTo>
                  <a:cubicBezTo>
                    <a:pt x="177" y="363"/>
                    <a:pt x="177" y="363"/>
                    <a:pt x="177" y="363"/>
                  </a:cubicBezTo>
                  <a:cubicBezTo>
                    <a:pt x="177" y="369"/>
                    <a:pt x="173" y="375"/>
                    <a:pt x="167" y="375"/>
                  </a:cubicBezTo>
                  <a:cubicBezTo>
                    <a:pt x="11" y="373"/>
                    <a:pt x="11" y="373"/>
                    <a:pt x="11" y="373"/>
                  </a:cubicBezTo>
                  <a:cubicBezTo>
                    <a:pt x="10" y="373"/>
                    <a:pt x="10" y="373"/>
                    <a:pt x="10" y="373"/>
                  </a:cubicBezTo>
                  <a:cubicBezTo>
                    <a:pt x="4" y="373"/>
                    <a:pt x="1" y="370"/>
                    <a:pt x="0" y="365"/>
                  </a:cubicBezTo>
                  <a:cubicBezTo>
                    <a:pt x="3" y="11"/>
                    <a:pt x="3" y="11"/>
                    <a:pt x="3" y="11"/>
                  </a:cubicBezTo>
                  <a:cubicBezTo>
                    <a:pt x="3" y="5"/>
                    <a:pt x="7" y="0"/>
                    <a:pt x="14" y="1"/>
                  </a:cubicBezTo>
                  <a:cubicBezTo>
                    <a:pt x="56" y="1"/>
                    <a:pt x="56" y="1"/>
                    <a:pt x="56" y="1"/>
                  </a:cubicBezTo>
                  <a:cubicBezTo>
                    <a:pt x="60" y="1"/>
                    <a:pt x="64" y="3"/>
                    <a:pt x="66" y="6"/>
                  </a:cubicBezTo>
                  <a:cubicBezTo>
                    <a:pt x="341" y="376"/>
                    <a:pt x="341" y="376"/>
                    <a:pt x="341" y="376"/>
                  </a:cubicBezTo>
                  <a:cubicBezTo>
                    <a:pt x="344" y="10"/>
                    <a:pt x="344" y="10"/>
                    <a:pt x="344" y="10"/>
                  </a:cubicBezTo>
                  <a:cubicBezTo>
                    <a:pt x="345" y="5"/>
                    <a:pt x="349" y="3"/>
                    <a:pt x="354" y="3"/>
                  </a:cubicBezTo>
                  <a:cubicBezTo>
                    <a:pt x="386" y="3"/>
                    <a:pt x="386" y="3"/>
                    <a:pt x="386" y="3"/>
                  </a:cubicBezTo>
                  <a:cubicBezTo>
                    <a:pt x="389" y="3"/>
                    <a:pt x="391" y="4"/>
                    <a:pt x="394" y="6"/>
                  </a:cubicBezTo>
                  <a:cubicBezTo>
                    <a:pt x="396" y="7"/>
                    <a:pt x="398" y="10"/>
                    <a:pt x="398" y="13"/>
                  </a:cubicBezTo>
                  <a:close/>
                  <a:moveTo>
                    <a:pt x="223" y="411"/>
                  </a:moveTo>
                  <a:cubicBezTo>
                    <a:pt x="229" y="411"/>
                    <a:pt x="233" y="415"/>
                    <a:pt x="233" y="421"/>
                  </a:cubicBezTo>
                  <a:cubicBezTo>
                    <a:pt x="233" y="454"/>
                    <a:pt x="233" y="454"/>
                    <a:pt x="233" y="454"/>
                  </a:cubicBezTo>
                  <a:cubicBezTo>
                    <a:pt x="233" y="460"/>
                    <a:pt x="230" y="466"/>
                    <a:pt x="223" y="466"/>
                  </a:cubicBezTo>
                  <a:cubicBezTo>
                    <a:pt x="10" y="466"/>
                    <a:pt x="10" y="466"/>
                    <a:pt x="10" y="466"/>
                  </a:cubicBezTo>
                  <a:cubicBezTo>
                    <a:pt x="4" y="466"/>
                    <a:pt x="0" y="462"/>
                    <a:pt x="0" y="456"/>
                  </a:cubicBezTo>
                  <a:cubicBezTo>
                    <a:pt x="0" y="422"/>
                    <a:pt x="0" y="422"/>
                    <a:pt x="0" y="422"/>
                  </a:cubicBezTo>
                  <a:cubicBezTo>
                    <a:pt x="0" y="416"/>
                    <a:pt x="4" y="411"/>
                    <a:pt x="11" y="411"/>
                  </a:cubicBezTo>
                  <a:cubicBezTo>
                    <a:pt x="117" y="411"/>
                    <a:pt x="117" y="411"/>
                    <a:pt x="117" y="411"/>
                  </a:cubicBezTo>
                  <a:lnTo>
                    <a:pt x="223" y="411"/>
                  </a:lnTo>
                  <a:close/>
                </a:path>
              </a:pathLst>
            </a:custGeom>
            <a:solidFill>
              <a:srgbClr val="C03B2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9" name="Freeform 10">
              <a:extLst>
                <a:ext uri="{FF2B5EF4-FFF2-40B4-BE49-F238E27FC236}">
                  <a16:creationId xmlns:a16="http://schemas.microsoft.com/office/drawing/2014/main" id="{669B5DAF-5E73-7ED1-B3D4-D24EC45288E4}"/>
                </a:ext>
              </a:extLst>
            </p:cNvPr>
            <p:cNvSpPr>
              <a:spLocks noEditPoints="1"/>
            </p:cNvSpPr>
            <p:nvPr userDrawn="1"/>
          </p:nvSpPr>
          <p:spPr bwMode="auto">
            <a:xfrm>
              <a:off x="6280" y="1189"/>
              <a:ext cx="1102" cy="1105"/>
            </a:xfrm>
            <a:custGeom>
              <a:avLst/>
              <a:gdLst>
                <a:gd name="T0" fmla="*/ 154128366 w 466"/>
                <a:gd name="T1" fmla="*/ 943010351 h 466"/>
                <a:gd name="T2" fmla="*/ 0 w 466"/>
                <a:gd name="T3" fmla="*/ 552442640 h 466"/>
                <a:gd name="T4" fmla="*/ 154128366 w 466"/>
                <a:gd name="T5" fmla="*/ 163833771 h 466"/>
                <a:gd name="T6" fmla="*/ 527029454 w 466"/>
                <a:gd name="T7" fmla="*/ 0 h 466"/>
                <a:gd name="T8" fmla="*/ 900145882 w 466"/>
                <a:gd name="T9" fmla="*/ 163833771 h 466"/>
                <a:gd name="T10" fmla="*/ 1054209675 w 466"/>
                <a:gd name="T11" fmla="*/ 552442640 h 466"/>
                <a:gd name="T12" fmla="*/ 900145882 w 466"/>
                <a:gd name="T13" fmla="*/ 943010351 h 466"/>
                <a:gd name="T14" fmla="*/ 527029454 w 466"/>
                <a:gd name="T15" fmla="*/ 1104057219 h 466"/>
                <a:gd name="T16" fmla="*/ 154128366 w 466"/>
                <a:gd name="T17" fmla="*/ 943010351 h 466"/>
                <a:gd name="T18" fmla="*/ 237118879 w 466"/>
                <a:gd name="T19" fmla="*/ 248554821 h 466"/>
                <a:gd name="T20" fmla="*/ 117706387 w 466"/>
                <a:gd name="T21" fmla="*/ 552442640 h 466"/>
                <a:gd name="T22" fmla="*/ 237118879 w 466"/>
                <a:gd name="T23" fmla="*/ 855407497 h 466"/>
                <a:gd name="T24" fmla="*/ 527029454 w 466"/>
                <a:gd name="T25" fmla="*/ 983016883 h 466"/>
                <a:gd name="T26" fmla="*/ 817155276 w 466"/>
                <a:gd name="T27" fmla="*/ 855407497 h 466"/>
                <a:gd name="T28" fmla="*/ 938406617 w 466"/>
                <a:gd name="T29" fmla="*/ 552442640 h 466"/>
                <a:gd name="T30" fmla="*/ 817155276 w 466"/>
                <a:gd name="T31" fmla="*/ 248554821 h 466"/>
                <a:gd name="T32" fmla="*/ 527029454 w 466"/>
                <a:gd name="T33" fmla="*/ 121039414 h 466"/>
                <a:gd name="T34" fmla="*/ 237118879 w 466"/>
                <a:gd name="T35" fmla="*/ 248554821 h 4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6" h="466">
                  <a:moveTo>
                    <a:pt x="68" y="398"/>
                  </a:moveTo>
                  <a:cubicBezTo>
                    <a:pt x="24" y="354"/>
                    <a:pt x="2" y="299"/>
                    <a:pt x="0" y="233"/>
                  </a:cubicBezTo>
                  <a:cubicBezTo>
                    <a:pt x="2" y="167"/>
                    <a:pt x="24" y="112"/>
                    <a:pt x="68" y="69"/>
                  </a:cubicBezTo>
                  <a:cubicBezTo>
                    <a:pt x="112" y="24"/>
                    <a:pt x="167" y="2"/>
                    <a:pt x="233" y="0"/>
                  </a:cubicBezTo>
                  <a:cubicBezTo>
                    <a:pt x="299" y="2"/>
                    <a:pt x="354" y="24"/>
                    <a:pt x="398" y="69"/>
                  </a:cubicBezTo>
                  <a:cubicBezTo>
                    <a:pt x="442" y="112"/>
                    <a:pt x="465" y="167"/>
                    <a:pt x="466" y="233"/>
                  </a:cubicBezTo>
                  <a:cubicBezTo>
                    <a:pt x="465" y="299"/>
                    <a:pt x="442" y="354"/>
                    <a:pt x="398" y="398"/>
                  </a:cubicBezTo>
                  <a:cubicBezTo>
                    <a:pt x="354" y="441"/>
                    <a:pt x="299" y="464"/>
                    <a:pt x="233" y="466"/>
                  </a:cubicBezTo>
                  <a:cubicBezTo>
                    <a:pt x="167" y="464"/>
                    <a:pt x="112" y="441"/>
                    <a:pt x="68" y="398"/>
                  </a:cubicBezTo>
                  <a:close/>
                  <a:moveTo>
                    <a:pt x="105" y="105"/>
                  </a:moveTo>
                  <a:cubicBezTo>
                    <a:pt x="70" y="139"/>
                    <a:pt x="53" y="181"/>
                    <a:pt x="52" y="233"/>
                  </a:cubicBezTo>
                  <a:cubicBezTo>
                    <a:pt x="53" y="284"/>
                    <a:pt x="70" y="327"/>
                    <a:pt x="105" y="361"/>
                  </a:cubicBezTo>
                  <a:cubicBezTo>
                    <a:pt x="139" y="395"/>
                    <a:pt x="181" y="413"/>
                    <a:pt x="233" y="415"/>
                  </a:cubicBezTo>
                  <a:cubicBezTo>
                    <a:pt x="284" y="413"/>
                    <a:pt x="327" y="395"/>
                    <a:pt x="361" y="361"/>
                  </a:cubicBezTo>
                  <a:cubicBezTo>
                    <a:pt x="395" y="327"/>
                    <a:pt x="413" y="284"/>
                    <a:pt x="415" y="233"/>
                  </a:cubicBezTo>
                  <a:cubicBezTo>
                    <a:pt x="413" y="181"/>
                    <a:pt x="395" y="139"/>
                    <a:pt x="361" y="105"/>
                  </a:cubicBezTo>
                  <a:cubicBezTo>
                    <a:pt x="327" y="71"/>
                    <a:pt x="284" y="53"/>
                    <a:pt x="233" y="51"/>
                  </a:cubicBezTo>
                  <a:cubicBezTo>
                    <a:pt x="181" y="53"/>
                    <a:pt x="139" y="71"/>
                    <a:pt x="105" y="105"/>
                  </a:cubicBezTo>
                  <a:close/>
                </a:path>
              </a:pathLst>
            </a:custGeom>
            <a:solidFill>
              <a:srgbClr val="64324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0" name="Freeform 11">
              <a:extLst>
                <a:ext uri="{FF2B5EF4-FFF2-40B4-BE49-F238E27FC236}">
                  <a16:creationId xmlns:a16="http://schemas.microsoft.com/office/drawing/2014/main" id="{22B49D46-EB69-2D2F-5779-1B6194A0B956}"/>
                </a:ext>
              </a:extLst>
            </p:cNvPr>
            <p:cNvSpPr>
              <a:spLocks noEditPoints="1"/>
            </p:cNvSpPr>
            <p:nvPr userDrawn="1"/>
          </p:nvSpPr>
          <p:spPr bwMode="auto">
            <a:xfrm>
              <a:off x="4230" y="2552"/>
              <a:ext cx="334" cy="551"/>
            </a:xfrm>
            <a:custGeom>
              <a:avLst/>
              <a:gdLst>
                <a:gd name="T0" fmla="*/ 0 w 334"/>
                <a:gd name="T1" fmla="*/ 0 h 551"/>
                <a:gd name="T2" fmla="*/ 334 w 334"/>
                <a:gd name="T3" fmla="*/ 0 h 551"/>
                <a:gd name="T4" fmla="*/ 334 w 334"/>
                <a:gd name="T5" fmla="*/ 31 h 551"/>
                <a:gd name="T6" fmla="*/ 0 w 334"/>
                <a:gd name="T7" fmla="*/ 31 h 551"/>
                <a:gd name="T8" fmla="*/ 0 w 334"/>
                <a:gd name="T9" fmla="*/ 0 h 551"/>
                <a:gd name="T10" fmla="*/ 156 w 334"/>
                <a:gd name="T11" fmla="*/ 50 h 551"/>
                <a:gd name="T12" fmla="*/ 156 w 334"/>
                <a:gd name="T13" fmla="*/ 551 h 551"/>
                <a:gd name="T14" fmla="*/ 128 w 334"/>
                <a:gd name="T15" fmla="*/ 551 h 551"/>
                <a:gd name="T16" fmla="*/ 128 w 334"/>
                <a:gd name="T17" fmla="*/ 79 h 551"/>
                <a:gd name="T18" fmla="*/ 0 w 334"/>
                <a:gd name="T19" fmla="*/ 79 h 551"/>
                <a:gd name="T20" fmla="*/ 0 w 334"/>
                <a:gd name="T21" fmla="*/ 50 h 551"/>
                <a:gd name="T22" fmla="*/ 156 w 334"/>
                <a:gd name="T23" fmla="*/ 50 h 551"/>
                <a:gd name="T24" fmla="*/ 334 w 334"/>
                <a:gd name="T25" fmla="*/ 50 h 551"/>
                <a:gd name="T26" fmla="*/ 334 w 334"/>
                <a:gd name="T27" fmla="*/ 79 h 551"/>
                <a:gd name="T28" fmla="*/ 206 w 334"/>
                <a:gd name="T29" fmla="*/ 79 h 551"/>
                <a:gd name="T30" fmla="*/ 206 w 334"/>
                <a:gd name="T31" fmla="*/ 551 h 551"/>
                <a:gd name="T32" fmla="*/ 175 w 334"/>
                <a:gd name="T33" fmla="*/ 551 h 551"/>
                <a:gd name="T34" fmla="*/ 175 w 334"/>
                <a:gd name="T35" fmla="*/ 50 h 551"/>
                <a:gd name="T36" fmla="*/ 334 w 334"/>
                <a:gd name="T37" fmla="*/ 50 h 5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34" h="551">
                  <a:moveTo>
                    <a:pt x="0" y="0"/>
                  </a:moveTo>
                  <a:lnTo>
                    <a:pt x="334" y="0"/>
                  </a:lnTo>
                  <a:lnTo>
                    <a:pt x="334" y="31"/>
                  </a:lnTo>
                  <a:lnTo>
                    <a:pt x="0" y="31"/>
                  </a:lnTo>
                  <a:lnTo>
                    <a:pt x="0" y="0"/>
                  </a:lnTo>
                  <a:close/>
                  <a:moveTo>
                    <a:pt x="156" y="50"/>
                  </a:moveTo>
                  <a:lnTo>
                    <a:pt x="156" y="551"/>
                  </a:lnTo>
                  <a:lnTo>
                    <a:pt x="128" y="551"/>
                  </a:lnTo>
                  <a:lnTo>
                    <a:pt x="128" y="79"/>
                  </a:lnTo>
                  <a:lnTo>
                    <a:pt x="0" y="79"/>
                  </a:lnTo>
                  <a:lnTo>
                    <a:pt x="0" y="50"/>
                  </a:lnTo>
                  <a:lnTo>
                    <a:pt x="156" y="50"/>
                  </a:lnTo>
                  <a:close/>
                  <a:moveTo>
                    <a:pt x="334" y="50"/>
                  </a:moveTo>
                  <a:lnTo>
                    <a:pt x="334" y="79"/>
                  </a:lnTo>
                  <a:lnTo>
                    <a:pt x="206" y="79"/>
                  </a:lnTo>
                  <a:lnTo>
                    <a:pt x="206" y="551"/>
                  </a:lnTo>
                  <a:lnTo>
                    <a:pt x="175" y="551"/>
                  </a:lnTo>
                  <a:lnTo>
                    <a:pt x="175" y="50"/>
                  </a:lnTo>
                  <a:lnTo>
                    <a:pt x="334" y="50"/>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1" name="Freeform 12">
              <a:extLst>
                <a:ext uri="{FF2B5EF4-FFF2-40B4-BE49-F238E27FC236}">
                  <a16:creationId xmlns:a16="http://schemas.microsoft.com/office/drawing/2014/main" id="{87ADEFEC-B191-48A8-70C7-950EAB042209}"/>
                </a:ext>
              </a:extLst>
            </p:cNvPr>
            <p:cNvSpPr>
              <a:spLocks noEditPoints="1"/>
            </p:cNvSpPr>
            <p:nvPr userDrawn="1"/>
          </p:nvSpPr>
          <p:spPr bwMode="auto">
            <a:xfrm>
              <a:off x="4599" y="2552"/>
              <a:ext cx="312" cy="551"/>
            </a:xfrm>
            <a:custGeom>
              <a:avLst/>
              <a:gdLst>
                <a:gd name="T0" fmla="*/ 295891719 w 132"/>
                <a:gd name="T1" fmla="*/ 0 h 232"/>
                <a:gd name="T2" fmla="*/ 295891719 w 132"/>
                <a:gd name="T3" fmla="*/ 31976658 h 232"/>
                <a:gd name="T4" fmla="*/ 111981461 w 132"/>
                <a:gd name="T5" fmla="*/ 31976658 h 232"/>
                <a:gd name="T6" fmla="*/ 51443210 w 132"/>
                <a:gd name="T7" fmla="*/ 58299493 h 232"/>
                <a:gd name="T8" fmla="*/ 26510905 w 132"/>
                <a:gd name="T9" fmla="*/ 122107630 h 232"/>
                <a:gd name="T10" fmla="*/ 26510905 w 132"/>
                <a:gd name="T11" fmla="*/ 442759715 h 232"/>
                <a:gd name="T12" fmla="*/ 51443210 w 132"/>
                <a:gd name="T13" fmla="*/ 508305993 h 232"/>
                <a:gd name="T14" fmla="*/ 111981461 w 132"/>
                <a:gd name="T15" fmla="*/ 535913430 h 232"/>
                <a:gd name="T16" fmla="*/ 295891719 w 132"/>
                <a:gd name="T17" fmla="*/ 535913430 h 232"/>
                <a:gd name="T18" fmla="*/ 295891719 w 132"/>
                <a:gd name="T19" fmla="*/ 564828430 h 232"/>
                <a:gd name="T20" fmla="*/ 111981461 w 132"/>
                <a:gd name="T21" fmla="*/ 564828430 h 232"/>
                <a:gd name="T22" fmla="*/ 33265636 w 132"/>
                <a:gd name="T23" fmla="*/ 527724589 h 232"/>
                <a:gd name="T24" fmla="*/ 0 w 132"/>
                <a:gd name="T25" fmla="*/ 442759715 h 232"/>
                <a:gd name="T26" fmla="*/ 0 w 132"/>
                <a:gd name="T27" fmla="*/ 122107630 h 232"/>
                <a:gd name="T28" fmla="*/ 33265636 w 132"/>
                <a:gd name="T29" fmla="*/ 37103839 h 232"/>
                <a:gd name="T30" fmla="*/ 111981461 w 132"/>
                <a:gd name="T31" fmla="*/ 0 h 232"/>
                <a:gd name="T32" fmla="*/ 295891719 w 132"/>
                <a:gd name="T33" fmla="*/ 0 h 232"/>
                <a:gd name="T34" fmla="*/ 47376772 w 132"/>
                <a:gd name="T35" fmla="*/ 122107630 h 232"/>
                <a:gd name="T36" fmla="*/ 65404189 w 132"/>
                <a:gd name="T37" fmla="*/ 70832843 h 232"/>
                <a:gd name="T38" fmla="*/ 111981461 w 132"/>
                <a:gd name="T39" fmla="*/ 51413739 h 232"/>
                <a:gd name="T40" fmla="*/ 295891719 w 132"/>
                <a:gd name="T41" fmla="*/ 51413739 h 232"/>
                <a:gd name="T42" fmla="*/ 295891719 w 132"/>
                <a:gd name="T43" fmla="*/ 79781492 h 232"/>
                <a:gd name="T44" fmla="*/ 111981461 w 132"/>
                <a:gd name="T45" fmla="*/ 79781492 h 232"/>
                <a:gd name="T46" fmla="*/ 85443339 w 132"/>
                <a:gd name="T47" fmla="*/ 92335711 h 232"/>
                <a:gd name="T48" fmla="*/ 73893437 w 132"/>
                <a:gd name="T49" fmla="*/ 122107630 h 232"/>
                <a:gd name="T50" fmla="*/ 73893437 w 132"/>
                <a:gd name="T51" fmla="*/ 202009418 h 232"/>
                <a:gd name="T52" fmla="*/ 295891719 w 132"/>
                <a:gd name="T53" fmla="*/ 202009418 h 232"/>
                <a:gd name="T54" fmla="*/ 295891719 w 132"/>
                <a:gd name="T55" fmla="*/ 233836064 h 232"/>
                <a:gd name="T56" fmla="*/ 47376772 w 132"/>
                <a:gd name="T57" fmla="*/ 233836064 h 232"/>
                <a:gd name="T58" fmla="*/ 47376772 w 132"/>
                <a:gd name="T59" fmla="*/ 122107630 h 232"/>
                <a:gd name="T60" fmla="*/ 47376772 w 132"/>
                <a:gd name="T61" fmla="*/ 253283286 h 232"/>
                <a:gd name="T62" fmla="*/ 295891719 w 132"/>
                <a:gd name="T63" fmla="*/ 253283286 h 232"/>
                <a:gd name="T64" fmla="*/ 295891719 w 132"/>
                <a:gd name="T65" fmla="*/ 283050061 h 232"/>
                <a:gd name="T66" fmla="*/ 73893437 w 132"/>
                <a:gd name="T67" fmla="*/ 283050061 h 232"/>
                <a:gd name="T68" fmla="*/ 73893437 w 132"/>
                <a:gd name="T69" fmla="*/ 442759715 h 232"/>
                <a:gd name="T70" fmla="*/ 85443339 w 132"/>
                <a:gd name="T71" fmla="*/ 472485538 h 232"/>
                <a:gd name="T72" fmla="*/ 111981461 w 132"/>
                <a:gd name="T73" fmla="*/ 484506888 h 232"/>
                <a:gd name="T74" fmla="*/ 295891719 w 132"/>
                <a:gd name="T75" fmla="*/ 484506888 h 232"/>
                <a:gd name="T76" fmla="*/ 295891719 w 132"/>
                <a:gd name="T77" fmla="*/ 513431020 h 232"/>
                <a:gd name="T78" fmla="*/ 111981461 w 132"/>
                <a:gd name="T79" fmla="*/ 513431020 h 232"/>
                <a:gd name="T80" fmla="*/ 65404189 w 132"/>
                <a:gd name="T81" fmla="*/ 494012295 h 232"/>
                <a:gd name="T82" fmla="*/ 47376772 w 132"/>
                <a:gd name="T83" fmla="*/ 442759715 h 232"/>
                <a:gd name="T84" fmla="*/ 47376772 w 132"/>
                <a:gd name="T85" fmla="*/ 253283286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132" y="0"/>
                  </a:moveTo>
                  <a:cubicBezTo>
                    <a:pt x="132" y="13"/>
                    <a:pt x="132" y="13"/>
                    <a:pt x="132" y="13"/>
                  </a:cubicBezTo>
                  <a:cubicBezTo>
                    <a:pt x="50" y="13"/>
                    <a:pt x="50" y="13"/>
                    <a:pt x="50" y="13"/>
                  </a:cubicBezTo>
                  <a:cubicBezTo>
                    <a:pt x="39" y="13"/>
                    <a:pt x="31" y="16"/>
                    <a:pt x="23" y="24"/>
                  </a:cubicBezTo>
                  <a:cubicBezTo>
                    <a:pt x="16" y="31"/>
                    <a:pt x="12" y="40"/>
                    <a:pt x="12" y="50"/>
                  </a:cubicBezTo>
                  <a:cubicBezTo>
                    <a:pt x="12" y="182"/>
                    <a:pt x="12" y="182"/>
                    <a:pt x="12" y="182"/>
                  </a:cubicBezTo>
                  <a:cubicBezTo>
                    <a:pt x="12" y="193"/>
                    <a:pt x="16" y="201"/>
                    <a:pt x="23" y="209"/>
                  </a:cubicBezTo>
                  <a:cubicBezTo>
                    <a:pt x="31" y="216"/>
                    <a:pt x="39" y="220"/>
                    <a:pt x="50" y="220"/>
                  </a:cubicBezTo>
                  <a:cubicBezTo>
                    <a:pt x="132" y="220"/>
                    <a:pt x="132" y="220"/>
                    <a:pt x="132" y="220"/>
                  </a:cubicBezTo>
                  <a:cubicBezTo>
                    <a:pt x="132" y="232"/>
                    <a:pt x="132" y="232"/>
                    <a:pt x="132" y="232"/>
                  </a:cubicBezTo>
                  <a:cubicBezTo>
                    <a:pt x="50" y="232"/>
                    <a:pt x="50" y="232"/>
                    <a:pt x="50" y="232"/>
                  </a:cubicBezTo>
                  <a:cubicBezTo>
                    <a:pt x="36" y="232"/>
                    <a:pt x="24" y="227"/>
                    <a:pt x="15" y="217"/>
                  </a:cubicBezTo>
                  <a:cubicBezTo>
                    <a:pt x="5" y="208"/>
                    <a:pt x="0" y="196"/>
                    <a:pt x="0" y="182"/>
                  </a:cubicBezTo>
                  <a:cubicBezTo>
                    <a:pt x="0" y="50"/>
                    <a:pt x="0" y="50"/>
                    <a:pt x="0" y="50"/>
                  </a:cubicBezTo>
                  <a:cubicBezTo>
                    <a:pt x="0" y="36"/>
                    <a:pt x="5" y="25"/>
                    <a:pt x="15" y="15"/>
                  </a:cubicBezTo>
                  <a:cubicBezTo>
                    <a:pt x="24" y="5"/>
                    <a:pt x="36" y="0"/>
                    <a:pt x="50" y="0"/>
                  </a:cubicBezTo>
                  <a:lnTo>
                    <a:pt x="132" y="0"/>
                  </a:lnTo>
                  <a:close/>
                  <a:moveTo>
                    <a:pt x="21" y="50"/>
                  </a:moveTo>
                  <a:cubicBezTo>
                    <a:pt x="21" y="42"/>
                    <a:pt x="24" y="35"/>
                    <a:pt x="29" y="29"/>
                  </a:cubicBezTo>
                  <a:cubicBezTo>
                    <a:pt x="35" y="24"/>
                    <a:pt x="42" y="21"/>
                    <a:pt x="50" y="21"/>
                  </a:cubicBezTo>
                  <a:cubicBezTo>
                    <a:pt x="132" y="21"/>
                    <a:pt x="132" y="21"/>
                    <a:pt x="132" y="21"/>
                  </a:cubicBezTo>
                  <a:cubicBezTo>
                    <a:pt x="132" y="33"/>
                    <a:pt x="132" y="33"/>
                    <a:pt x="132" y="33"/>
                  </a:cubicBezTo>
                  <a:cubicBezTo>
                    <a:pt x="50" y="33"/>
                    <a:pt x="50" y="33"/>
                    <a:pt x="50" y="33"/>
                  </a:cubicBezTo>
                  <a:cubicBezTo>
                    <a:pt x="45" y="33"/>
                    <a:pt x="41" y="35"/>
                    <a:pt x="38" y="38"/>
                  </a:cubicBezTo>
                  <a:cubicBezTo>
                    <a:pt x="35" y="42"/>
                    <a:pt x="33" y="45"/>
                    <a:pt x="33" y="50"/>
                  </a:cubicBezTo>
                  <a:cubicBezTo>
                    <a:pt x="33" y="83"/>
                    <a:pt x="33" y="83"/>
                    <a:pt x="33" y="83"/>
                  </a:cubicBezTo>
                  <a:cubicBezTo>
                    <a:pt x="132" y="83"/>
                    <a:pt x="132" y="83"/>
                    <a:pt x="132" y="83"/>
                  </a:cubicBezTo>
                  <a:cubicBezTo>
                    <a:pt x="132" y="96"/>
                    <a:pt x="132" y="96"/>
                    <a:pt x="132" y="96"/>
                  </a:cubicBezTo>
                  <a:cubicBezTo>
                    <a:pt x="21" y="96"/>
                    <a:pt x="21" y="96"/>
                    <a:pt x="21" y="96"/>
                  </a:cubicBezTo>
                  <a:lnTo>
                    <a:pt x="21" y="50"/>
                  </a:lnTo>
                  <a:close/>
                  <a:moveTo>
                    <a:pt x="21" y="104"/>
                  </a:moveTo>
                  <a:cubicBezTo>
                    <a:pt x="132" y="104"/>
                    <a:pt x="132" y="104"/>
                    <a:pt x="132" y="104"/>
                  </a:cubicBezTo>
                  <a:cubicBezTo>
                    <a:pt x="132" y="116"/>
                    <a:pt x="132" y="116"/>
                    <a:pt x="132" y="116"/>
                  </a:cubicBezTo>
                  <a:cubicBezTo>
                    <a:pt x="33" y="116"/>
                    <a:pt x="33" y="116"/>
                    <a:pt x="33" y="116"/>
                  </a:cubicBezTo>
                  <a:cubicBezTo>
                    <a:pt x="33" y="182"/>
                    <a:pt x="33" y="182"/>
                    <a:pt x="33" y="182"/>
                  </a:cubicBezTo>
                  <a:cubicBezTo>
                    <a:pt x="33" y="187"/>
                    <a:pt x="35" y="191"/>
                    <a:pt x="38" y="194"/>
                  </a:cubicBezTo>
                  <a:cubicBezTo>
                    <a:pt x="41" y="197"/>
                    <a:pt x="45" y="199"/>
                    <a:pt x="50" y="199"/>
                  </a:cubicBezTo>
                  <a:cubicBezTo>
                    <a:pt x="132" y="199"/>
                    <a:pt x="132" y="199"/>
                    <a:pt x="132" y="199"/>
                  </a:cubicBezTo>
                  <a:cubicBezTo>
                    <a:pt x="132" y="211"/>
                    <a:pt x="132" y="211"/>
                    <a:pt x="132" y="211"/>
                  </a:cubicBezTo>
                  <a:cubicBezTo>
                    <a:pt x="50" y="211"/>
                    <a:pt x="50" y="211"/>
                    <a:pt x="50" y="211"/>
                  </a:cubicBezTo>
                  <a:cubicBezTo>
                    <a:pt x="42" y="211"/>
                    <a:pt x="35" y="209"/>
                    <a:pt x="29" y="203"/>
                  </a:cubicBezTo>
                  <a:cubicBezTo>
                    <a:pt x="24" y="197"/>
                    <a:pt x="21" y="190"/>
                    <a:pt x="21" y="182"/>
                  </a:cubicBezTo>
                  <a:lnTo>
                    <a:pt x="21" y="104"/>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13">
              <a:extLst>
                <a:ext uri="{FF2B5EF4-FFF2-40B4-BE49-F238E27FC236}">
                  <a16:creationId xmlns:a16="http://schemas.microsoft.com/office/drawing/2014/main" id="{042B2BF0-5DC9-304D-D395-AFD1992FE006}"/>
                </a:ext>
              </a:extLst>
            </p:cNvPr>
            <p:cNvSpPr>
              <a:spLocks noEditPoints="1"/>
            </p:cNvSpPr>
            <p:nvPr userDrawn="1"/>
          </p:nvSpPr>
          <p:spPr bwMode="auto">
            <a:xfrm>
              <a:off x="4958" y="2552"/>
              <a:ext cx="391" cy="551"/>
            </a:xfrm>
            <a:custGeom>
              <a:avLst/>
              <a:gdLst>
                <a:gd name="T0" fmla="*/ 309548631 w 165"/>
                <a:gd name="T1" fmla="*/ 0 h 232"/>
                <a:gd name="T2" fmla="*/ 363029971 w 165"/>
                <a:gd name="T3" fmla="*/ 24547155 h 232"/>
                <a:gd name="T4" fmla="*/ 386832786 w 165"/>
                <a:gd name="T5" fmla="*/ 79781492 h 232"/>
                <a:gd name="T6" fmla="*/ 386832786 w 165"/>
                <a:gd name="T7" fmla="*/ 564828430 h 232"/>
                <a:gd name="T8" fmla="*/ 358797870 w 165"/>
                <a:gd name="T9" fmla="*/ 564828430 h 232"/>
                <a:gd name="T10" fmla="*/ 358797870 w 165"/>
                <a:gd name="T11" fmla="*/ 79781492 h 232"/>
                <a:gd name="T12" fmla="*/ 344252405 w 165"/>
                <a:gd name="T13" fmla="*/ 46120372 h 232"/>
                <a:gd name="T14" fmla="*/ 309548631 w 165"/>
                <a:gd name="T15" fmla="*/ 31976658 h 232"/>
                <a:gd name="T16" fmla="*/ 77129169 w 165"/>
                <a:gd name="T17" fmla="*/ 31976658 h 232"/>
                <a:gd name="T18" fmla="*/ 42581549 w 165"/>
                <a:gd name="T19" fmla="*/ 46120372 h 232"/>
                <a:gd name="T20" fmla="*/ 27493911 w 165"/>
                <a:gd name="T21" fmla="*/ 79781492 h 232"/>
                <a:gd name="T22" fmla="*/ 27493911 w 165"/>
                <a:gd name="T23" fmla="*/ 564828430 h 232"/>
                <a:gd name="T24" fmla="*/ 0 w 165"/>
                <a:gd name="T25" fmla="*/ 564828430 h 232"/>
                <a:gd name="T26" fmla="*/ 0 w 165"/>
                <a:gd name="T27" fmla="*/ 79781492 h 232"/>
                <a:gd name="T28" fmla="*/ 20815816 w 165"/>
                <a:gd name="T29" fmla="*/ 24547155 h 232"/>
                <a:gd name="T30" fmla="*/ 77129169 w 165"/>
                <a:gd name="T31" fmla="*/ 0 h 232"/>
                <a:gd name="T32" fmla="*/ 309548631 w 165"/>
                <a:gd name="T33" fmla="*/ 0 h 232"/>
                <a:gd name="T34" fmla="*/ 182772758 w 165"/>
                <a:gd name="T35" fmla="*/ 51413739 h 232"/>
                <a:gd name="T36" fmla="*/ 182772758 w 165"/>
                <a:gd name="T37" fmla="*/ 263208180 h 232"/>
                <a:gd name="T38" fmla="*/ 154391061 w 165"/>
                <a:gd name="T39" fmla="*/ 263208180 h 232"/>
                <a:gd name="T40" fmla="*/ 154391061 w 165"/>
                <a:gd name="T41" fmla="*/ 79781492 h 232"/>
                <a:gd name="T42" fmla="*/ 77129169 w 165"/>
                <a:gd name="T43" fmla="*/ 79781492 h 232"/>
                <a:gd name="T44" fmla="*/ 77129169 w 165"/>
                <a:gd name="T45" fmla="*/ 564828430 h 232"/>
                <a:gd name="T46" fmla="*/ 46283478 w 165"/>
                <a:gd name="T47" fmla="*/ 564828430 h 232"/>
                <a:gd name="T48" fmla="*/ 46283478 w 165"/>
                <a:gd name="T49" fmla="*/ 79781492 h 232"/>
                <a:gd name="T50" fmla="*/ 56311393 w 165"/>
                <a:gd name="T51" fmla="*/ 60526659 h 232"/>
                <a:gd name="T52" fmla="*/ 77129169 w 165"/>
                <a:gd name="T53" fmla="*/ 51413739 h 232"/>
                <a:gd name="T54" fmla="*/ 182772758 w 165"/>
                <a:gd name="T55" fmla="*/ 51413739 h 232"/>
                <a:gd name="T56" fmla="*/ 309548631 w 165"/>
                <a:gd name="T57" fmla="*/ 51413739 h 232"/>
                <a:gd name="T58" fmla="*/ 329989272 w 165"/>
                <a:gd name="T59" fmla="*/ 60526659 h 232"/>
                <a:gd name="T60" fmla="*/ 337199511 w 165"/>
                <a:gd name="T61" fmla="*/ 79781492 h 232"/>
                <a:gd name="T62" fmla="*/ 337199511 w 165"/>
                <a:gd name="T63" fmla="*/ 564828430 h 232"/>
                <a:gd name="T64" fmla="*/ 309548631 w 165"/>
                <a:gd name="T65" fmla="*/ 564828430 h 232"/>
                <a:gd name="T66" fmla="*/ 309548631 w 165"/>
                <a:gd name="T67" fmla="*/ 79781492 h 232"/>
                <a:gd name="T68" fmla="*/ 232402284 w 165"/>
                <a:gd name="T69" fmla="*/ 79781492 h 232"/>
                <a:gd name="T70" fmla="*/ 232402284 w 165"/>
                <a:gd name="T71" fmla="*/ 263208180 h 232"/>
                <a:gd name="T72" fmla="*/ 203534936 w 165"/>
                <a:gd name="T73" fmla="*/ 263208180 h 232"/>
                <a:gd name="T74" fmla="*/ 203534936 w 165"/>
                <a:gd name="T75" fmla="*/ 51413739 h 232"/>
                <a:gd name="T76" fmla="*/ 309548631 w 165"/>
                <a:gd name="T77" fmla="*/ 51413739 h 23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65" h="232">
                  <a:moveTo>
                    <a:pt x="132" y="0"/>
                  </a:moveTo>
                  <a:cubicBezTo>
                    <a:pt x="141" y="0"/>
                    <a:pt x="149" y="4"/>
                    <a:pt x="155" y="10"/>
                  </a:cubicBezTo>
                  <a:cubicBezTo>
                    <a:pt x="162" y="16"/>
                    <a:pt x="165" y="24"/>
                    <a:pt x="165" y="33"/>
                  </a:cubicBezTo>
                  <a:cubicBezTo>
                    <a:pt x="165" y="232"/>
                    <a:pt x="165" y="232"/>
                    <a:pt x="165" y="232"/>
                  </a:cubicBezTo>
                  <a:cubicBezTo>
                    <a:pt x="153" y="232"/>
                    <a:pt x="153" y="232"/>
                    <a:pt x="153" y="232"/>
                  </a:cubicBezTo>
                  <a:cubicBezTo>
                    <a:pt x="153" y="33"/>
                    <a:pt x="153" y="33"/>
                    <a:pt x="153" y="33"/>
                  </a:cubicBezTo>
                  <a:cubicBezTo>
                    <a:pt x="153" y="28"/>
                    <a:pt x="151" y="23"/>
                    <a:pt x="147" y="19"/>
                  </a:cubicBezTo>
                  <a:cubicBezTo>
                    <a:pt x="143" y="15"/>
                    <a:pt x="138" y="13"/>
                    <a:pt x="132" y="13"/>
                  </a:cubicBezTo>
                  <a:cubicBezTo>
                    <a:pt x="33" y="13"/>
                    <a:pt x="33" y="13"/>
                    <a:pt x="33" y="13"/>
                  </a:cubicBezTo>
                  <a:cubicBezTo>
                    <a:pt x="27" y="13"/>
                    <a:pt x="22" y="15"/>
                    <a:pt x="18" y="19"/>
                  </a:cubicBezTo>
                  <a:cubicBezTo>
                    <a:pt x="14" y="23"/>
                    <a:pt x="12" y="28"/>
                    <a:pt x="12" y="33"/>
                  </a:cubicBezTo>
                  <a:cubicBezTo>
                    <a:pt x="12" y="232"/>
                    <a:pt x="12" y="232"/>
                    <a:pt x="12" y="232"/>
                  </a:cubicBezTo>
                  <a:cubicBezTo>
                    <a:pt x="0" y="232"/>
                    <a:pt x="0" y="232"/>
                    <a:pt x="0" y="232"/>
                  </a:cubicBezTo>
                  <a:cubicBezTo>
                    <a:pt x="0" y="33"/>
                    <a:pt x="0" y="33"/>
                    <a:pt x="0" y="33"/>
                  </a:cubicBezTo>
                  <a:cubicBezTo>
                    <a:pt x="0" y="24"/>
                    <a:pt x="3" y="16"/>
                    <a:pt x="9" y="10"/>
                  </a:cubicBezTo>
                  <a:cubicBezTo>
                    <a:pt x="16" y="4"/>
                    <a:pt x="24" y="0"/>
                    <a:pt x="33" y="0"/>
                  </a:cubicBezTo>
                  <a:lnTo>
                    <a:pt x="132" y="0"/>
                  </a:lnTo>
                  <a:close/>
                  <a:moveTo>
                    <a:pt x="78" y="21"/>
                  </a:moveTo>
                  <a:cubicBezTo>
                    <a:pt x="78" y="108"/>
                    <a:pt x="78" y="108"/>
                    <a:pt x="78" y="108"/>
                  </a:cubicBezTo>
                  <a:cubicBezTo>
                    <a:pt x="66" y="108"/>
                    <a:pt x="66" y="108"/>
                    <a:pt x="66" y="108"/>
                  </a:cubicBezTo>
                  <a:cubicBezTo>
                    <a:pt x="66" y="33"/>
                    <a:pt x="66" y="33"/>
                    <a:pt x="66" y="33"/>
                  </a:cubicBezTo>
                  <a:cubicBezTo>
                    <a:pt x="33" y="33"/>
                    <a:pt x="33" y="33"/>
                    <a:pt x="33" y="33"/>
                  </a:cubicBezTo>
                  <a:cubicBezTo>
                    <a:pt x="33" y="232"/>
                    <a:pt x="33" y="232"/>
                    <a:pt x="33" y="232"/>
                  </a:cubicBezTo>
                  <a:cubicBezTo>
                    <a:pt x="20" y="232"/>
                    <a:pt x="20" y="232"/>
                    <a:pt x="20" y="232"/>
                  </a:cubicBezTo>
                  <a:cubicBezTo>
                    <a:pt x="20" y="33"/>
                    <a:pt x="20" y="33"/>
                    <a:pt x="20" y="33"/>
                  </a:cubicBezTo>
                  <a:cubicBezTo>
                    <a:pt x="20" y="30"/>
                    <a:pt x="21" y="27"/>
                    <a:pt x="24" y="25"/>
                  </a:cubicBezTo>
                  <a:cubicBezTo>
                    <a:pt x="26" y="22"/>
                    <a:pt x="29" y="21"/>
                    <a:pt x="33" y="21"/>
                  </a:cubicBezTo>
                  <a:lnTo>
                    <a:pt x="78" y="21"/>
                  </a:lnTo>
                  <a:close/>
                  <a:moveTo>
                    <a:pt x="132" y="21"/>
                  </a:moveTo>
                  <a:cubicBezTo>
                    <a:pt x="135" y="21"/>
                    <a:pt x="138" y="22"/>
                    <a:pt x="141" y="25"/>
                  </a:cubicBezTo>
                  <a:cubicBezTo>
                    <a:pt x="143" y="27"/>
                    <a:pt x="144" y="30"/>
                    <a:pt x="144" y="33"/>
                  </a:cubicBezTo>
                  <a:cubicBezTo>
                    <a:pt x="144" y="232"/>
                    <a:pt x="144" y="232"/>
                    <a:pt x="144" y="232"/>
                  </a:cubicBezTo>
                  <a:cubicBezTo>
                    <a:pt x="132" y="232"/>
                    <a:pt x="132" y="232"/>
                    <a:pt x="132" y="232"/>
                  </a:cubicBezTo>
                  <a:cubicBezTo>
                    <a:pt x="132" y="33"/>
                    <a:pt x="132" y="33"/>
                    <a:pt x="132" y="33"/>
                  </a:cubicBezTo>
                  <a:cubicBezTo>
                    <a:pt x="99" y="33"/>
                    <a:pt x="99" y="33"/>
                    <a:pt x="99" y="33"/>
                  </a:cubicBezTo>
                  <a:cubicBezTo>
                    <a:pt x="99" y="108"/>
                    <a:pt x="99" y="108"/>
                    <a:pt x="99" y="108"/>
                  </a:cubicBezTo>
                  <a:cubicBezTo>
                    <a:pt x="87" y="108"/>
                    <a:pt x="87" y="108"/>
                    <a:pt x="87" y="108"/>
                  </a:cubicBezTo>
                  <a:cubicBezTo>
                    <a:pt x="87" y="21"/>
                    <a:pt x="87" y="21"/>
                    <a:pt x="87" y="21"/>
                  </a:cubicBezTo>
                  <a:lnTo>
                    <a:pt x="132" y="21"/>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3" name="Freeform 14">
              <a:extLst>
                <a:ext uri="{FF2B5EF4-FFF2-40B4-BE49-F238E27FC236}">
                  <a16:creationId xmlns:a16="http://schemas.microsoft.com/office/drawing/2014/main" id="{E9A8CCE9-02BB-9626-72D1-C7576428ED96}"/>
                </a:ext>
              </a:extLst>
            </p:cNvPr>
            <p:cNvSpPr>
              <a:spLocks noEditPoints="1"/>
            </p:cNvSpPr>
            <p:nvPr userDrawn="1"/>
          </p:nvSpPr>
          <p:spPr bwMode="auto">
            <a:xfrm>
              <a:off x="5412" y="2552"/>
              <a:ext cx="313" cy="551"/>
            </a:xfrm>
            <a:custGeom>
              <a:avLst/>
              <a:gdLst>
                <a:gd name="T0" fmla="*/ 234667157 w 132"/>
                <a:gd name="T1" fmla="*/ 0 h 232"/>
                <a:gd name="T2" fmla="*/ 291517195 w 132"/>
                <a:gd name="T3" fmla="*/ 24547155 h 232"/>
                <a:gd name="T4" fmla="*/ 312488786 w 132"/>
                <a:gd name="T5" fmla="*/ 79781492 h 232"/>
                <a:gd name="T6" fmla="*/ 312488786 w 132"/>
                <a:gd name="T7" fmla="*/ 202009418 h 232"/>
                <a:gd name="T8" fmla="*/ 291517195 w 132"/>
                <a:gd name="T9" fmla="*/ 258572736 h 232"/>
                <a:gd name="T10" fmla="*/ 234667157 w 132"/>
                <a:gd name="T11" fmla="*/ 283050061 h 232"/>
                <a:gd name="T12" fmla="*/ 77977488 w 132"/>
                <a:gd name="T13" fmla="*/ 283050061 h 232"/>
                <a:gd name="T14" fmla="*/ 77977488 w 132"/>
                <a:gd name="T15" fmla="*/ 564828430 h 232"/>
                <a:gd name="T16" fmla="*/ 46760663 w 132"/>
                <a:gd name="T17" fmla="*/ 564828430 h 232"/>
                <a:gd name="T18" fmla="*/ 46760663 w 132"/>
                <a:gd name="T19" fmla="*/ 253283286 h 232"/>
                <a:gd name="T20" fmla="*/ 234667157 w 132"/>
                <a:gd name="T21" fmla="*/ 253283286 h 232"/>
                <a:gd name="T22" fmla="*/ 269717845 w 132"/>
                <a:gd name="T23" fmla="*/ 238499835 h 232"/>
                <a:gd name="T24" fmla="*/ 284788810 w 132"/>
                <a:gd name="T25" fmla="*/ 202009418 h 232"/>
                <a:gd name="T26" fmla="*/ 284788810 w 132"/>
                <a:gd name="T27" fmla="*/ 79781492 h 232"/>
                <a:gd name="T28" fmla="*/ 269717845 w 132"/>
                <a:gd name="T29" fmla="*/ 46120372 h 232"/>
                <a:gd name="T30" fmla="*/ 234667157 w 132"/>
                <a:gd name="T31" fmla="*/ 31976658 h 232"/>
                <a:gd name="T32" fmla="*/ 115836743 w 132"/>
                <a:gd name="T33" fmla="*/ 31976658 h 232"/>
                <a:gd name="T34" fmla="*/ 54699961 w 132"/>
                <a:gd name="T35" fmla="*/ 58299493 h 232"/>
                <a:gd name="T36" fmla="*/ 27860863 w 132"/>
                <a:gd name="T37" fmla="*/ 122107630 h 232"/>
                <a:gd name="T38" fmla="*/ 27860863 w 132"/>
                <a:gd name="T39" fmla="*/ 564828430 h 232"/>
                <a:gd name="T40" fmla="*/ 0 w 132"/>
                <a:gd name="T41" fmla="*/ 564828430 h 232"/>
                <a:gd name="T42" fmla="*/ 0 w 132"/>
                <a:gd name="T43" fmla="*/ 122107630 h 232"/>
                <a:gd name="T44" fmla="*/ 32885075 w 132"/>
                <a:gd name="T45" fmla="*/ 37103839 h 232"/>
                <a:gd name="T46" fmla="*/ 115836743 w 132"/>
                <a:gd name="T47" fmla="*/ 0 h 232"/>
                <a:gd name="T48" fmla="*/ 234667157 w 132"/>
                <a:gd name="T49" fmla="*/ 0 h 232"/>
                <a:gd name="T50" fmla="*/ 262918698 w 132"/>
                <a:gd name="T51" fmla="*/ 202009418 h 232"/>
                <a:gd name="T52" fmla="*/ 255645496 w 132"/>
                <a:gd name="T53" fmla="*/ 224358826 h 232"/>
                <a:gd name="T54" fmla="*/ 234667157 w 132"/>
                <a:gd name="T55" fmla="*/ 233836064 h 232"/>
                <a:gd name="T56" fmla="*/ 46760663 w 132"/>
                <a:gd name="T57" fmla="*/ 233836064 h 232"/>
                <a:gd name="T58" fmla="*/ 46760663 w 132"/>
                <a:gd name="T59" fmla="*/ 122107630 h 232"/>
                <a:gd name="T60" fmla="*/ 69064519 w 132"/>
                <a:gd name="T61" fmla="*/ 70832843 h 232"/>
                <a:gd name="T62" fmla="*/ 115836743 w 132"/>
                <a:gd name="T63" fmla="*/ 51413739 h 232"/>
                <a:gd name="T64" fmla="*/ 234667157 w 132"/>
                <a:gd name="T65" fmla="*/ 51413739 h 232"/>
                <a:gd name="T66" fmla="*/ 255645496 w 132"/>
                <a:gd name="T67" fmla="*/ 60526659 h 232"/>
                <a:gd name="T68" fmla="*/ 262918698 w 132"/>
                <a:gd name="T69" fmla="*/ 79781492 h 232"/>
                <a:gd name="T70" fmla="*/ 262918698 w 132"/>
                <a:gd name="T71" fmla="*/ 202009418 h 232"/>
                <a:gd name="T72" fmla="*/ 77977488 w 132"/>
                <a:gd name="T73" fmla="*/ 202009418 h 232"/>
                <a:gd name="T74" fmla="*/ 234667157 w 132"/>
                <a:gd name="T75" fmla="*/ 202009418 h 232"/>
                <a:gd name="T76" fmla="*/ 234667157 w 132"/>
                <a:gd name="T77" fmla="*/ 79781492 h 232"/>
                <a:gd name="T78" fmla="*/ 115836743 w 132"/>
                <a:gd name="T79" fmla="*/ 79781492 h 232"/>
                <a:gd name="T80" fmla="*/ 89678239 w 132"/>
                <a:gd name="T81" fmla="*/ 92335711 h 232"/>
                <a:gd name="T82" fmla="*/ 77977488 w 132"/>
                <a:gd name="T83" fmla="*/ 122107630 h 232"/>
                <a:gd name="T84" fmla="*/ 77977488 w 132"/>
                <a:gd name="T85" fmla="*/ 202009418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99" y="0"/>
                  </a:moveTo>
                  <a:cubicBezTo>
                    <a:pt x="108" y="0"/>
                    <a:pt x="116" y="4"/>
                    <a:pt x="123" y="10"/>
                  </a:cubicBezTo>
                  <a:cubicBezTo>
                    <a:pt x="129" y="16"/>
                    <a:pt x="132" y="24"/>
                    <a:pt x="132" y="33"/>
                  </a:cubicBezTo>
                  <a:cubicBezTo>
                    <a:pt x="132" y="83"/>
                    <a:pt x="132" y="83"/>
                    <a:pt x="132" y="83"/>
                  </a:cubicBezTo>
                  <a:cubicBezTo>
                    <a:pt x="132" y="92"/>
                    <a:pt x="129" y="100"/>
                    <a:pt x="123" y="106"/>
                  </a:cubicBezTo>
                  <a:cubicBezTo>
                    <a:pt x="116" y="113"/>
                    <a:pt x="108" y="116"/>
                    <a:pt x="99" y="116"/>
                  </a:cubicBezTo>
                  <a:cubicBezTo>
                    <a:pt x="33" y="116"/>
                    <a:pt x="33" y="116"/>
                    <a:pt x="33" y="116"/>
                  </a:cubicBezTo>
                  <a:cubicBezTo>
                    <a:pt x="33" y="232"/>
                    <a:pt x="33" y="232"/>
                    <a:pt x="33" y="232"/>
                  </a:cubicBezTo>
                  <a:cubicBezTo>
                    <a:pt x="20" y="232"/>
                    <a:pt x="20" y="232"/>
                    <a:pt x="20" y="232"/>
                  </a:cubicBezTo>
                  <a:cubicBezTo>
                    <a:pt x="20" y="104"/>
                    <a:pt x="20" y="104"/>
                    <a:pt x="20" y="104"/>
                  </a:cubicBezTo>
                  <a:cubicBezTo>
                    <a:pt x="99" y="104"/>
                    <a:pt x="99" y="104"/>
                    <a:pt x="99" y="104"/>
                  </a:cubicBezTo>
                  <a:cubicBezTo>
                    <a:pt x="105" y="104"/>
                    <a:pt x="110" y="102"/>
                    <a:pt x="114" y="98"/>
                  </a:cubicBezTo>
                  <a:cubicBezTo>
                    <a:pt x="118" y="94"/>
                    <a:pt x="120" y="89"/>
                    <a:pt x="120" y="83"/>
                  </a:cubicBezTo>
                  <a:cubicBezTo>
                    <a:pt x="120" y="33"/>
                    <a:pt x="120" y="33"/>
                    <a:pt x="120" y="33"/>
                  </a:cubicBezTo>
                  <a:cubicBezTo>
                    <a:pt x="120" y="28"/>
                    <a:pt x="118" y="23"/>
                    <a:pt x="114" y="19"/>
                  </a:cubicBezTo>
                  <a:cubicBezTo>
                    <a:pt x="110" y="15"/>
                    <a:pt x="105" y="13"/>
                    <a:pt x="99" y="13"/>
                  </a:cubicBezTo>
                  <a:cubicBezTo>
                    <a:pt x="49" y="13"/>
                    <a:pt x="49" y="13"/>
                    <a:pt x="49" y="13"/>
                  </a:cubicBezTo>
                  <a:cubicBezTo>
                    <a:pt x="39" y="13"/>
                    <a:pt x="30" y="16"/>
                    <a:pt x="23" y="24"/>
                  </a:cubicBezTo>
                  <a:cubicBezTo>
                    <a:pt x="16" y="31"/>
                    <a:pt x="12" y="40"/>
                    <a:pt x="12" y="50"/>
                  </a:cubicBezTo>
                  <a:cubicBezTo>
                    <a:pt x="12" y="232"/>
                    <a:pt x="12" y="232"/>
                    <a:pt x="12" y="232"/>
                  </a:cubicBezTo>
                  <a:cubicBezTo>
                    <a:pt x="0" y="232"/>
                    <a:pt x="0" y="232"/>
                    <a:pt x="0" y="232"/>
                  </a:cubicBezTo>
                  <a:cubicBezTo>
                    <a:pt x="0" y="50"/>
                    <a:pt x="0" y="50"/>
                    <a:pt x="0" y="50"/>
                  </a:cubicBezTo>
                  <a:cubicBezTo>
                    <a:pt x="0" y="36"/>
                    <a:pt x="5" y="25"/>
                    <a:pt x="14" y="15"/>
                  </a:cubicBezTo>
                  <a:cubicBezTo>
                    <a:pt x="24" y="5"/>
                    <a:pt x="36" y="0"/>
                    <a:pt x="49" y="0"/>
                  </a:cubicBezTo>
                  <a:lnTo>
                    <a:pt x="99" y="0"/>
                  </a:lnTo>
                  <a:close/>
                  <a:moveTo>
                    <a:pt x="111" y="83"/>
                  </a:moveTo>
                  <a:cubicBezTo>
                    <a:pt x="111" y="87"/>
                    <a:pt x="110" y="89"/>
                    <a:pt x="108" y="92"/>
                  </a:cubicBezTo>
                  <a:cubicBezTo>
                    <a:pt x="105" y="94"/>
                    <a:pt x="102" y="96"/>
                    <a:pt x="99" y="96"/>
                  </a:cubicBezTo>
                  <a:cubicBezTo>
                    <a:pt x="20" y="96"/>
                    <a:pt x="20" y="96"/>
                    <a:pt x="20" y="96"/>
                  </a:cubicBezTo>
                  <a:cubicBezTo>
                    <a:pt x="20" y="50"/>
                    <a:pt x="20" y="50"/>
                    <a:pt x="20" y="50"/>
                  </a:cubicBezTo>
                  <a:cubicBezTo>
                    <a:pt x="20" y="42"/>
                    <a:pt x="23" y="35"/>
                    <a:pt x="29" y="29"/>
                  </a:cubicBezTo>
                  <a:cubicBezTo>
                    <a:pt x="35" y="24"/>
                    <a:pt x="41" y="21"/>
                    <a:pt x="49" y="21"/>
                  </a:cubicBezTo>
                  <a:cubicBezTo>
                    <a:pt x="99" y="21"/>
                    <a:pt x="99" y="21"/>
                    <a:pt x="99" y="21"/>
                  </a:cubicBezTo>
                  <a:cubicBezTo>
                    <a:pt x="102" y="21"/>
                    <a:pt x="105" y="22"/>
                    <a:pt x="108" y="25"/>
                  </a:cubicBezTo>
                  <a:cubicBezTo>
                    <a:pt x="110" y="27"/>
                    <a:pt x="111" y="30"/>
                    <a:pt x="111" y="33"/>
                  </a:cubicBezTo>
                  <a:lnTo>
                    <a:pt x="111" y="83"/>
                  </a:lnTo>
                  <a:close/>
                  <a:moveTo>
                    <a:pt x="33" y="83"/>
                  </a:moveTo>
                  <a:cubicBezTo>
                    <a:pt x="99" y="83"/>
                    <a:pt x="99" y="83"/>
                    <a:pt x="99" y="83"/>
                  </a:cubicBezTo>
                  <a:cubicBezTo>
                    <a:pt x="99" y="33"/>
                    <a:pt x="99" y="33"/>
                    <a:pt x="99" y="33"/>
                  </a:cubicBezTo>
                  <a:cubicBezTo>
                    <a:pt x="49" y="33"/>
                    <a:pt x="49" y="33"/>
                    <a:pt x="49" y="33"/>
                  </a:cubicBezTo>
                  <a:cubicBezTo>
                    <a:pt x="45" y="33"/>
                    <a:pt x="41" y="35"/>
                    <a:pt x="38" y="38"/>
                  </a:cubicBezTo>
                  <a:cubicBezTo>
                    <a:pt x="34" y="42"/>
                    <a:pt x="33" y="45"/>
                    <a:pt x="33" y="50"/>
                  </a:cubicBezTo>
                  <a:lnTo>
                    <a:pt x="33" y="83"/>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5">
              <a:extLst>
                <a:ext uri="{FF2B5EF4-FFF2-40B4-BE49-F238E27FC236}">
                  <a16:creationId xmlns:a16="http://schemas.microsoft.com/office/drawing/2014/main" id="{070E5451-D390-1A72-B792-2FA88A25F974}"/>
                </a:ext>
              </a:extLst>
            </p:cNvPr>
            <p:cNvSpPr>
              <a:spLocks noEditPoints="1"/>
            </p:cNvSpPr>
            <p:nvPr userDrawn="1"/>
          </p:nvSpPr>
          <p:spPr bwMode="auto">
            <a:xfrm>
              <a:off x="5774" y="2552"/>
              <a:ext cx="312" cy="551"/>
            </a:xfrm>
            <a:custGeom>
              <a:avLst/>
              <a:gdLst>
                <a:gd name="T0" fmla="*/ 26510905 w 132"/>
                <a:gd name="T1" fmla="*/ 442759715 h 232"/>
                <a:gd name="T2" fmla="*/ 51443210 w 132"/>
                <a:gd name="T3" fmla="*/ 508305993 h 232"/>
                <a:gd name="T4" fmla="*/ 110103249 w 132"/>
                <a:gd name="T5" fmla="*/ 535913430 h 232"/>
                <a:gd name="T6" fmla="*/ 295891719 w 132"/>
                <a:gd name="T7" fmla="*/ 535913430 h 232"/>
                <a:gd name="T8" fmla="*/ 295891719 w 132"/>
                <a:gd name="T9" fmla="*/ 564828430 h 232"/>
                <a:gd name="T10" fmla="*/ 110103249 w 132"/>
                <a:gd name="T11" fmla="*/ 564828430 h 232"/>
                <a:gd name="T12" fmla="*/ 31262608 w 132"/>
                <a:gd name="T13" fmla="*/ 527724589 h 232"/>
                <a:gd name="T14" fmla="*/ 0 w 132"/>
                <a:gd name="T15" fmla="*/ 442759715 h 232"/>
                <a:gd name="T16" fmla="*/ 0 w 132"/>
                <a:gd name="T17" fmla="*/ 0 h 232"/>
                <a:gd name="T18" fmla="*/ 26510905 w 132"/>
                <a:gd name="T19" fmla="*/ 0 h 232"/>
                <a:gd name="T20" fmla="*/ 26510905 w 132"/>
                <a:gd name="T21" fmla="*/ 442759715 h 232"/>
                <a:gd name="T22" fmla="*/ 295891719 w 132"/>
                <a:gd name="T23" fmla="*/ 484506888 h 232"/>
                <a:gd name="T24" fmla="*/ 295891719 w 132"/>
                <a:gd name="T25" fmla="*/ 513431020 h 232"/>
                <a:gd name="T26" fmla="*/ 110103249 w 132"/>
                <a:gd name="T27" fmla="*/ 513431020 h 232"/>
                <a:gd name="T28" fmla="*/ 65404189 w 132"/>
                <a:gd name="T29" fmla="*/ 494012295 h 232"/>
                <a:gd name="T30" fmla="*/ 44482705 w 132"/>
                <a:gd name="T31" fmla="*/ 442759715 h 232"/>
                <a:gd name="T32" fmla="*/ 44482705 w 132"/>
                <a:gd name="T33" fmla="*/ 0 h 232"/>
                <a:gd name="T34" fmla="*/ 73893437 w 132"/>
                <a:gd name="T35" fmla="*/ 0 h 232"/>
                <a:gd name="T36" fmla="*/ 73893437 w 132"/>
                <a:gd name="T37" fmla="*/ 442759715 h 232"/>
                <a:gd name="T38" fmla="*/ 85443339 w 132"/>
                <a:gd name="T39" fmla="*/ 472485538 h 232"/>
                <a:gd name="T40" fmla="*/ 110103249 w 132"/>
                <a:gd name="T41" fmla="*/ 484506888 h 232"/>
                <a:gd name="T42" fmla="*/ 295891719 w 132"/>
                <a:gd name="T43" fmla="*/ 484506888 h 2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2" h="232">
                  <a:moveTo>
                    <a:pt x="12" y="182"/>
                  </a:moveTo>
                  <a:cubicBezTo>
                    <a:pt x="12" y="193"/>
                    <a:pt x="16" y="201"/>
                    <a:pt x="23" y="209"/>
                  </a:cubicBezTo>
                  <a:cubicBezTo>
                    <a:pt x="30" y="216"/>
                    <a:pt x="39" y="220"/>
                    <a:pt x="49" y="220"/>
                  </a:cubicBezTo>
                  <a:cubicBezTo>
                    <a:pt x="132" y="220"/>
                    <a:pt x="132" y="220"/>
                    <a:pt x="132" y="220"/>
                  </a:cubicBezTo>
                  <a:cubicBezTo>
                    <a:pt x="132" y="232"/>
                    <a:pt x="132" y="232"/>
                    <a:pt x="132" y="232"/>
                  </a:cubicBezTo>
                  <a:cubicBezTo>
                    <a:pt x="49" y="232"/>
                    <a:pt x="49" y="232"/>
                    <a:pt x="49" y="232"/>
                  </a:cubicBezTo>
                  <a:cubicBezTo>
                    <a:pt x="36" y="232"/>
                    <a:pt x="24" y="227"/>
                    <a:pt x="14" y="217"/>
                  </a:cubicBezTo>
                  <a:cubicBezTo>
                    <a:pt x="4" y="208"/>
                    <a:pt x="0" y="196"/>
                    <a:pt x="0" y="182"/>
                  </a:cubicBezTo>
                  <a:cubicBezTo>
                    <a:pt x="0" y="0"/>
                    <a:pt x="0" y="0"/>
                    <a:pt x="0" y="0"/>
                  </a:cubicBezTo>
                  <a:cubicBezTo>
                    <a:pt x="12" y="0"/>
                    <a:pt x="12" y="0"/>
                    <a:pt x="12" y="0"/>
                  </a:cubicBezTo>
                  <a:lnTo>
                    <a:pt x="12" y="182"/>
                  </a:lnTo>
                  <a:close/>
                  <a:moveTo>
                    <a:pt x="132" y="199"/>
                  </a:moveTo>
                  <a:cubicBezTo>
                    <a:pt x="132" y="211"/>
                    <a:pt x="132" y="211"/>
                    <a:pt x="132" y="211"/>
                  </a:cubicBezTo>
                  <a:cubicBezTo>
                    <a:pt x="49" y="211"/>
                    <a:pt x="49" y="211"/>
                    <a:pt x="49" y="211"/>
                  </a:cubicBezTo>
                  <a:cubicBezTo>
                    <a:pt x="41" y="211"/>
                    <a:pt x="34" y="209"/>
                    <a:pt x="29" y="203"/>
                  </a:cubicBezTo>
                  <a:cubicBezTo>
                    <a:pt x="23" y="197"/>
                    <a:pt x="20" y="190"/>
                    <a:pt x="20" y="182"/>
                  </a:cubicBezTo>
                  <a:cubicBezTo>
                    <a:pt x="20" y="0"/>
                    <a:pt x="20" y="0"/>
                    <a:pt x="20" y="0"/>
                  </a:cubicBezTo>
                  <a:cubicBezTo>
                    <a:pt x="33" y="0"/>
                    <a:pt x="33" y="0"/>
                    <a:pt x="33" y="0"/>
                  </a:cubicBezTo>
                  <a:cubicBezTo>
                    <a:pt x="33" y="182"/>
                    <a:pt x="33" y="182"/>
                    <a:pt x="33" y="182"/>
                  </a:cubicBezTo>
                  <a:cubicBezTo>
                    <a:pt x="33" y="187"/>
                    <a:pt x="34" y="191"/>
                    <a:pt x="38" y="194"/>
                  </a:cubicBezTo>
                  <a:cubicBezTo>
                    <a:pt x="41" y="197"/>
                    <a:pt x="45" y="199"/>
                    <a:pt x="49" y="199"/>
                  </a:cubicBezTo>
                  <a:lnTo>
                    <a:pt x="132" y="199"/>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5" name="Freeform 16">
              <a:extLst>
                <a:ext uri="{FF2B5EF4-FFF2-40B4-BE49-F238E27FC236}">
                  <a16:creationId xmlns:a16="http://schemas.microsoft.com/office/drawing/2014/main" id="{73ED8309-3AFB-A533-3E19-3EACC942E57E}"/>
                </a:ext>
              </a:extLst>
            </p:cNvPr>
            <p:cNvSpPr>
              <a:spLocks noEditPoints="1"/>
            </p:cNvSpPr>
            <p:nvPr userDrawn="1"/>
          </p:nvSpPr>
          <p:spPr bwMode="auto">
            <a:xfrm>
              <a:off x="6120" y="2552"/>
              <a:ext cx="331" cy="551"/>
            </a:xfrm>
            <a:custGeom>
              <a:avLst/>
              <a:gdLst>
                <a:gd name="T0" fmla="*/ 315628455 w 140"/>
                <a:gd name="T1" fmla="*/ 0 h 232"/>
                <a:gd name="T2" fmla="*/ 315628455 w 140"/>
                <a:gd name="T3" fmla="*/ 564828430 h 232"/>
                <a:gd name="T4" fmla="*/ 288722604 w 140"/>
                <a:gd name="T5" fmla="*/ 564828430 h 232"/>
                <a:gd name="T6" fmla="*/ 288722604 w 140"/>
                <a:gd name="T7" fmla="*/ 31976658 h 232"/>
                <a:gd name="T8" fmla="*/ 110489077 w 140"/>
                <a:gd name="T9" fmla="*/ 31976658 h 232"/>
                <a:gd name="T10" fmla="*/ 51651254 w 140"/>
                <a:gd name="T11" fmla="*/ 58299493 h 232"/>
                <a:gd name="T12" fmla="*/ 26606139 w 140"/>
                <a:gd name="T13" fmla="*/ 122107630 h 232"/>
                <a:gd name="T14" fmla="*/ 26606139 w 140"/>
                <a:gd name="T15" fmla="*/ 564828430 h 232"/>
                <a:gd name="T16" fmla="*/ 0 w 140"/>
                <a:gd name="T17" fmla="*/ 564828430 h 232"/>
                <a:gd name="T18" fmla="*/ 0 w 140"/>
                <a:gd name="T19" fmla="*/ 122107630 h 232"/>
                <a:gd name="T20" fmla="*/ 31354195 w 140"/>
                <a:gd name="T21" fmla="*/ 37103839 h 232"/>
                <a:gd name="T22" fmla="*/ 110489077 w 140"/>
                <a:gd name="T23" fmla="*/ 0 h 232"/>
                <a:gd name="T24" fmla="*/ 315628455 w 140"/>
                <a:gd name="T25" fmla="*/ 0 h 232"/>
                <a:gd name="T26" fmla="*/ 44631525 w 140"/>
                <a:gd name="T27" fmla="*/ 122107630 h 232"/>
                <a:gd name="T28" fmla="*/ 65649001 w 140"/>
                <a:gd name="T29" fmla="*/ 70832843 h 232"/>
                <a:gd name="T30" fmla="*/ 110489077 w 140"/>
                <a:gd name="T31" fmla="*/ 51413739 h 232"/>
                <a:gd name="T32" fmla="*/ 270477527 w 140"/>
                <a:gd name="T33" fmla="*/ 51413739 h 232"/>
                <a:gd name="T34" fmla="*/ 270477527 w 140"/>
                <a:gd name="T35" fmla="*/ 233836064 h 232"/>
                <a:gd name="T36" fmla="*/ 44631525 w 140"/>
                <a:gd name="T37" fmla="*/ 233836064 h 232"/>
                <a:gd name="T38" fmla="*/ 44631525 w 140"/>
                <a:gd name="T39" fmla="*/ 122107630 h 232"/>
                <a:gd name="T40" fmla="*/ 270477527 w 140"/>
                <a:gd name="T41" fmla="*/ 253283286 h 232"/>
                <a:gd name="T42" fmla="*/ 270477527 w 140"/>
                <a:gd name="T43" fmla="*/ 564828430 h 232"/>
                <a:gd name="T44" fmla="*/ 241121972 w 140"/>
                <a:gd name="T45" fmla="*/ 564828430 h 232"/>
                <a:gd name="T46" fmla="*/ 241121972 w 140"/>
                <a:gd name="T47" fmla="*/ 283050061 h 232"/>
                <a:gd name="T48" fmla="*/ 74130275 w 140"/>
                <a:gd name="T49" fmla="*/ 283050061 h 232"/>
                <a:gd name="T50" fmla="*/ 74130275 w 140"/>
                <a:gd name="T51" fmla="*/ 564828430 h 232"/>
                <a:gd name="T52" fmla="*/ 44631525 w 140"/>
                <a:gd name="T53" fmla="*/ 564828430 h 232"/>
                <a:gd name="T54" fmla="*/ 44631525 w 140"/>
                <a:gd name="T55" fmla="*/ 253283286 h 232"/>
                <a:gd name="T56" fmla="*/ 270477527 w 140"/>
                <a:gd name="T57" fmla="*/ 253283286 h 232"/>
                <a:gd name="T58" fmla="*/ 241121972 w 140"/>
                <a:gd name="T59" fmla="*/ 79781492 h 232"/>
                <a:gd name="T60" fmla="*/ 110489077 w 140"/>
                <a:gd name="T61" fmla="*/ 79781492 h 232"/>
                <a:gd name="T62" fmla="*/ 85974132 w 140"/>
                <a:gd name="T63" fmla="*/ 92335711 h 232"/>
                <a:gd name="T64" fmla="*/ 74130275 w 140"/>
                <a:gd name="T65" fmla="*/ 122107630 h 232"/>
                <a:gd name="T66" fmla="*/ 74130275 w 140"/>
                <a:gd name="T67" fmla="*/ 202009418 h 232"/>
                <a:gd name="T68" fmla="*/ 241121972 w 140"/>
                <a:gd name="T69" fmla="*/ 202009418 h 232"/>
                <a:gd name="T70" fmla="*/ 241121972 w 140"/>
                <a:gd name="T71" fmla="*/ 79781492 h 23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40" h="232">
                  <a:moveTo>
                    <a:pt x="140" y="0"/>
                  </a:moveTo>
                  <a:cubicBezTo>
                    <a:pt x="140" y="232"/>
                    <a:pt x="140" y="232"/>
                    <a:pt x="140" y="232"/>
                  </a:cubicBezTo>
                  <a:cubicBezTo>
                    <a:pt x="128" y="232"/>
                    <a:pt x="128" y="232"/>
                    <a:pt x="128" y="232"/>
                  </a:cubicBezTo>
                  <a:cubicBezTo>
                    <a:pt x="128" y="13"/>
                    <a:pt x="128" y="13"/>
                    <a:pt x="128" y="13"/>
                  </a:cubicBezTo>
                  <a:cubicBezTo>
                    <a:pt x="49" y="13"/>
                    <a:pt x="49" y="13"/>
                    <a:pt x="49" y="13"/>
                  </a:cubicBezTo>
                  <a:cubicBezTo>
                    <a:pt x="39" y="13"/>
                    <a:pt x="30" y="16"/>
                    <a:pt x="23" y="24"/>
                  </a:cubicBezTo>
                  <a:cubicBezTo>
                    <a:pt x="16" y="31"/>
                    <a:pt x="12" y="40"/>
                    <a:pt x="12" y="50"/>
                  </a:cubicBezTo>
                  <a:cubicBezTo>
                    <a:pt x="12" y="232"/>
                    <a:pt x="12" y="232"/>
                    <a:pt x="12" y="232"/>
                  </a:cubicBezTo>
                  <a:cubicBezTo>
                    <a:pt x="0" y="232"/>
                    <a:pt x="0" y="232"/>
                    <a:pt x="0" y="232"/>
                  </a:cubicBezTo>
                  <a:cubicBezTo>
                    <a:pt x="0" y="50"/>
                    <a:pt x="0" y="50"/>
                    <a:pt x="0" y="50"/>
                  </a:cubicBezTo>
                  <a:cubicBezTo>
                    <a:pt x="0" y="36"/>
                    <a:pt x="5" y="25"/>
                    <a:pt x="14" y="15"/>
                  </a:cubicBezTo>
                  <a:cubicBezTo>
                    <a:pt x="24" y="5"/>
                    <a:pt x="36" y="0"/>
                    <a:pt x="49" y="0"/>
                  </a:cubicBezTo>
                  <a:lnTo>
                    <a:pt x="140" y="0"/>
                  </a:lnTo>
                  <a:close/>
                  <a:moveTo>
                    <a:pt x="20" y="50"/>
                  </a:moveTo>
                  <a:cubicBezTo>
                    <a:pt x="20" y="42"/>
                    <a:pt x="23" y="35"/>
                    <a:pt x="29" y="29"/>
                  </a:cubicBezTo>
                  <a:cubicBezTo>
                    <a:pt x="35" y="24"/>
                    <a:pt x="41" y="21"/>
                    <a:pt x="49" y="21"/>
                  </a:cubicBezTo>
                  <a:cubicBezTo>
                    <a:pt x="120" y="21"/>
                    <a:pt x="120" y="21"/>
                    <a:pt x="120" y="21"/>
                  </a:cubicBezTo>
                  <a:cubicBezTo>
                    <a:pt x="120" y="96"/>
                    <a:pt x="120" y="96"/>
                    <a:pt x="120" y="96"/>
                  </a:cubicBezTo>
                  <a:cubicBezTo>
                    <a:pt x="20" y="96"/>
                    <a:pt x="20" y="96"/>
                    <a:pt x="20" y="96"/>
                  </a:cubicBezTo>
                  <a:lnTo>
                    <a:pt x="20" y="50"/>
                  </a:lnTo>
                  <a:close/>
                  <a:moveTo>
                    <a:pt x="120" y="104"/>
                  </a:moveTo>
                  <a:cubicBezTo>
                    <a:pt x="120" y="232"/>
                    <a:pt x="120" y="232"/>
                    <a:pt x="120" y="232"/>
                  </a:cubicBezTo>
                  <a:cubicBezTo>
                    <a:pt x="107" y="232"/>
                    <a:pt x="107" y="232"/>
                    <a:pt x="107" y="232"/>
                  </a:cubicBezTo>
                  <a:cubicBezTo>
                    <a:pt x="107" y="116"/>
                    <a:pt x="107" y="116"/>
                    <a:pt x="107" y="116"/>
                  </a:cubicBezTo>
                  <a:cubicBezTo>
                    <a:pt x="33" y="116"/>
                    <a:pt x="33" y="116"/>
                    <a:pt x="33" y="116"/>
                  </a:cubicBezTo>
                  <a:cubicBezTo>
                    <a:pt x="33" y="232"/>
                    <a:pt x="33" y="232"/>
                    <a:pt x="33" y="232"/>
                  </a:cubicBezTo>
                  <a:cubicBezTo>
                    <a:pt x="20" y="232"/>
                    <a:pt x="20" y="232"/>
                    <a:pt x="20" y="232"/>
                  </a:cubicBezTo>
                  <a:cubicBezTo>
                    <a:pt x="20" y="104"/>
                    <a:pt x="20" y="104"/>
                    <a:pt x="20" y="104"/>
                  </a:cubicBezTo>
                  <a:lnTo>
                    <a:pt x="120" y="104"/>
                  </a:lnTo>
                  <a:close/>
                  <a:moveTo>
                    <a:pt x="107" y="33"/>
                  </a:moveTo>
                  <a:cubicBezTo>
                    <a:pt x="49" y="33"/>
                    <a:pt x="49" y="33"/>
                    <a:pt x="49" y="33"/>
                  </a:cubicBezTo>
                  <a:cubicBezTo>
                    <a:pt x="45" y="33"/>
                    <a:pt x="41" y="35"/>
                    <a:pt x="38" y="38"/>
                  </a:cubicBezTo>
                  <a:cubicBezTo>
                    <a:pt x="34" y="42"/>
                    <a:pt x="33" y="45"/>
                    <a:pt x="33" y="50"/>
                  </a:cubicBezTo>
                  <a:cubicBezTo>
                    <a:pt x="33" y="83"/>
                    <a:pt x="33" y="83"/>
                    <a:pt x="33" y="83"/>
                  </a:cubicBezTo>
                  <a:cubicBezTo>
                    <a:pt x="107" y="83"/>
                    <a:pt x="107" y="83"/>
                    <a:pt x="107" y="83"/>
                  </a:cubicBezTo>
                  <a:lnTo>
                    <a:pt x="107" y="33"/>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6" name="Freeform 17">
              <a:extLst>
                <a:ext uri="{FF2B5EF4-FFF2-40B4-BE49-F238E27FC236}">
                  <a16:creationId xmlns:a16="http://schemas.microsoft.com/office/drawing/2014/main" id="{EA319489-2904-EA1E-8A24-D2EEA891D5B0}"/>
                </a:ext>
              </a:extLst>
            </p:cNvPr>
            <p:cNvSpPr>
              <a:spLocks noEditPoints="1"/>
            </p:cNvSpPr>
            <p:nvPr userDrawn="1"/>
          </p:nvSpPr>
          <p:spPr bwMode="auto">
            <a:xfrm>
              <a:off x="6517" y="2552"/>
              <a:ext cx="331" cy="551"/>
            </a:xfrm>
            <a:custGeom>
              <a:avLst/>
              <a:gdLst>
                <a:gd name="T0" fmla="*/ 0 w 331"/>
                <a:gd name="T1" fmla="*/ 0 h 551"/>
                <a:gd name="T2" fmla="*/ 331 w 331"/>
                <a:gd name="T3" fmla="*/ 0 h 551"/>
                <a:gd name="T4" fmla="*/ 331 w 331"/>
                <a:gd name="T5" fmla="*/ 31 h 551"/>
                <a:gd name="T6" fmla="*/ 0 w 331"/>
                <a:gd name="T7" fmla="*/ 31 h 551"/>
                <a:gd name="T8" fmla="*/ 0 w 331"/>
                <a:gd name="T9" fmla="*/ 0 h 551"/>
                <a:gd name="T10" fmla="*/ 156 w 331"/>
                <a:gd name="T11" fmla="*/ 50 h 551"/>
                <a:gd name="T12" fmla="*/ 156 w 331"/>
                <a:gd name="T13" fmla="*/ 551 h 551"/>
                <a:gd name="T14" fmla="*/ 128 w 331"/>
                <a:gd name="T15" fmla="*/ 551 h 551"/>
                <a:gd name="T16" fmla="*/ 128 w 331"/>
                <a:gd name="T17" fmla="*/ 79 h 551"/>
                <a:gd name="T18" fmla="*/ 0 w 331"/>
                <a:gd name="T19" fmla="*/ 79 h 551"/>
                <a:gd name="T20" fmla="*/ 0 w 331"/>
                <a:gd name="T21" fmla="*/ 50 h 551"/>
                <a:gd name="T22" fmla="*/ 156 w 331"/>
                <a:gd name="T23" fmla="*/ 50 h 551"/>
                <a:gd name="T24" fmla="*/ 331 w 331"/>
                <a:gd name="T25" fmla="*/ 50 h 551"/>
                <a:gd name="T26" fmla="*/ 331 w 331"/>
                <a:gd name="T27" fmla="*/ 79 h 551"/>
                <a:gd name="T28" fmla="*/ 206 w 331"/>
                <a:gd name="T29" fmla="*/ 79 h 551"/>
                <a:gd name="T30" fmla="*/ 206 w 331"/>
                <a:gd name="T31" fmla="*/ 551 h 551"/>
                <a:gd name="T32" fmla="*/ 175 w 331"/>
                <a:gd name="T33" fmla="*/ 551 h 551"/>
                <a:gd name="T34" fmla="*/ 175 w 331"/>
                <a:gd name="T35" fmla="*/ 50 h 551"/>
                <a:gd name="T36" fmla="*/ 331 w 331"/>
                <a:gd name="T37" fmla="*/ 50 h 5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31" h="551">
                  <a:moveTo>
                    <a:pt x="0" y="0"/>
                  </a:moveTo>
                  <a:lnTo>
                    <a:pt x="331" y="0"/>
                  </a:lnTo>
                  <a:lnTo>
                    <a:pt x="331" y="31"/>
                  </a:lnTo>
                  <a:lnTo>
                    <a:pt x="0" y="31"/>
                  </a:lnTo>
                  <a:lnTo>
                    <a:pt x="0" y="0"/>
                  </a:lnTo>
                  <a:close/>
                  <a:moveTo>
                    <a:pt x="156" y="50"/>
                  </a:moveTo>
                  <a:lnTo>
                    <a:pt x="156" y="551"/>
                  </a:lnTo>
                  <a:lnTo>
                    <a:pt x="128" y="551"/>
                  </a:lnTo>
                  <a:lnTo>
                    <a:pt x="128" y="79"/>
                  </a:lnTo>
                  <a:lnTo>
                    <a:pt x="0" y="79"/>
                  </a:lnTo>
                  <a:lnTo>
                    <a:pt x="0" y="50"/>
                  </a:lnTo>
                  <a:lnTo>
                    <a:pt x="156" y="50"/>
                  </a:lnTo>
                  <a:close/>
                  <a:moveTo>
                    <a:pt x="331" y="50"/>
                  </a:moveTo>
                  <a:lnTo>
                    <a:pt x="331" y="79"/>
                  </a:lnTo>
                  <a:lnTo>
                    <a:pt x="206" y="79"/>
                  </a:lnTo>
                  <a:lnTo>
                    <a:pt x="206" y="551"/>
                  </a:lnTo>
                  <a:lnTo>
                    <a:pt x="175" y="551"/>
                  </a:lnTo>
                  <a:lnTo>
                    <a:pt x="175" y="50"/>
                  </a:lnTo>
                  <a:lnTo>
                    <a:pt x="331" y="50"/>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 name="Freeform 18">
              <a:extLst>
                <a:ext uri="{FF2B5EF4-FFF2-40B4-BE49-F238E27FC236}">
                  <a16:creationId xmlns:a16="http://schemas.microsoft.com/office/drawing/2014/main" id="{5F56E2F4-A3AB-A802-3AB7-BA11E0D9DA32}"/>
                </a:ext>
              </a:extLst>
            </p:cNvPr>
            <p:cNvSpPr>
              <a:spLocks noEditPoints="1"/>
            </p:cNvSpPr>
            <p:nvPr userDrawn="1"/>
          </p:nvSpPr>
          <p:spPr bwMode="auto">
            <a:xfrm>
              <a:off x="6886" y="2552"/>
              <a:ext cx="312" cy="551"/>
            </a:xfrm>
            <a:custGeom>
              <a:avLst/>
              <a:gdLst>
                <a:gd name="T0" fmla="*/ 295891719 w 132"/>
                <a:gd name="T1" fmla="*/ 0 h 232"/>
                <a:gd name="T2" fmla="*/ 295891719 w 132"/>
                <a:gd name="T3" fmla="*/ 31976658 h 232"/>
                <a:gd name="T4" fmla="*/ 110103249 w 132"/>
                <a:gd name="T5" fmla="*/ 31976658 h 232"/>
                <a:gd name="T6" fmla="*/ 51443210 w 132"/>
                <a:gd name="T7" fmla="*/ 58299493 h 232"/>
                <a:gd name="T8" fmla="*/ 26510905 w 132"/>
                <a:gd name="T9" fmla="*/ 122107630 h 232"/>
                <a:gd name="T10" fmla="*/ 26510905 w 132"/>
                <a:gd name="T11" fmla="*/ 442759715 h 232"/>
                <a:gd name="T12" fmla="*/ 51443210 w 132"/>
                <a:gd name="T13" fmla="*/ 508305993 h 232"/>
                <a:gd name="T14" fmla="*/ 110103249 w 132"/>
                <a:gd name="T15" fmla="*/ 535913430 h 232"/>
                <a:gd name="T16" fmla="*/ 295891719 w 132"/>
                <a:gd name="T17" fmla="*/ 535913430 h 232"/>
                <a:gd name="T18" fmla="*/ 295891719 w 132"/>
                <a:gd name="T19" fmla="*/ 564828430 h 232"/>
                <a:gd name="T20" fmla="*/ 110103249 w 132"/>
                <a:gd name="T21" fmla="*/ 564828430 h 232"/>
                <a:gd name="T22" fmla="*/ 31262608 w 132"/>
                <a:gd name="T23" fmla="*/ 527724589 h 232"/>
                <a:gd name="T24" fmla="*/ 0 w 132"/>
                <a:gd name="T25" fmla="*/ 442759715 h 232"/>
                <a:gd name="T26" fmla="*/ 0 w 132"/>
                <a:gd name="T27" fmla="*/ 122107630 h 232"/>
                <a:gd name="T28" fmla="*/ 31262608 w 132"/>
                <a:gd name="T29" fmla="*/ 37103839 h 232"/>
                <a:gd name="T30" fmla="*/ 110103249 w 132"/>
                <a:gd name="T31" fmla="*/ 0 h 232"/>
                <a:gd name="T32" fmla="*/ 295891719 w 132"/>
                <a:gd name="T33" fmla="*/ 0 h 232"/>
                <a:gd name="T34" fmla="*/ 44482705 w 132"/>
                <a:gd name="T35" fmla="*/ 122107630 h 232"/>
                <a:gd name="T36" fmla="*/ 65404189 w 132"/>
                <a:gd name="T37" fmla="*/ 70832843 h 232"/>
                <a:gd name="T38" fmla="*/ 111981461 w 132"/>
                <a:gd name="T39" fmla="*/ 51413739 h 232"/>
                <a:gd name="T40" fmla="*/ 295891719 w 132"/>
                <a:gd name="T41" fmla="*/ 51413739 h 232"/>
                <a:gd name="T42" fmla="*/ 295891719 w 132"/>
                <a:gd name="T43" fmla="*/ 79781492 h 232"/>
                <a:gd name="T44" fmla="*/ 111981461 w 132"/>
                <a:gd name="T45" fmla="*/ 79781492 h 232"/>
                <a:gd name="T46" fmla="*/ 85443339 w 132"/>
                <a:gd name="T47" fmla="*/ 92335711 h 232"/>
                <a:gd name="T48" fmla="*/ 73893437 w 132"/>
                <a:gd name="T49" fmla="*/ 122107630 h 232"/>
                <a:gd name="T50" fmla="*/ 73893437 w 132"/>
                <a:gd name="T51" fmla="*/ 202009418 h 232"/>
                <a:gd name="T52" fmla="*/ 295891719 w 132"/>
                <a:gd name="T53" fmla="*/ 202009418 h 232"/>
                <a:gd name="T54" fmla="*/ 295891719 w 132"/>
                <a:gd name="T55" fmla="*/ 233836064 h 232"/>
                <a:gd name="T56" fmla="*/ 44482705 w 132"/>
                <a:gd name="T57" fmla="*/ 233836064 h 232"/>
                <a:gd name="T58" fmla="*/ 44482705 w 132"/>
                <a:gd name="T59" fmla="*/ 122107630 h 232"/>
                <a:gd name="T60" fmla="*/ 44482705 w 132"/>
                <a:gd name="T61" fmla="*/ 253283286 h 232"/>
                <a:gd name="T62" fmla="*/ 295891719 w 132"/>
                <a:gd name="T63" fmla="*/ 253283286 h 232"/>
                <a:gd name="T64" fmla="*/ 295891719 w 132"/>
                <a:gd name="T65" fmla="*/ 283050061 h 232"/>
                <a:gd name="T66" fmla="*/ 73893437 w 132"/>
                <a:gd name="T67" fmla="*/ 283050061 h 232"/>
                <a:gd name="T68" fmla="*/ 73893437 w 132"/>
                <a:gd name="T69" fmla="*/ 442759715 h 232"/>
                <a:gd name="T70" fmla="*/ 85443339 w 132"/>
                <a:gd name="T71" fmla="*/ 472485538 h 232"/>
                <a:gd name="T72" fmla="*/ 111981461 w 132"/>
                <a:gd name="T73" fmla="*/ 484506888 h 232"/>
                <a:gd name="T74" fmla="*/ 295891719 w 132"/>
                <a:gd name="T75" fmla="*/ 484506888 h 232"/>
                <a:gd name="T76" fmla="*/ 295891719 w 132"/>
                <a:gd name="T77" fmla="*/ 513431020 h 232"/>
                <a:gd name="T78" fmla="*/ 111981461 w 132"/>
                <a:gd name="T79" fmla="*/ 513431020 h 232"/>
                <a:gd name="T80" fmla="*/ 65404189 w 132"/>
                <a:gd name="T81" fmla="*/ 494012295 h 232"/>
                <a:gd name="T82" fmla="*/ 44482705 w 132"/>
                <a:gd name="T83" fmla="*/ 442759715 h 232"/>
                <a:gd name="T84" fmla="*/ 44482705 w 132"/>
                <a:gd name="T85" fmla="*/ 253283286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132" y="0"/>
                  </a:moveTo>
                  <a:cubicBezTo>
                    <a:pt x="132" y="13"/>
                    <a:pt x="132" y="13"/>
                    <a:pt x="132" y="13"/>
                  </a:cubicBezTo>
                  <a:cubicBezTo>
                    <a:pt x="49" y="13"/>
                    <a:pt x="49" y="13"/>
                    <a:pt x="49" y="13"/>
                  </a:cubicBezTo>
                  <a:cubicBezTo>
                    <a:pt x="39" y="13"/>
                    <a:pt x="30" y="16"/>
                    <a:pt x="23" y="24"/>
                  </a:cubicBezTo>
                  <a:cubicBezTo>
                    <a:pt x="16" y="31"/>
                    <a:pt x="12" y="40"/>
                    <a:pt x="12" y="50"/>
                  </a:cubicBezTo>
                  <a:cubicBezTo>
                    <a:pt x="12" y="182"/>
                    <a:pt x="12" y="182"/>
                    <a:pt x="12" y="182"/>
                  </a:cubicBezTo>
                  <a:cubicBezTo>
                    <a:pt x="12" y="193"/>
                    <a:pt x="16" y="201"/>
                    <a:pt x="23" y="209"/>
                  </a:cubicBezTo>
                  <a:cubicBezTo>
                    <a:pt x="30" y="216"/>
                    <a:pt x="39" y="220"/>
                    <a:pt x="49" y="220"/>
                  </a:cubicBezTo>
                  <a:cubicBezTo>
                    <a:pt x="132" y="220"/>
                    <a:pt x="132" y="220"/>
                    <a:pt x="132" y="220"/>
                  </a:cubicBezTo>
                  <a:cubicBezTo>
                    <a:pt x="132" y="232"/>
                    <a:pt x="132" y="232"/>
                    <a:pt x="132" y="232"/>
                  </a:cubicBezTo>
                  <a:cubicBezTo>
                    <a:pt x="49" y="232"/>
                    <a:pt x="49" y="232"/>
                    <a:pt x="49" y="232"/>
                  </a:cubicBezTo>
                  <a:cubicBezTo>
                    <a:pt x="36" y="232"/>
                    <a:pt x="24" y="227"/>
                    <a:pt x="14" y="217"/>
                  </a:cubicBezTo>
                  <a:cubicBezTo>
                    <a:pt x="5" y="208"/>
                    <a:pt x="0" y="196"/>
                    <a:pt x="0" y="182"/>
                  </a:cubicBezTo>
                  <a:cubicBezTo>
                    <a:pt x="0" y="50"/>
                    <a:pt x="0" y="50"/>
                    <a:pt x="0" y="50"/>
                  </a:cubicBezTo>
                  <a:cubicBezTo>
                    <a:pt x="0" y="36"/>
                    <a:pt x="5" y="25"/>
                    <a:pt x="14" y="15"/>
                  </a:cubicBezTo>
                  <a:cubicBezTo>
                    <a:pt x="24" y="5"/>
                    <a:pt x="36" y="0"/>
                    <a:pt x="49" y="0"/>
                  </a:cubicBezTo>
                  <a:lnTo>
                    <a:pt x="132" y="0"/>
                  </a:lnTo>
                  <a:close/>
                  <a:moveTo>
                    <a:pt x="20" y="50"/>
                  </a:moveTo>
                  <a:cubicBezTo>
                    <a:pt x="20" y="42"/>
                    <a:pt x="23" y="35"/>
                    <a:pt x="29" y="29"/>
                  </a:cubicBezTo>
                  <a:cubicBezTo>
                    <a:pt x="35" y="24"/>
                    <a:pt x="42" y="21"/>
                    <a:pt x="50" y="21"/>
                  </a:cubicBezTo>
                  <a:cubicBezTo>
                    <a:pt x="132" y="21"/>
                    <a:pt x="132" y="21"/>
                    <a:pt x="132" y="21"/>
                  </a:cubicBezTo>
                  <a:cubicBezTo>
                    <a:pt x="132" y="33"/>
                    <a:pt x="132" y="33"/>
                    <a:pt x="132" y="33"/>
                  </a:cubicBezTo>
                  <a:cubicBezTo>
                    <a:pt x="50" y="33"/>
                    <a:pt x="50" y="33"/>
                    <a:pt x="50" y="33"/>
                  </a:cubicBezTo>
                  <a:cubicBezTo>
                    <a:pt x="45" y="33"/>
                    <a:pt x="41" y="35"/>
                    <a:pt x="38" y="38"/>
                  </a:cubicBezTo>
                  <a:cubicBezTo>
                    <a:pt x="35" y="42"/>
                    <a:pt x="33" y="45"/>
                    <a:pt x="33" y="50"/>
                  </a:cubicBezTo>
                  <a:cubicBezTo>
                    <a:pt x="33" y="83"/>
                    <a:pt x="33" y="83"/>
                    <a:pt x="33" y="83"/>
                  </a:cubicBezTo>
                  <a:cubicBezTo>
                    <a:pt x="132" y="83"/>
                    <a:pt x="132" y="83"/>
                    <a:pt x="132" y="83"/>
                  </a:cubicBezTo>
                  <a:cubicBezTo>
                    <a:pt x="132" y="96"/>
                    <a:pt x="132" y="96"/>
                    <a:pt x="132" y="96"/>
                  </a:cubicBezTo>
                  <a:cubicBezTo>
                    <a:pt x="20" y="96"/>
                    <a:pt x="20" y="96"/>
                    <a:pt x="20" y="96"/>
                  </a:cubicBezTo>
                  <a:lnTo>
                    <a:pt x="20" y="50"/>
                  </a:lnTo>
                  <a:close/>
                  <a:moveTo>
                    <a:pt x="20" y="104"/>
                  </a:moveTo>
                  <a:cubicBezTo>
                    <a:pt x="132" y="104"/>
                    <a:pt x="132" y="104"/>
                    <a:pt x="132" y="104"/>
                  </a:cubicBezTo>
                  <a:cubicBezTo>
                    <a:pt x="132" y="116"/>
                    <a:pt x="132" y="116"/>
                    <a:pt x="132" y="116"/>
                  </a:cubicBezTo>
                  <a:cubicBezTo>
                    <a:pt x="33" y="116"/>
                    <a:pt x="33" y="116"/>
                    <a:pt x="33" y="116"/>
                  </a:cubicBezTo>
                  <a:cubicBezTo>
                    <a:pt x="33" y="182"/>
                    <a:pt x="33" y="182"/>
                    <a:pt x="33" y="182"/>
                  </a:cubicBezTo>
                  <a:cubicBezTo>
                    <a:pt x="33" y="187"/>
                    <a:pt x="35" y="191"/>
                    <a:pt x="38" y="194"/>
                  </a:cubicBezTo>
                  <a:cubicBezTo>
                    <a:pt x="41" y="197"/>
                    <a:pt x="45" y="199"/>
                    <a:pt x="50" y="199"/>
                  </a:cubicBezTo>
                  <a:cubicBezTo>
                    <a:pt x="132" y="199"/>
                    <a:pt x="132" y="199"/>
                    <a:pt x="132" y="199"/>
                  </a:cubicBezTo>
                  <a:cubicBezTo>
                    <a:pt x="132" y="211"/>
                    <a:pt x="132" y="211"/>
                    <a:pt x="132" y="211"/>
                  </a:cubicBezTo>
                  <a:cubicBezTo>
                    <a:pt x="50" y="211"/>
                    <a:pt x="50" y="211"/>
                    <a:pt x="50" y="211"/>
                  </a:cubicBezTo>
                  <a:cubicBezTo>
                    <a:pt x="42" y="211"/>
                    <a:pt x="35" y="209"/>
                    <a:pt x="29" y="203"/>
                  </a:cubicBezTo>
                  <a:cubicBezTo>
                    <a:pt x="23" y="197"/>
                    <a:pt x="20" y="190"/>
                    <a:pt x="20" y="182"/>
                  </a:cubicBezTo>
                  <a:lnTo>
                    <a:pt x="20" y="104"/>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8" name="TextBox 1">
            <a:extLst>
              <a:ext uri="{FF2B5EF4-FFF2-40B4-BE49-F238E27FC236}">
                <a16:creationId xmlns:a16="http://schemas.microsoft.com/office/drawing/2014/main" id="{D0522031-8805-46F3-6B95-98244993FDC7}"/>
              </a:ext>
            </a:extLst>
          </p:cNvPr>
          <p:cNvSpPr txBox="1">
            <a:spLocks noChangeArrowheads="1"/>
          </p:cNvSpPr>
          <p:nvPr/>
        </p:nvSpPr>
        <p:spPr bwMode="auto">
          <a:xfrm>
            <a:off x="11345863" y="6402388"/>
            <a:ext cx="354012" cy="261937"/>
          </a:xfrm>
          <a:prstGeom prst="rect">
            <a:avLst/>
          </a:prstGeom>
          <a:noFill/>
          <a:ln>
            <a:noFill/>
          </a:ln>
        </p:spPr>
        <p:txBody>
          <a:bodyPr wrap="none">
            <a:spAutoFit/>
          </a:bodyPr>
          <a:lstStyle>
            <a:lvl1pPr>
              <a:defRPr>
                <a:solidFill>
                  <a:schemeClr val="tx1"/>
                </a:solidFill>
                <a:latin typeface="Lato Light" panose="020F0502020204030203" pitchFamily="34" charset="0"/>
              </a:defRPr>
            </a:lvl1pPr>
            <a:lvl2pPr marL="742950" indent="-285750">
              <a:defRPr>
                <a:solidFill>
                  <a:schemeClr val="tx1"/>
                </a:solidFill>
                <a:latin typeface="Lato Light" panose="020F0502020204030203" pitchFamily="34" charset="0"/>
              </a:defRPr>
            </a:lvl2pPr>
            <a:lvl3pPr marL="1143000" indent="-228600">
              <a:defRPr>
                <a:solidFill>
                  <a:schemeClr val="tx1"/>
                </a:solidFill>
                <a:latin typeface="Lato Light" panose="020F0502020204030203" pitchFamily="34" charset="0"/>
              </a:defRPr>
            </a:lvl3pPr>
            <a:lvl4pPr marL="1600200" indent="-228600">
              <a:defRPr>
                <a:solidFill>
                  <a:schemeClr val="tx1"/>
                </a:solidFill>
                <a:latin typeface="Lato Light" panose="020F0502020204030203" pitchFamily="34" charset="0"/>
              </a:defRPr>
            </a:lvl4pPr>
            <a:lvl5pPr marL="2057400" indent="-228600">
              <a:defRPr>
                <a:solidFill>
                  <a:schemeClr val="tx1"/>
                </a:solidFill>
                <a:latin typeface="Lato Light" panose="020F0502020204030203" pitchFamily="34" charset="0"/>
              </a:defRPr>
            </a:lvl5pPr>
            <a:lvl6pPr marL="2514600" indent="-228600" eaLnBrk="0" fontAlgn="base" hangingPunct="0">
              <a:spcBef>
                <a:spcPct val="0"/>
              </a:spcBef>
              <a:spcAft>
                <a:spcPct val="0"/>
              </a:spcAft>
              <a:defRPr>
                <a:solidFill>
                  <a:schemeClr val="tx1"/>
                </a:solidFill>
                <a:latin typeface="Lato Light" panose="020F0502020204030203" pitchFamily="34" charset="0"/>
              </a:defRPr>
            </a:lvl6pPr>
            <a:lvl7pPr marL="2971800" indent="-228600" eaLnBrk="0" fontAlgn="base" hangingPunct="0">
              <a:spcBef>
                <a:spcPct val="0"/>
              </a:spcBef>
              <a:spcAft>
                <a:spcPct val="0"/>
              </a:spcAft>
              <a:defRPr>
                <a:solidFill>
                  <a:schemeClr val="tx1"/>
                </a:solidFill>
                <a:latin typeface="Lato Light" panose="020F0502020204030203" pitchFamily="34" charset="0"/>
              </a:defRPr>
            </a:lvl7pPr>
            <a:lvl8pPr marL="3429000" indent="-228600" eaLnBrk="0" fontAlgn="base" hangingPunct="0">
              <a:spcBef>
                <a:spcPct val="0"/>
              </a:spcBef>
              <a:spcAft>
                <a:spcPct val="0"/>
              </a:spcAft>
              <a:defRPr>
                <a:solidFill>
                  <a:schemeClr val="tx1"/>
                </a:solidFill>
                <a:latin typeface="Lato Light" panose="020F0502020204030203" pitchFamily="34" charset="0"/>
              </a:defRPr>
            </a:lvl8pPr>
            <a:lvl9pPr marL="3886200" indent="-228600" eaLnBrk="0" fontAlgn="base" hangingPunct="0">
              <a:spcBef>
                <a:spcPct val="0"/>
              </a:spcBef>
              <a:spcAft>
                <a:spcPct val="0"/>
              </a:spcAft>
              <a:defRPr>
                <a:solidFill>
                  <a:schemeClr val="tx1"/>
                </a:solidFill>
                <a:latin typeface="Lato Light" panose="020F0502020204030203" pitchFamily="34" charset="0"/>
              </a:defRPr>
            </a:lvl9pPr>
          </a:lstStyle>
          <a:p>
            <a:pPr algn="ctr" eaLnBrk="1" hangingPunct="1">
              <a:defRPr/>
            </a:pPr>
            <a:fld id="{1F182242-7A0B-468D-9522-D3CEB4D91CBA}" type="slidenum">
              <a:rPr lang="en-US" altLang="tr-TR" sz="1100" smtClean="0">
                <a:solidFill>
                  <a:schemeClr val="tx2"/>
                </a:solidFill>
              </a:rPr>
              <a:pPr algn="ctr" eaLnBrk="1" hangingPunct="1">
                <a:defRPr/>
              </a:pPr>
              <a:t>‹#›</a:t>
            </a:fld>
            <a:endParaRPr lang="en-US" altLang="tr-TR" sz="1100">
              <a:solidFill>
                <a:schemeClr val="tx2"/>
              </a:solidFill>
            </a:endParaRPr>
          </a:p>
        </p:txBody>
      </p:sp>
    </p:spTree>
    <p:extLst>
      <p:ext uri="{BB962C8B-B14F-4D97-AF65-F5344CB8AC3E}">
        <p14:creationId xmlns:p14="http://schemas.microsoft.com/office/powerpoint/2010/main" val="1395118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Right">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2C378BDE-5C5C-6F8F-BC9D-3438FAB45894}"/>
              </a:ext>
            </a:extLst>
          </p:cNvPr>
          <p:cNvSpPr/>
          <p:nvPr/>
        </p:nvSpPr>
        <p:spPr>
          <a:xfrm>
            <a:off x="11350625" y="6361113"/>
            <a:ext cx="344488" cy="344487"/>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2"/>
              </a:solidFill>
            </a:endParaRPr>
          </a:p>
        </p:txBody>
      </p:sp>
      <p:sp>
        <p:nvSpPr>
          <p:cNvPr id="3" name="TextBox 4">
            <a:extLst>
              <a:ext uri="{FF2B5EF4-FFF2-40B4-BE49-F238E27FC236}">
                <a16:creationId xmlns:a16="http://schemas.microsoft.com/office/drawing/2014/main" id="{22C43737-1E34-18A9-A740-B1F21E11694A}"/>
              </a:ext>
            </a:extLst>
          </p:cNvPr>
          <p:cNvSpPr txBox="1">
            <a:spLocks noChangeArrowheads="1"/>
          </p:cNvSpPr>
          <p:nvPr/>
        </p:nvSpPr>
        <p:spPr bwMode="auto">
          <a:xfrm>
            <a:off x="11345863" y="6402388"/>
            <a:ext cx="354012" cy="261937"/>
          </a:xfrm>
          <a:prstGeom prst="rect">
            <a:avLst/>
          </a:prstGeom>
          <a:noFill/>
          <a:ln>
            <a:noFill/>
          </a:ln>
        </p:spPr>
        <p:txBody>
          <a:bodyPr wrap="none">
            <a:spAutoFit/>
          </a:bodyPr>
          <a:lstStyle>
            <a:lvl1pPr>
              <a:defRPr>
                <a:solidFill>
                  <a:schemeClr val="tx1"/>
                </a:solidFill>
                <a:latin typeface="Lato Light" panose="020F0502020204030203" pitchFamily="34" charset="0"/>
              </a:defRPr>
            </a:lvl1pPr>
            <a:lvl2pPr marL="742950" indent="-285750">
              <a:defRPr>
                <a:solidFill>
                  <a:schemeClr val="tx1"/>
                </a:solidFill>
                <a:latin typeface="Lato Light" panose="020F0502020204030203" pitchFamily="34" charset="0"/>
              </a:defRPr>
            </a:lvl2pPr>
            <a:lvl3pPr marL="1143000" indent="-228600">
              <a:defRPr>
                <a:solidFill>
                  <a:schemeClr val="tx1"/>
                </a:solidFill>
                <a:latin typeface="Lato Light" panose="020F0502020204030203" pitchFamily="34" charset="0"/>
              </a:defRPr>
            </a:lvl3pPr>
            <a:lvl4pPr marL="1600200" indent="-228600">
              <a:defRPr>
                <a:solidFill>
                  <a:schemeClr val="tx1"/>
                </a:solidFill>
                <a:latin typeface="Lato Light" panose="020F0502020204030203" pitchFamily="34" charset="0"/>
              </a:defRPr>
            </a:lvl4pPr>
            <a:lvl5pPr marL="2057400" indent="-228600">
              <a:defRPr>
                <a:solidFill>
                  <a:schemeClr val="tx1"/>
                </a:solidFill>
                <a:latin typeface="Lato Light" panose="020F0502020204030203" pitchFamily="34" charset="0"/>
              </a:defRPr>
            </a:lvl5pPr>
            <a:lvl6pPr marL="2514600" indent="-228600" eaLnBrk="0" fontAlgn="base" hangingPunct="0">
              <a:spcBef>
                <a:spcPct val="0"/>
              </a:spcBef>
              <a:spcAft>
                <a:spcPct val="0"/>
              </a:spcAft>
              <a:defRPr>
                <a:solidFill>
                  <a:schemeClr val="tx1"/>
                </a:solidFill>
                <a:latin typeface="Lato Light" panose="020F0502020204030203" pitchFamily="34" charset="0"/>
              </a:defRPr>
            </a:lvl6pPr>
            <a:lvl7pPr marL="2971800" indent="-228600" eaLnBrk="0" fontAlgn="base" hangingPunct="0">
              <a:spcBef>
                <a:spcPct val="0"/>
              </a:spcBef>
              <a:spcAft>
                <a:spcPct val="0"/>
              </a:spcAft>
              <a:defRPr>
                <a:solidFill>
                  <a:schemeClr val="tx1"/>
                </a:solidFill>
                <a:latin typeface="Lato Light" panose="020F0502020204030203" pitchFamily="34" charset="0"/>
              </a:defRPr>
            </a:lvl7pPr>
            <a:lvl8pPr marL="3429000" indent="-228600" eaLnBrk="0" fontAlgn="base" hangingPunct="0">
              <a:spcBef>
                <a:spcPct val="0"/>
              </a:spcBef>
              <a:spcAft>
                <a:spcPct val="0"/>
              </a:spcAft>
              <a:defRPr>
                <a:solidFill>
                  <a:schemeClr val="tx1"/>
                </a:solidFill>
                <a:latin typeface="Lato Light" panose="020F0502020204030203" pitchFamily="34" charset="0"/>
              </a:defRPr>
            </a:lvl8pPr>
            <a:lvl9pPr marL="3886200" indent="-228600" eaLnBrk="0" fontAlgn="base" hangingPunct="0">
              <a:spcBef>
                <a:spcPct val="0"/>
              </a:spcBef>
              <a:spcAft>
                <a:spcPct val="0"/>
              </a:spcAft>
              <a:defRPr>
                <a:solidFill>
                  <a:schemeClr val="tx1"/>
                </a:solidFill>
                <a:latin typeface="Lato Light" panose="020F0502020204030203" pitchFamily="34" charset="0"/>
              </a:defRPr>
            </a:lvl9pPr>
          </a:lstStyle>
          <a:p>
            <a:pPr algn="ctr" eaLnBrk="1" hangingPunct="1">
              <a:defRPr/>
            </a:pPr>
            <a:fld id="{CF4DE932-9D84-462C-9877-D23A7821A5A7}" type="slidenum">
              <a:rPr lang="en-US" altLang="tr-TR" sz="1100" smtClean="0">
                <a:solidFill>
                  <a:schemeClr val="tx2"/>
                </a:solidFill>
              </a:rPr>
              <a:pPr algn="ctr" eaLnBrk="1" hangingPunct="1">
                <a:defRPr/>
              </a:pPr>
              <a:t>‹#›</a:t>
            </a:fld>
            <a:endParaRPr lang="en-US" altLang="tr-TR" sz="1100">
              <a:solidFill>
                <a:schemeClr val="tx2"/>
              </a:solidFill>
            </a:endParaRPr>
          </a:p>
        </p:txBody>
      </p:sp>
    </p:spTree>
    <p:extLst>
      <p:ext uri="{BB962C8B-B14F-4D97-AF65-F5344CB8AC3E}">
        <p14:creationId xmlns:p14="http://schemas.microsoft.com/office/powerpoint/2010/main" val="4707241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Left">
    <p:spTree>
      <p:nvGrpSpPr>
        <p:cNvPr id="1" name=""/>
        <p:cNvGrpSpPr/>
        <p:nvPr/>
      </p:nvGrpSpPr>
      <p:grpSpPr>
        <a:xfrm>
          <a:off x="0" y="0"/>
          <a:ext cx="0" cy="0"/>
          <a:chOff x="0" y="0"/>
          <a:chExt cx="0" cy="0"/>
        </a:xfrm>
      </p:grpSpPr>
      <p:grpSp>
        <p:nvGrpSpPr>
          <p:cNvPr id="2" name="Group 4">
            <a:extLst>
              <a:ext uri="{FF2B5EF4-FFF2-40B4-BE49-F238E27FC236}">
                <a16:creationId xmlns:a16="http://schemas.microsoft.com/office/drawing/2014/main" id="{0FE0C417-5B53-9F27-372C-C90F30AFF42A}"/>
              </a:ext>
            </a:extLst>
          </p:cNvPr>
          <p:cNvGrpSpPr>
            <a:grpSpLocks noChangeAspect="1"/>
          </p:cNvGrpSpPr>
          <p:nvPr/>
        </p:nvGrpSpPr>
        <p:grpSpPr bwMode="auto">
          <a:xfrm>
            <a:off x="527050" y="6389688"/>
            <a:ext cx="1039813" cy="284162"/>
            <a:chOff x="297" y="1187"/>
            <a:chExt cx="7085" cy="1944"/>
          </a:xfrm>
        </p:grpSpPr>
        <p:sp>
          <p:nvSpPr>
            <p:cNvPr id="3" name="Freeform 6">
              <a:extLst>
                <a:ext uri="{FF2B5EF4-FFF2-40B4-BE49-F238E27FC236}">
                  <a16:creationId xmlns:a16="http://schemas.microsoft.com/office/drawing/2014/main" id="{9A8CC10A-0AAD-7615-FDFD-E94492D83A25}"/>
                </a:ext>
              </a:extLst>
            </p:cNvPr>
            <p:cNvSpPr>
              <a:spLocks noEditPoints="1"/>
            </p:cNvSpPr>
            <p:nvPr userDrawn="1"/>
          </p:nvSpPr>
          <p:spPr bwMode="auto">
            <a:xfrm>
              <a:off x="297" y="1189"/>
              <a:ext cx="1266" cy="1105"/>
            </a:xfrm>
            <a:custGeom>
              <a:avLst/>
              <a:gdLst>
                <a:gd name="T0" fmla="*/ 592814223 w 535"/>
                <a:gd name="T1" fmla="*/ 490470457 h 466"/>
                <a:gd name="T2" fmla="*/ 475447313 w 535"/>
                <a:gd name="T3" fmla="*/ 198813566 h 466"/>
                <a:gd name="T4" fmla="*/ 254086917 w 535"/>
                <a:gd name="T5" fmla="*/ 767261907 h 466"/>
                <a:gd name="T6" fmla="*/ 205935911 w 535"/>
                <a:gd name="T7" fmla="*/ 898255873 h 466"/>
                <a:gd name="T8" fmla="*/ 135177273 w 535"/>
                <a:gd name="T9" fmla="*/ 1082812292 h 466"/>
                <a:gd name="T10" fmla="*/ 135177273 w 535"/>
                <a:gd name="T11" fmla="*/ 1079972834 h 466"/>
                <a:gd name="T12" fmla="*/ 102568007 w 535"/>
                <a:gd name="T13" fmla="*/ 1104057219 h 466"/>
                <a:gd name="T14" fmla="*/ 25381052 w 535"/>
                <a:gd name="T15" fmla="*/ 1104057219 h 466"/>
                <a:gd name="T16" fmla="*/ 0 w 535"/>
                <a:gd name="T17" fmla="*/ 1087116478 h 466"/>
                <a:gd name="T18" fmla="*/ 2031267 w 535"/>
                <a:gd name="T19" fmla="*/ 1078264271 h 466"/>
                <a:gd name="T20" fmla="*/ 4806699 w 535"/>
                <a:gd name="T21" fmla="*/ 1068152912 h 466"/>
                <a:gd name="T22" fmla="*/ 423281075 w 535"/>
                <a:gd name="T23" fmla="*/ 19018883 h 466"/>
                <a:gd name="T24" fmla="*/ 425157884 w 535"/>
                <a:gd name="T25" fmla="*/ 16871626 h 466"/>
                <a:gd name="T26" fmla="*/ 423281075 w 535"/>
                <a:gd name="T27" fmla="*/ 19018883 h 466"/>
                <a:gd name="T28" fmla="*/ 430186005 w 535"/>
                <a:gd name="T29" fmla="*/ 7115093 h 466"/>
                <a:gd name="T30" fmla="*/ 453467932 w 535"/>
                <a:gd name="T31" fmla="*/ 0 h 466"/>
                <a:gd name="T32" fmla="*/ 500809590 w 535"/>
                <a:gd name="T33" fmla="*/ 0 h 466"/>
                <a:gd name="T34" fmla="*/ 522062318 w 535"/>
                <a:gd name="T35" fmla="*/ 7115093 h 466"/>
                <a:gd name="T36" fmla="*/ 528624526 w 535"/>
                <a:gd name="T37" fmla="*/ 19018883 h 466"/>
                <a:gd name="T38" fmla="*/ 530657417 w 535"/>
                <a:gd name="T39" fmla="*/ 19018883 h 466"/>
                <a:gd name="T40" fmla="*/ 532753721 w 535"/>
                <a:gd name="T41" fmla="*/ 23986629 h 466"/>
                <a:gd name="T42" fmla="*/ 530657417 w 535"/>
                <a:gd name="T43" fmla="*/ 21137875 h 466"/>
                <a:gd name="T44" fmla="*/ 656507488 w 535"/>
                <a:gd name="T45" fmla="*/ 336755356 h 466"/>
                <a:gd name="T46" fmla="*/ 592814223 w 535"/>
                <a:gd name="T47" fmla="*/ 490470457 h 466"/>
                <a:gd name="T48" fmla="*/ 1063415281 w 535"/>
                <a:gd name="T49" fmla="*/ 1007003229 h 466"/>
                <a:gd name="T50" fmla="*/ 1020096784 w 535"/>
                <a:gd name="T51" fmla="*/ 898255873 h 466"/>
                <a:gd name="T52" fmla="*/ 862287051 w 535"/>
                <a:gd name="T53" fmla="*/ 490470457 h 466"/>
                <a:gd name="T54" fmla="*/ 745075518 w 535"/>
                <a:gd name="T55" fmla="*/ 198813566 h 466"/>
                <a:gd name="T56" fmla="*/ 524093625 w 535"/>
                <a:gd name="T57" fmla="*/ 767261907 h 466"/>
                <a:gd name="T58" fmla="*/ 473909525 w 535"/>
                <a:gd name="T59" fmla="*/ 898255873 h 466"/>
                <a:gd name="T60" fmla="*/ 405184384 w 535"/>
                <a:gd name="T61" fmla="*/ 1082812292 h 466"/>
                <a:gd name="T62" fmla="*/ 405184384 w 535"/>
                <a:gd name="T63" fmla="*/ 1079972834 h 466"/>
                <a:gd name="T64" fmla="*/ 372851835 w 535"/>
                <a:gd name="T65" fmla="*/ 1104057219 h 466"/>
                <a:gd name="T66" fmla="*/ 295029932 w 535"/>
                <a:gd name="T67" fmla="*/ 1104057219 h 466"/>
                <a:gd name="T68" fmla="*/ 269628205 w 535"/>
                <a:gd name="T69" fmla="*/ 1087116478 h 466"/>
                <a:gd name="T70" fmla="*/ 272403609 w 535"/>
                <a:gd name="T71" fmla="*/ 1078264271 h 466"/>
                <a:gd name="T72" fmla="*/ 274527635 w 535"/>
                <a:gd name="T73" fmla="*/ 1068152912 h 466"/>
                <a:gd name="T74" fmla="*/ 693246507 w 535"/>
                <a:gd name="T75" fmla="*/ 19018883 h 466"/>
                <a:gd name="T76" fmla="*/ 694891188 w 535"/>
                <a:gd name="T77" fmla="*/ 16871626 h 466"/>
                <a:gd name="T78" fmla="*/ 693246507 w 535"/>
                <a:gd name="T79" fmla="*/ 19018883 h 466"/>
                <a:gd name="T80" fmla="*/ 699814170 w 535"/>
                <a:gd name="T81" fmla="*/ 7115093 h 466"/>
                <a:gd name="T82" fmla="*/ 722963600 w 535"/>
                <a:gd name="T83" fmla="*/ 0 h 466"/>
                <a:gd name="T84" fmla="*/ 770453496 w 535"/>
                <a:gd name="T85" fmla="*/ 0 h 466"/>
                <a:gd name="T86" fmla="*/ 791690909 w 535"/>
                <a:gd name="T87" fmla="*/ 7115093 h 466"/>
                <a:gd name="T88" fmla="*/ 798593889 w 535"/>
                <a:gd name="T89" fmla="*/ 19018883 h 466"/>
                <a:gd name="T90" fmla="*/ 800282813 w 535"/>
                <a:gd name="T91" fmla="*/ 19018883 h 466"/>
                <a:gd name="T92" fmla="*/ 800282813 w 535"/>
                <a:gd name="T93" fmla="*/ 23986629 h 466"/>
                <a:gd name="T94" fmla="*/ 800282813 w 535"/>
                <a:gd name="T95" fmla="*/ 21137875 h 466"/>
                <a:gd name="T96" fmla="*/ 1221874959 w 535"/>
                <a:gd name="T97" fmla="*/ 1068152912 h 466"/>
                <a:gd name="T98" fmla="*/ 1223907795 w 535"/>
                <a:gd name="T99" fmla="*/ 1073239556 h 466"/>
                <a:gd name="T100" fmla="*/ 1223907795 w 535"/>
                <a:gd name="T101" fmla="*/ 1087116478 h 466"/>
                <a:gd name="T102" fmla="*/ 1198604492 w 535"/>
                <a:gd name="T103" fmla="*/ 1104057219 h 466"/>
                <a:gd name="T104" fmla="*/ 1123315401 w 535"/>
                <a:gd name="T105" fmla="*/ 1104057219 h 466"/>
                <a:gd name="T106" fmla="*/ 1091504023 w 535"/>
                <a:gd name="T107" fmla="*/ 1082812292 h 466"/>
                <a:gd name="T108" fmla="*/ 1063415281 w 535"/>
                <a:gd name="T109" fmla="*/ 1007003229 h 4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35" h="466">
                  <a:moveTo>
                    <a:pt x="259" y="207"/>
                  </a:moveTo>
                  <a:cubicBezTo>
                    <a:pt x="208" y="84"/>
                    <a:pt x="208" y="84"/>
                    <a:pt x="208" y="84"/>
                  </a:cubicBezTo>
                  <a:cubicBezTo>
                    <a:pt x="111" y="324"/>
                    <a:pt x="111" y="324"/>
                    <a:pt x="111" y="324"/>
                  </a:cubicBezTo>
                  <a:cubicBezTo>
                    <a:pt x="90" y="379"/>
                    <a:pt x="90" y="379"/>
                    <a:pt x="90" y="379"/>
                  </a:cubicBezTo>
                  <a:cubicBezTo>
                    <a:pt x="59" y="457"/>
                    <a:pt x="59" y="457"/>
                    <a:pt x="59" y="457"/>
                  </a:cubicBezTo>
                  <a:cubicBezTo>
                    <a:pt x="59" y="456"/>
                    <a:pt x="59" y="456"/>
                    <a:pt x="59" y="456"/>
                  </a:cubicBezTo>
                  <a:cubicBezTo>
                    <a:pt x="56" y="462"/>
                    <a:pt x="51" y="466"/>
                    <a:pt x="45" y="466"/>
                  </a:cubicBezTo>
                  <a:cubicBezTo>
                    <a:pt x="11" y="466"/>
                    <a:pt x="11" y="466"/>
                    <a:pt x="11" y="466"/>
                  </a:cubicBezTo>
                  <a:cubicBezTo>
                    <a:pt x="4" y="466"/>
                    <a:pt x="0" y="464"/>
                    <a:pt x="0" y="459"/>
                  </a:cubicBezTo>
                  <a:cubicBezTo>
                    <a:pt x="0" y="458"/>
                    <a:pt x="0" y="457"/>
                    <a:pt x="1" y="455"/>
                  </a:cubicBezTo>
                  <a:cubicBezTo>
                    <a:pt x="2" y="451"/>
                    <a:pt x="2" y="451"/>
                    <a:pt x="2" y="451"/>
                  </a:cubicBezTo>
                  <a:cubicBezTo>
                    <a:pt x="185" y="8"/>
                    <a:pt x="185" y="8"/>
                    <a:pt x="185" y="8"/>
                  </a:cubicBezTo>
                  <a:cubicBezTo>
                    <a:pt x="185" y="8"/>
                    <a:pt x="185" y="7"/>
                    <a:pt x="186" y="7"/>
                  </a:cubicBezTo>
                  <a:cubicBezTo>
                    <a:pt x="185" y="8"/>
                    <a:pt x="185" y="8"/>
                    <a:pt x="185" y="8"/>
                  </a:cubicBezTo>
                  <a:cubicBezTo>
                    <a:pt x="188" y="3"/>
                    <a:pt x="188" y="3"/>
                    <a:pt x="188" y="3"/>
                  </a:cubicBezTo>
                  <a:cubicBezTo>
                    <a:pt x="190" y="1"/>
                    <a:pt x="193" y="0"/>
                    <a:pt x="198" y="0"/>
                  </a:cubicBezTo>
                  <a:cubicBezTo>
                    <a:pt x="219" y="0"/>
                    <a:pt x="219" y="0"/>
                    <a:pt x="219" y="0"/>
                  </a:cubicBezTo>
                  <a:cubicBezTo>
                    <a:pt x="224" y="0"/>
                    <a:pt x="227" y="1"/>
                    <a:pt x="228" y="3"/>
                  </a:cubicBezTo>
                  <a:cubicBezTo>
                    <a:pt x="231" y="8"/>
                    <a:pt x="231" y="8"/>
                    <a:pt x="231" y="8"/>
                  </a:cubicBezTo>
                  <a:cubicBezTo>
                    <a:pt x="231" y="8"/>
                    <a:pt x="231" y="8"/>
                    <a:pt x="232" y="8"/>
                  </a:cubicBezTo>
                  <a:cubicBezTo>
                    <a:pt x="233" y="10"/>
                    <a:pt x="233" y="10"/>
                    <a:pt x="233" y="10"/>
                  </a:cubicBezTo>
                  <a:cubicBezTo>
                    <a:pt x="232" y="9"/>
                    <a:pt x="232" y="9"/>
                    <a:pt x="232" y="9"/>
                  </a:cubicBezTo>
                  <a:cubicBezTo>
                    <a:pt x="287" y="142"/>
                    <a:pt x="287" y="142"/>
                    <a:pt x="287" y="142"/>
                  </a:cubicBezTo>
                  <a:lnTo>
                    <a:pt x="259" y="207"/>
                  </a:lnTo>
                  <a:close/>
                  <a:moveTo>
                    <a:pt x="465" y="425"/>
                  </a:moveTo>
                  <a:cubicBezTo>
                    <a:pt x="446" y="379"/>
                    <a:pt x="446" y="379"/>
                    <a:pt x="446" y="379"/>
                  </a:cubicBezTo>
                  <a:cubicBezTo>
                    <a:pt x="377" y="207"/>
                    <a:pt x="377" y="207"/>
                    <a:pt x="377" y="207"/>
                  </a:cubicBezTo>
                  <a:cubicBezTo>
                    <a:pt x="326" y="84"/>
                    <a:pt x="326" y="84"/>
                    <a:pt x="326" y="84"/>
                  </a:cubicBezTo>
                  <a:cubicBezTo>
                    <a:pt x="229" y="324"/>
                    <a:pt x="229" y="324"/>
                    <a:pt x="229" y="324"/>
                  </a:cubicBezTo>
                  <a:cubicBezTo>
                    <a:pt x="207" y="379"/>
                    <a:pt x="207" y="379"/>
                    <a:pt x="207" y="379"/>
                  </a:cubicBezTo>
                  <a:cubicBezTo>
                    <a:pt x="177" y="457"/>
                    <a:pt x="177" y="457"/>
                    <a:pt x="177" y="457"/>
                  </a:cubicBezTo>
                  <a:cubicBezTo>
                    <a:pt x="177" y="456"/>
                    <a:pt x="177" y="456"/>
                    <a:pt x="177" y="456"/>
                  </a:cubicBezTo>
                  <a:cubicBezTo>
                    <a:pt x="174" y="462"/>
                    <a:pt x="169" y="466"/>
                    <a:pt x="163" y="466"/>
                  </a:cubicBezTo>
                  <a:cubicBezTo>
                    <a:pt x="129" y="466"/>
                    <a:pt x="129" y="466"/>
                    <a:pt x="129" y="466"/>
                  </a:cubicBezTo>
                  <a:cubicBezTo>
                    <a:pt x="122" y="466"/>
                    <a:pt x="118" y="464"/>
                    <a:pt x="118" y="459"/>
                  </a:cubicBezTo>
                  <a:cubicBezTo>
                    <a:pt x="118" y="458"/>
                    <a:pt x="118" y="457"/>
                    <a:pt x="119" y="455"/>
                  </a:cubicBezTo>
                  <a:cubicBezTo>
                    <a:pt x="120" y="451"/>
                    <a:pt x="120" y="451"/>
                    <a:pt x="120" y="451"/>
                  </a:cubicBezTo>
                  <a:cubicBezTo>
                    <a:pt x="303" y="8"/>
                    <a:pt x="303" y="8"/>
                    <a:pt x="303" y="8"/>
                  </a:cubicBezTo>
                  <a:cubicBezTo>
                    <a:pt x="303" y="8"/>
                    <a:pt x="303" y="7"/>
                    <a:pt x="304" y="7"/>
                  </a:cubicBezTo>
                  <a:cubicBezTo>
                    <a:pt x="303" y="8"/>
                    <a:pt x="303" y="8"/>
                    <a:pt x="303" y="8"/>
                  </a:cubicBezTo>
                  <a:cubicBezTo>
                    <a:pt x="306" y="3"/>
                    <a:pt x="306" y="3"/>
                    <a:pt x="306" y="3"/>
                  </a:cubicBezTo>
                  <a:cubicBezTo>
                    <a:pt x="308" y="1"/>
                    <a:pt x="311" y="0"/>
                    <a:pt x="316" y="0"/>
                  </a:cubicBezTo>
                  <a:cubicBezTo>
                    <a:pt x="337" y="0"/>
                    <a:pt x="337" y="0"/>
                    <a:pt x="337" y="0"/>
                  </a:cubicBezTo>
                  <a:cubicBezTo>
                    <a:pt x="342" y="0"/>
                    <a:pt x="344" y="1"/>
                    <a:pt x="346" y="3"/>
                  </a:cubicBezTo>
                  <a:cubicBezTo>
                    <a:pt x="349" y="8"/>
                    <a:pt x="349" y="8"/>
                    <a:pt x="349" y="8"/>
                  </a:cubicBezTo>
                  <a:cubicBezTo>
                    <a:pt x="349" y="8"/>
                    <a:pt x="349" y="8"/>
                    <a:pt x="350" y="8"/>
                  </a:cubicBezTo>
                  <a:cubicBezTo>
                    <a:pt x="350" y="10"/>
                    <a:pt x="350" y="10"/>
                    <a:pt x="350" y="10"/>
                  </a:cubicBezTo>
                  <a:cubicBezTo>
                    <a:pt x="350" y="9"/>
                    <a:pt x="350" y="9"/>
                    <a:pt x="350" y="9"/>
                  </a:cubicBezTo>
                  <a:cubicBezTo>
                    <a:pt x="534" y="451"/>
                    <a:pt x="534" y="451"/>
                    <a:pt x="534" y="451"/>
                  </a:cubicBezTo>
                  <a:cubicBezTo>
                    <a:pt x="535" y="453"/>
                    <a:pt x="535" y="453"/>
                    <a:pt x="535" y="453"/>
                  </a:cubicBezTo>
                  <a:cubicBezTo>
                    <a:pt x="535" y="455"/>
                    <a:pt x="535" y="457"/>
                    <a:pt x="535" y="459"/>
                  </a:cubicBezTo>
                  <a:cubicBezTo>
                    <a:pt x="535" y="464"/>
                    <a:pt x="532" y="466"/>
                    <a:pt x="524" y="466"/>
                  </a:cubicBezTo>
                  <a:cubicBezTo>
                    <a:pt x="491" y="466"/>
                    <a:pt x="491" y="466"/>
                    <a:pt x="491" y="466"/>
                  </a:cubicBezTo>
                  <a:cubicBezTo>
                    <a:pt x="479" y="466"/>
                    <a:pt x="477" y="456"/>
                    <a:pt x="477" y="457"/>
                  </a:cubicBezTo>
                  <a:lnTo>
                    <a:pt x="465" y="425"/>
                  </a:lnTo>
                  <a:close/>
                </a:path>
              </a:pathLst>
            </a:custGeom>
            <a:solidFill>
              <a:srgbClr val="2580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 name="Freeform 6">
              <a:extLst>
                <a:ext uri="{FF2B5EF4-FFF2-40B4-BE49-F238E27FC236}">
                  <a16:creationId xmlns:a16="http://schemas.microsoft.com/office/drawing/2014/main" id="{CE68B6CE-3BB6-1EFA-777B-33D9CB31FFE9}"/>
                </a:ext>
              </a:extLst>
            </p:cNvPr>
            <p:cNvSpPr>
              <a:spLocks noEditPoints="1"/>
            </p:cNvSpPr>
            <p:nvPr userDrawn="1"/>
          </p:nvSpPr>
          <p:spPr bwMode="auto">
            <a:xfrm>
              <a:off x="1456" y="1189"/>
              <a:ext cx="986" cy="1105"/>
            </a:xfrm>
            <a:custGeom>
              <a:avLst/>
              <a:gdLst>
                <a:gd name="T0" fmla="*/ 26658435 w 417"/>
                <a:gd name="T1" fmla="*/ 1104057219 h 466"/>
                <a:gd name="T2" fmla="*/ 0 w 417"/>
                <a:gd name="T3" fmla="*/ 1084997487 h 466"/>
                <a:gd name="T4" fmla="*/ 0 w 417"/>
                <a:gd name="T5" fmla="*/ 1071148297 h 466"/>
                <a:gd name="T6" fmla="*/ 2016564 w 417"/>
                <a:gd name="T7" fmla="*/ 1065967725 h 466"/>
                <a:gd name="T8" fmla="*/ 440005146 w 417"/>
                <a:gd name="T9" fmla="*/ 19018883 h 466"/>
                <a:gd name="T10" fmla="*/ 469546985 w 417"/>
                <a:gd name="T11" fmla="*/ 0 h 466"/>
                <a:gd name="T12" fmla="*/ 474377529 w 417"/>
                <a:gd name="T13" fmla="*/ 0 h 466"/>
                <a:gd name="T14" fmla="*/ 505945896 w 417"/>
                <a:gd name="T15" fmla="*/ 21137875 h 466"/>
                <a:gd name="T16" fmla="*/ 612172944 w 417"/>
                <a:gd name="T17" fmla="*/ 284828039 h 466"/>
                <a:gd name="T18" fmla="*/ 830540312 w 417"/>
                <a:gd name="T19" fmla="*/ 805128453 h 466"/>
                <a:gd name="T20" fmla="*/ 936767478 w 417"/>
                <a:gd name="T21" fmla="*/ 1065967725 h 466"/>
                <a:gd name="T22" fmla="*/ 936767478 w 417"/>
                <a:gd name="T23" fmla="*/ 1065967725 h 466"/>
                <a:gd name="T24" fmla="*/ 941198430 w 417"/>
                <a:gd name="T25" fmla="*/ 1084997487 h 466"/>
                <a:gd name="T26" fmla="*/ 914535082 w 417"/>
                <a:gd name="T27" fmla="*/ 1104057219 h 466"/>
                <a:gd name="T28" fmla="*/ 26658435 w 417"/>
                <a:gd name="T29" fmla="*/ 1104057219 h 466"/>
                <a:gd name="T30" fmla="*/ 173692259 w 417"/>
                <a:gd name="T31" fmla="*/ 974102843 h 466"/>
                <a:gd name="T32" fmla="*/ 332252753 w 417"/>
                <a:gd name="T33" fmla="*/ 974102843 h 466"/>
                <a:gd name="T34" fmla="*/ 767506131 w 417"/>
                <a:gd name="T35" fmla="*/ 974102843 h 466"/>
                <a:gd name="T36" fmla="*/ 471651445 w 417"/>
                <a:gd name="T37" fmla="*/ 238808028 h 466"/>
                <a:gd name="T38" fmla="*/ 173692259 w 417"/>
                <a:gd name="T39" fmla="*/ 974102843 h 4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17" h="466">
                  <a:moveTo>
                    <a:pt x="12" y="466"/>
                  </a:moveTo>
                  <a:cubicBezTo>
                    <a:pt x="4" y="466"/>
                    <a:pt x="0" y="463"/>
                    <a:pt x="0" y="458"/>
                  </a:cubicBezTo>
                  <a:cubicBezTo>
                    <a:pt x="0" y="455"/>
                    <a:pt x="0" y="453"/>
                    <a:pt x="0" y="452"/>
                  </a:cubicBezTo>
                  <a:cubicBezTo>
                    <a:pt x="1" y="450"/>
                    <a:pt x="1" y="450"/>
                    <a:pt x="1" y="450"/>
                  </a:cubicBezTo>
                  <a:cubicBezTo>
                    <a:pt x="195" y="8"/>
                    <a:pt x="195" y="8"/>
                    <a:pt x="195" y="8"/>
                  </a:cubicBezTo>
                  <a:cubicBezTo>
                    <a:pt x="196" y="5"/>
                    <a:pt x="197" y="0"/>
                    <a:pt x="208" y="0"/>
                  </a:cubicBezTo>
                  <a:cubicBezTo>
                    <a:pt x="210" y="0"/>
                    <a:pt x="210" y="0"/>
                    <a:pt x="210" y="0"/>
                  </a:cubicBezTo>
                  <a:cubicBezTo>
                    <a:pt x="222" y="0"/>
                    <a:pt x="222" y="7"/>
                    <a:pt x="224" y="9"/>
                  </a:cubicBezTo>
                  <a:cubicBezTo>
                    <a:pt x="239" y="46"/>
                    <a:pt x="255" y="83"/>
                    <a:pt x="271" y="120"/>
                  </a:cubicBezTo>
                  <a:cubicBezTo>
                    <a:pt x="368" y="340"/>
                    <a:pt x="368" y="340"/>
                    <a:pt x="368" y="340"/>
                  </a:cubicBezTo>
                  <a:cubicBezTo>
                    <a:pt x="384" y="377"/>
                    <a:pt x="400" y="414"/>
                    <a:pt x="415" y="450"/>
                  </a:cubicBezTo>
                  <a:cubicBezTo>
                    <a:pt x="415" y="450"/>
                    <a:pt x="415" y="450"/>
                    <a:pt x="415" y="450"/>
                  </a:cubicBezTo>
                  <a:cubicBezTo>
                    <a:pt x="417" y="458"/>
                    <a:pt x="417" y="458"/>
                    <a:pt x="417" y="458"/>
                  </a:cubicBezTo>
                  <a:cubicBezTo>
                    <a:pt x="417" y="463"/>
                    <a:pt x="413" y="466"/>
                    <a:pt x="405" y="466"/>
                  </a:cubicBezTo>
                  <a:lnTo>
                    <a:pt x="12" y="466"/>
                  </a:lnTo>
                  <a:close/>
                  <a:moveTo>
                    <a:pt x="77" y="411"/>
                  </a:moveTo>
                  <a:cubicBezTo>
                    <a:pt x="147" y="411"/>
                    <a:pt x="147" y="411"/>
                    <a:pt x="147" y="411"/>
                  </a:cubicBezTo>
                  <a:cubicBezTo>
                    <a:pt x="340" y="411"/>
                    <a:pt x="340" y="411"/>
                    <a:pt x="340" y="411"/>
                  </a:cubicBezTo>
                  <a:cubicBezTo>
                    <a:pt x="209" y="101"/>
                    <a:pt x="209" y="101"/>
                    <a:pt x="209" y="101"/>
                  </a:cubicBezTo>
                  <a:lnTo>
                    <a:pt x="77" y="411"/>
                  </a:lnTo>
                  <a:close/>
                </a:path>
              </a:pathLst>
            </a:custGeom>
            <a:solidFill>
              <a:srgbClr val="1993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 name="Freeform 7">
              <a:extLst>
                <a:ext uri="{FF2B5EF4-FFF2-40B4-BE49-F238E27FC236}">
                  <a16:creationId xmlns:a16="http://schemas.microsoft.com/office/drawing/2014/main" id="{E3BDE8F2-B3AB-EC23-CD96-40A1412D0DC3}"/>
                </a:ext>
              </a:extLst>
            </p:cNvPr>
            <p:cNvSpPr>
              <a:spLocks noEditPoints="1"/>
            </p:cNvSpPr>
            <p:nvPr userDrawn="1"/>
          </p:nvSpPr>
          <p:spPr bwMode="auto">
            <a:xfrm>
              <a:off x="2501" y="1189"/>
              <a:ext cx="1594" cy="1942"/>
            </a:xfrm>
            <a:custGeom>
              <a:avLst/>
              <a:gdLst>
                <a:gd name="T0" fmla="*/ 1483443497 w 674"/>
                <a:gd name="T1" fmla="*/ 1714655374 h 819"/>
                <a:gd name="T2" fmla="*/ 1526729097 w 674"/>
                <a:gd name="T3" fmla="*/ 1761916426 h 819"/>
                <a:gd name="T4" fmla="*/ 1526729097 w 674"/>
                <a:gd name="T5" fmla="*/ 1892482889 h 819"/>
                <a:gd name="T6" fmla="*/ 1483443497 w 674"/>
                <a:gd name="T7" fmla="*/ 1939529634 h 819"/>
                <a:gd name="T8" fmla="*/ 45037621 w 674"/>
                <a:gd name="T9" fmla="*/ 1939529634 h 819"/>
                <a:gd name="T10" fmla="*/ 2021131 w 674"/>
                <a:gd name="T11" fmla="*/ 1892482889 h 819"/>
                <a:gd name="T12" fmla="*/ 2021131 w 674"/>
                <a:gd name="T13" fmla="*/ 1747816468 h 819"/>
                <a:gd name="T14" fmla="*/ 4779945 w 674"/>
                <a:gd name="T15" fmla="*/ 1718918526 h 819"/>
                <a:gd name="T16" fmla="*/ 1173181872 w 674"/>
                <a:gd name="T17" fmla="*/ 224874255 h 819"/>
                <a:gd name="T18" fmla="*/ 67999529 w 674"/>
                <a:gd name="T19" fmla="*/ 224874255 h 819"/>
                <a:gd name="T20" fmla="*/ 23082570 w 674"/>
                <a:gd name="T21" fmla="*/ 177827380 h 819"/>
                <a:gd name="T22" fmla="*/ 23082570 w 674"/>
                <a:gd name="T23" fmla="*/ 39995312 h 819"/>
                <a:gd name="T24" fmla="*/ 67999529 w 674"/>
                <a:gd name="T25" fmla="*/ 0 h 819"/>
                <a:gd name="T26" fmla="*/ 1415437178 w 674"/>
                <a:gd name="T27" fmla="*/ 0 h 819"/>
                <a:gd name="T28" fmla="*/ 1460854109 w 674"/>
                <a:gd name="T29" fmla="*/ 45085377 h 819"/>
                <a:gd name="T30" fmla="*/ 1460854109 w 674"/>
                <a:gd name="T31" fmla="*/ 191701471 h 819"/>
                <a:gd name="T32" fmla="*/ 1458729657 w 674"/>
                <a:gd name="T33" fmla="*/ 205471911 h 819"/>
                <a:gd name="T34" fmla="*/ 1451728403 w 674"/>
                <a:gd name="T35" fmla="*/ 224874255 h 819"/>
                <a:gd name="T36" fmla="*/ 1453837196 w 674"/>
                <a:gd name="T37" fmla="*/ 220773085 h 819"/>
                <a:gd name="T38" fmla="*/ 298805398 w 674"/>
                <a:gd name="T39" fmla="*/ 1714655374 h 819"/>
                <a:gd name="T40" fmla="*/ 892477599 w 674"/>
                <a:gd name="T41" fmla="*/ 1714655374 h 819"/>
                <a:gd name="T42" fmla="*/ 1483443497 w 674"/>
                <a:gd name="T43" fmla="*/ 1714655374 h 819"/>
                <a:gd name="T44" fmla="*/ 901071203 w 674"/>
                <a:gd name="T45" fmla="*/ 1338067130 h 819"/>
                <a:gd name="T46" fmla="*/ 1485464242 w 674"/>
                <a:gd name="T47" fmla="*/ 1338067130 h 819"/>
                <a:gd name="T48" fmla="*/ 1526729097 w 674"/>
                <a:gd name="T49" fmla="*/ 1380181100 h 819"/>
                <a:gd name="T50" fmla="*/ 1526729097 w 674"/>
                <a:gd name="T51" fmla="*/ 1518014804 h 819"/>
                <a:gd name="T52" fmla="*/ 1485464242 w 674"/>
                <a:gd name="T53" fmla="*/ 1565124966 h 819"/>
                <a:gd name="T54" fmla="*/ 899479284 w 674"/>
                <a:gd name="T55" fmla="*/ 1565124966 h 819"/>
                <a:gd name="T56" fmla="*/ 858051680 w 674"/>
                <a:gd name="T57" fmla="*/ 1525126678 h 819"/>
                <a:gd name="T58" fmla="*/ 858051680 w 674"/>
                <a:gd name="T59" fmla="*/ 1385323779 h 819"/>
                <a:gd name="T60" fmla="*/ 872788267 w 674"/>
                <a:gd name="T61" fmla="*/ 1354121744 h 819"/>
                <a:gd name="T62" fmla="*/ 901071203 w 674"/>
                <a:gd name="T63" fmla="*/ 1338067130 h 81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74" h="819">
                  <a:moveTo>
                    <a:pt x="655" y="724"/>
                  </a:moveTo>
                  <a:cubicBezTo>
                    <a:pt x="654" y="724"/>
                    <a:pt x="674" y="721"/>
                    <a:pt x="674" y="744"/>
                  </a:cubicBezTo>
                  <a:cubicBezTo>
                    <a:pt x="674" y="799"/>
                    <a:pt x="674" y="799"/>
                    <a:pt x="674" y="799"/>
                  </a:cubicBezTo>
                  <a:cubicBezTo>
                    <a:pt x="674" y="809"/>
                    <a:pt x="666" y="819"/>
                    <a:pt x="655" y="819"/>
                  </a:cubicBezTo>
                  <a:cubicBezTo>
                    <a:pt x="20" y="819"/>
                    <a:pt x="20" y="819"/>
                    <a:pt x="20" y="819"/>
                  </a:cubicBezTo>
                  <a:cubicBezTo>
                    <a:pt x="10" y="819"/>
                    <a:pt x="0" y="811"/>
                    <a:pt x="1" y="799"/>
                  </a:cubicBezTo>
                  <a:cubicBezTo>
                    <a:pt x="1" y="738"/>
                    <a:pt x="1" y="738"/>
                    <a:pt x="1" y="738"/>
                  </a:cubicBezTo>
                  <a:cubicBezTo>
                    <a:pt x="0" y="735"/>
                    <a:pt x="2" y="730"/>
                    <a:pt x="2" y="726"/>
                  </a:cubicBezTo>
                  <a:cubicBezTo>
                    <a:pt x="518" y="95"/>
                    <a:pt x="518" y="95"/>
                    <a:pt x="518" y="95"/>
                  </a:cubicBezTo>
                  <a:cubicBezTo>
                    <a:pt x="30" y="95"/>
                    <a:pt x="30" y="95"/>
                    <a:pt x="30" y="95"/>
                  </a:cubicBezTo>
                  <a:cubicBezTo>
                    <a:pt x="15" y="95"/>
                    <a:pt x="10" y="88"/>
                    <a:pt x="10" y="75"/>
                  </a:cubicBezTo>
                  <a:cubicBezTo>
                    <a:pt x="10" y="17"/>
                    <a:pt x="10" y="17"/>
                    <a:pt x="10" y="17"/>
                  </a:cubicBezTo>
                  <a:cubicBezTo>
                    <a:pt x="10" y="5"/>
                    <a:pt x="15" y="0"/>
                    <a:pt x="30" y="0"/>
                  </a:cubicBezTo>
                  <a:cubicBezTo>
                    <a:pt x="625" y="0"/>
                    <a:pt x="625" y="0"/>
                    <a:pt x="625" y="0"/>
                  </a:cubicBezTo>
                  <a:cubicBezTo>
                    <a:pt x="637" y="0"/>
                    <a:pt x="645" y="6"/>
                    <a:pt x="645" y="19"/>
                  </a:cubicBezTo>
                  <a:cubicBezTo>
                    <a:pt x="645" y="81"/>
                    <a:pt x="645" y="81"/>
                    <a:pt x="645" y="81"/>
                  </a:cubicBezTo>
                  <a:cubicBezTo>
                    <a:pt x="645" y="82"/>
                    <a:pt x="645" y="85"/>
                    <a:pt x="644" y="87"/>
                  </a:cubicBezTo>
                  <a:cubicBezTo>
                    <a:pt x="641" y="95"/>
                    <a:pt x="641" y="95"/>
                    <a:pt x="641" y="95"/>
                  </a:cubicBezTo>
                  <a:cubicBezTo>
                    <a:pt x="642" y="93"/>
                    <a:pt x="642" y="93"/>
                    <a:pt x="642" y="93"/>
                  </a:cubicBezTo>
                  <a:cubicBezTo>
                    <a:pt x="132" y="724"/>
                    <a:pt x="132" y="724"/>
                    <a:pt x="132" y="724"/>
                  </a:cubicBezTo>
                  <a:cubicBezTo>
                    <a:pt x="394" y="724"/>
                    <a:pt x="394" y="724"/>
                    <a:pt x="394" y="724"/>
                  </a:cubicBezTo>
                  <a:lnTo>
                    <a:pt x="655" y="724"/>
                  </a:lnTo>
                  <a:close/>
                  <a:moveTo>
                    <a:pt x="398" y="565"/>
                  </a:moveTo>
                  <a:cubicBezTo>
                    <a:pt x="656" y="565"/>
                    <a:pt x="656" y="565"/>
                    <a:pt x="656" y="565"/>
                  </a:cubicBezTo>
                  <a:cubicBezTo>
                    <a:pt x="666" y="565"/>
                    <a:pt x="674" y="573"/>
                    <a:pt x="674" y="583"/>
                  </a:cubicBezTo>
                  <a:cubicBezTo>
                    <a:pt x="674" y="641"/>
                    <a:pt x="674" y="641"/>
                    <a:pt x="674" y="641"/>
                  </a:cubicBezTo>
                  <a:cubicBezTo>
                    <a:pt x="674" y="652"/>
                    <a:pt x="666" y="661"/>
                    <a:pt x="656" y="661"/>
                  </a:cubicBezTo>
                  <a:cubicBezTo>
                    <a:pt x="397" y="661"/>
                    <a:pt x="397" y="661"/>
                    <a:pt x="397" y="661"/>
                  </a:cubicBezTo>
                  <a:cubicBezTo>
                    <a:pt x="386" y="661"/>
                    <a:pt x="379" y="654"/>
                    <a:pt x="379" y="644"/>
                  </a:cubicBezTo>
                  <a:cubicBezTo>
                    <a:pt x="379" y="585"/>
                    <a:pt x="379" y="585"/>
                    <a:pt x="379" y="585"/>
                  </a:cubicBezTo>
                  <a:cubicBezTo>
                    <a:pt x="380" y="580"/>
                    <a:pt x="382" y="576"/>
                    <a:pt x="385" y="572"/>
                  </a:cubicBezTo>
                  <a:cubicBezTo>
                    <a:pt x="385" y="572"/>
                    <a:pt x="386" y="565"/>
                    <a:pt x="398" y="565"/>
                  </a:cubicBezTo>
                  <a:close/>
                </a:path>
              </a:pathLst>
            </a:custGeom>
            <a:solidFill>
              <a:srgbClr val="9EBE5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 name="Freeform 8">
              <a:extLst>
                <a:ext uri="{FF2B5EF4-FFF2-40B4-BE49-F238E27FC236}">
                  <a16:creationId xmlns:a16="http://schemas.microsoft.com/office/drawing/2014/main" id="{B1DEC9C3-DF7B-044F-E2E5-6C7B4B68E318}"/>
                </a:ext>
              </a:extLst>
            </p:cNvPr>
            <p:cNvSpPr>
              <a:spLocks noEditPoints="1"/>
            </p:cNvSpPr>
            <p:nvPr userDrawn="1"/>
          </p:nvSpPr>
          <p:spPr bwMode="auto">
            <a:xfrm>
              <a:off x="4133" y="1189"/>
              <a:ext cx="986" cy="1105"/>
            </a:xfrm>
            <a:custGeom>
              <a:avLst/>
              <a:gdLst>
                <a:gd name="T0" fmla="*/ 26658435 w 417"/>
                <a:gd name="T1" fmla="*/ 1104057219 h 466"/>
                <a:gd name="T2" fmla="*/ 2016564 w 417"/>
                <a:gd name="T3" fmla="*/ 1084997487 h 466"/>
                <a:gd name="T4" fmla="*/ 2016564 w 417"/>
                <a:gd name="T5" fmla="*/ 1071148297 h 466"/>
                <a:gd name="T6" fmla="*/ 4768183 w 417"/>
                <a:gd name="T7" fmla="*/ 1065967725 h 466"/>
                <a:gd name="T8" fmla="*/ 440005146 w 417"/>
                <a:gd name="T9" fmla="*/ 19018883 h 466"/>
                <a:gd name="T10" fmla="*/ 471651445 w 417"/>
                <a:gd name="T11" fmla="*/ 0 h 466"/>
                <a:gd name="T12" fmla="*/ 476419656 w 417"/>
                <a:gd name="T13" fmla="*/ 0 h 466"/>
                <a:gd name="T14" fmla="*/ 505945896 w 417"/>
                <a:gd name="T15" fmla="*/ 21137875 h 466"/>
                <a:gd name="T16" fmla="*/ 612172944 w 417"/>
                <a:gd name="T17" fmla="*/ 284828039 h 466"/>
                <a:gd name="T18" fmla="*/ 833293680 w 417"/>
                <a:gd name="T19" fmla="*/ 805128453 h 466"/>
                <a:gd name="T20" fmla="*/ 939517011 w 417"/>
                <a:gd name="T21" fmla="*/ 1065967725 h 466"/>
                <a:gd name="T22" fmla="*/ 936767478 w 417"/>
                <a:gd name="T23" fmla="*/ 1065967725 h 466"/>
                <a:gd name="T24" fmla="*/ 941198430 w 417"/>
                <a:gd name="T25" fmla="*/ 1084997487 h 466"/>
                <a:gd name="T26" fmla="*/ 916425650 w 417"/>
                <a:gd name="T27" fmla="*/ 1104057219 h 466"/>
                <a:gd name="T28" fmla="*/ 26658435 w 417"/>
                <a:gd name="T29" fmla="*/ 1104057219 h 466"/>
                <a:gd name="T30" fmla="*/ 173692259 w 417"/>
                <a:gd name="T31" fmla="*/ 974102843 h 466"/>
                <a:gd name="T32" fmla="*/ 332252753 w 417"/>
                <a:gd name="T33" fmla="*/ 974102843 h 466"/>
                <a:gd name="T34" fmla="*/ 767506131 w 417"/>
                <a:gd name="T35" fmla="*/ 974102843 h 466"/>
                <a:gd name="T36" fmla="*/ 471651445 w 417"/>
                <a:gd name="T37" fmla="*/ 238808028 h 466"/>
                <a:gd name="T38" fmla="*/ 173692259 w 417"/>
                <a:gd name="T39" fmla="*/ 974102843 h 4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17" h="466">
                  <a:moveTo>
                    <a:pt x="12" y="466"/>
                  </a:moveTo>
                  <a:cubicBezTo>
                    <a:pt x="4" y="466"/>
                    <a:pt x="0" y="463"/>
                    <a:pt x="1" y="458"/>
                  </a:cubicBezTo>
                  <a:cubicBezTo>
                    <a:pt x="0" y="455"/>
                    <a:pt x="0" y="453"/>
                    <a:pt x="1" y="452"/>
                  </a:cubicBezTo>
                  <a:cubicBezTo>
                    <a:pt x="2" y="450"/>
                    <a:pt x="2" y="450"/>
                    <a:pt x="2" y="450"/>
                  </a:cubicBezTo>
                  <a:cubicBezTo>
                    <a:pt x="195" y="8"/>
                    <a:pt x="195" y="8"/>
                    <a:pt x="195" y="8"/>
                  </a:cubicBezTo>
                  <a:cubicBezTo>
                    <a:pt x="197" y="5"/>
                    <a:pt x="198" y="0"/>
                    <a:pt x="209" y="0"/>
                  </a:cubicBezTo>
                  <a:cubicBezTo>
                    <a:pt x="211" y="0"/>
                    <a:pt x="211" y="0"/>
                    <a:pt x="211" y="0"/>
                  </a:cubicBezTo>
                  <a:cubicBezTo>
                    <a:pt x="222" y="0"/>
                    <a:pt x="223" y="7"/>
                    <a:pt x="224" y="9"/>
                  </a:cubicBezTo>
                  <a:cubicBezTo>
                    <a:pt x="239" y="46"/>
                    <a:pt x="255" y="83"/>
                    <a:pt x="271" y="120"/>
                  </a:cubicBezTo>
                  <a:cubicBezTo>
                    <a:pt x="369" y="340"/>
                    <a:pt x="369" y="340"/>
                    <a:pt x="369" y="340"/>
                  </a:cubicBezTo>
                  <a:cubicBezTo>
                    <a:pt x="385" y="377"/>
                    <a:pt x="401" y="414"/>
                    <a:pt x="416" y="450"/>
                  </a:cubicBezTo>
                  <a:cubicBezTo>
                    <a:pt x="415" y="450"/>
                    <a:pt x="415" y="450"/>
                    <a:pt x="415" y="450"/>
                  </a:cubicBezTo>
                  <a:cubicBezTo>
                    <a:pt x="417" y="458"/>
                    <a:pt x="417" y="458"/>
                    <a:pt x="417" y="458"/>
                  </a:cubicBezTo>
                  <a:cubicBezTo>
                    <a:pt x="417" y="463"/>
                    <a:pt x="414" y="466"/>
                    <a:pt x="406" y="466"/>
                  </a:cubicBezTo>
                  <a:lnTo>
                    <a:pt x="12" y="466"/>
                  </a:lnTo>
                  <a:close/>
                  <a:moveTo>
                    <a:pt x="77" y="411"/>
                  </a:moveTo>
                  <a:cubicBezTo>
                    <a:pt x="147" y="411"/>
                    <a:pt x="147" y="411"/>
                    <a:pt x="147" y="411"/>
                  </a:cubicBezTo>
                  <a:cubicBezTo>
                    <a:pt x="340" y="411"/>
                    <a:pt x="340" y="411"/>
                    <a:pt x="340" y="411"/>
                  </a:cubicBezTo>
                  <a:cubicBezTo>
                    <a:pt x="209" y="101"/>
                    <a:pt x="209" y="101"/>
                    <a:pt x="209" y="101"/>
                  </a:cubicBezTo>
                  <a:lnTo>
                    <a:pt x="77" y="411"/>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 name="Freeform 9">
              <a:extLst>
                <a:ext uri="{FF2B5EF4-FFF2-40B4-BE49-F238E27FC236}">
                  <a16:creationId xmlns:a16="http://schemas.microsoft.com/office/drawing/2014/main" id="{3746F235-A86A-01F2-3D87-F821C78601EE}"/>
                </a:ext>
              </a:extLst>
            </p:cNvPr>
            <p:cNvSpPr>
              <a:spLocks noEditPoints="1"/>
            </p:cNvSpPr>
            <p:nvPr userDrawn="1"/>
          </p:nvSpPr>
          <p:spPr bwMode="auto">
            <a:xfrm>
              <a:off x="5259" y="1187"/>
              <a:ext cx="941" cy="1107"/>
            </a:xfrm>
            <a:custGeom>
              <a:avLst/>
              <a:gdLst>
                <a:gd name="T0" fmla="*/ 897379222 w 398"/>
                <a:gd name="T1" fmla="*/ 30594420 h 467"/>
                <a:gd name="T2" fmla="*/ 890358234 w 398"/>
                <a:gd name="T3" fmla="*/ 1076168270 h 467"/>
                <a:gd name="T4" fmla="*/ 863748004 w 398"/>
                <a:gd name="T5" fmla="*/ 1100058818 h 467"/>
                <a:gd name="T6" fmla="*/ 771485685 w 398"/>
                <a:gd name="T7" fmla="*/ 1100058818 h 467"/>
                <a:gd name="T8" fmla="*/ 125893508 w 398"/>
                <a:gd name="T9" fmla="*/ 184128005 h 467"/>
                <a:gd name="T10" fmla="*/ 122136901 w 398"/>
                <a:gd name="T11" fmla="*/ 754173992 h 467"/>
                <a:gd name="T12" fmla="*/ 376580847 w 398"/>
                <a:gd name="T13" fmla="*/ 754173992 h 467"/>
                <a:gd name="T14" fmla="*/ 398430025 w 398"/>
                <a:gd name="T15" fmla="*/ 777275989 h 467"/>
                <a:gd name="T16" fmla="*/ 398430025 w 398"/>
                <a:gd name="T17" fmla="*/ 854743724 h 467"/>
                <a:gd name="T18" fmla="*/ 376580847 w 398"/>
                <a:gd name="T19" fmla="*/ 883384289 h 467"/>
                <a:gd name="T20" fmla="*/ 24536535 w 398"/>
                <a:gd name="T21" fmla="*/ 878310296 h 467"/>
                <a:gd name="T22" fmla="*/ 23013058 w 398"/>
                <a:gd name="T23" fmla="*/ 878310296 h 467"/>
                <a:gd name="T24" fmla="*/ 0 w 398"/>
                <a:gd name="T25" fmla="*/ 859366371 h 467"/>
                <a:gd name="T26" fmla="*/ 6865536 w 398"/>
                <a:gd name="T27" fmla="*/ 25974653 h 467"/>
                <a:gd name="T28" fmla="*/ 31374522 w 398"/>
                <a:gd name="T29" fmla="*/ 2072546 h 467"/>
                <a:gd name="T30" fmla="*/ 125893508 w 398"/>
                <a:gd name="T31" fmla="*/ 2072546 h 467"/>
                <a:gd name="T32" fmla="*/ 148746381 w 398"/>
                <a:gd name="T33" fmla="*/ 13823806 h 467"/>
                <a:gd name="T34" fmla="*/ 768580627 w 398"/>
                <a:gd name="T35" fmla="*/ 885333514 h 467"/>
                <a:gd name="T36" fmla="*/ 775022528 w 398"/>
                <a:gd name="T37" fmla="*/ 23886284 h 467"/>
                <a:gd name="T38" fmla="*/ 798083455 w 398"/>
                <a:gd name="T39" fmla="*/ 7074865 h 467"/>
                <a:gd name="T40" fmla="*/ 870741434 w 398"/>
                <a:gd name="T41" fmla="*/ 7074865 h 467"/>
                <a:gd name="T42" fmla="*/ 888769892 w 398"/>
                <a:gd name="T43" fmla="*/ 13823806 h 467"/>
                <a:gd name="T44" fmla="*/ 897379222 w 398"/>
                <a:gd name="T45" fmla="*/ 30594420 h 467"/>
                <a:gd name="T46" fmla="*/ 502483131 w 398"/>
                <a:gd name="T47" fmla="*/ 967923553 h 467"/>
                <a:gd name="T48" fmla="*/ 525479561 w 398"/>
                <a:gd name="T49" fmla="*/ 991784983 h 467"/>
                <a:gd name="T50" fmla="*/ 525479561 w 398"/>
                <a:gd name="T51" fmla="*/ 1069462303 h 467"/>
                <a:gd name="T52" fmla="*/ 502483131 w 398"/>
                <a:gd name="T53" fmla="*/ 1097986322 h 467"/>
                <a:gd name="T54" fmla="*/ 23013058 w 398"/>
                <a:gd name="T55" fmla="*/ 1097986322 h 467"/>
                <a:gd name="T56" fmla="*/ 0 w 398"/>
                <a:gd name="T57" fmla="*/ 1074095937 h 467"/>
                <a:gd name="T58" fmla="*/ 0 w 398"/>
                <a:gd name="T59" fmla="*/ 993579494 h 467"/>
                <a:gd name="T60" fmla="*/ 24536535 w 398"/>
                <a:gd name="T61" fmla="*/ 967923553 h 467"/>
                <a:gd name="T62" fmla="*/ 264174943 w 398"/>
                <a:gd name="T63" fmla="*/ 967923553 h 467"/>
                <a:gd name="T64" fmla="*/ 502483131 w 398"/>
                <a:gd name="T65" fmla="*/ 967923553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98" h="467">
                  <a:moveTo>
                    <a:pt x="398" y="13"/>
                  </a:moveTo>
                  <a:cubicBezTo>
                    <a:pt x="395" y="457"/>
                    <a:pt x="395" y="457"/>
                    <a:pt x="395" y="457"/>
                  </a:cubicBezTo>
                  <a:cubicBezTo>
                    <a:pt x="395" y="464"/>
                    <a:pt x="390" y="467"/>
                    <a:pt x="383" y="467"/>
                  </a:cubicBezTo>
                  <a:cubicBezTo>
                    <a:pt x="342" y="467"/>
                    <a:pt x="342" y="467"/>
                    <a:pt x="342" y="467"/>
                  </a:cubicBezTo>
                  <a:cubicBezTo>
                    <a:pt x="56" y="78"/>
                    <a:pt x="56" y="78"/>
                    <a:pt x="56" y="78"/>
                  </a:cubicBezTo>
                  <a:cubicBezTo>
                    <a:pt x="54" y="320"/>
                    <a:pt x="54" y="320"/>
                    <a:pt x="54" y="320"/>
                  </a:cubicBezTo>
                  <a:cubicBezTo>
                    <a:pt x="167" y="320"/>
                    <a:pt x="167" y="320"/>
                    <a:pt x="167" y="320"/>
                  </a:cubicBezTo>
                  <a:cubicBezTo>
                    <a:pt x="173" y="320"/>
                    <a:pt x="177" y="324"/>
                    <a:pt x="177" y="330"/>
                  </a:cubicBezTo>
                  <a:cubicBezTo>
                    <a:pt x="177" y="363"/>
                    <a:pt x="177" y="363"/>
                    <a:pt x="177" y="363"/>
                  </a:cubicBezTo>
                  <a:cubicBezTo>
                    <a:pt x="177" y="369"/>
                    <a:pt x="173" y="375"/>
                    <a:pt x="167" y="375"/>
                  </a:cubicBezTo>
                  <a:cubicBezTo>
                    <a:pt x="11" y="373"/>
                    <a:pt x="11" y="373"/>
                    <a:pt x="11" y="373"/>
                  </a:cubicBezTo>
                  <a:cubicBezTo>
                    <a:pt x="10" y="373"/>
                    <a:pt x="10" y="373"/>
                    <a:pt x="10" y="373"/>
                  </a:cubicBezTo>
                  <a:cubicBezTo>
                    <a:pt x="4" y="373"/>
                    <a:pt x="1" y="370"/>
                    <a:pt x="0" y="365"/>
                  </a:cubicBezTo>
                  <a:cubicBezTo>
                    <a:pt x="3" y="11"/>
                    <a:pt x="3" y="11"/>
                    <a:pt x="3" y="11"/>
                  </a:cubicBezTo>
                  <a:cubicBezTo>
                    <a:pt x="3" y="5"/>
                    <a:pt x="7" y="0"/>
                    <a:pt x="14" y="1"/>
                  </a:cubicBezTo>
                  <a:cubicBezTo>
                    <a:pt x="56" y="1"/>
                    <a:pt x="56" y="1"/>
                    <a:pt x="56" y="1"/>
                  </a:cubicBezTo>
                  <a:cubicBezTo>
                    <a:pt x="60" y="1"/>
                    <a:pt x="64" y="3"/>
                    <a:pt x="66" y="6"/>
                  </a:cubicBezTo>
                  <a:cubicBezTo>
                    <a:pt x="341" y="376"/>
                    <a:pt x="341" y="376"/>
                    <a:pt x="341" y="376"/>
                  </a:cubicBezTo>
                  <a:cubicBezTo>
                    <a:pt x="344" y="10"/>
                    <a:pt x="344" y="10"/>
                    <a:pt x="344" y="10"/>
                  </a:cubicBezTo>
                  <a:cubicBezTo>
                    <a:pt x="345" y="5"/>
                    <a:pt x="349" y="3"/>
                    <a:pt x="354" y="3"/>
                  </a:cubicBezTo>
                  <a:cubicBezTo>
                    <a:pt x="386" y="3"/>
                    <a:pt x="386" y="3"/>
                    <a:pt x="386" y="3"/>
                  </a:cubicBezTo>
                  <a:cubicBezTo>
                    <a:pt x="389" y="3"/>
                    <a:pt x="391" y="4"/>
                    <a:pt x="394" y="6"/>
                  </a:cubicBezTo>
                  <a:cubicBezTo>
                    <a:pt x="396" y="7"/>
                    <a:pt x="398" y="10"/>
                    <a:pt x="398" y="13"/>
                  </a:cubicBezTo>
                  <a:close/>
                  <a:moveTo>
                    <a:pt x="223" y="411"/>
                  </a:moveTo>
                  <a:cubicBezTo>
                    <a:pt x="229" y="411"/>
                    <a:pt x="233" y="415"/>
                    <a:pt x="233" y="421"/>
                  </a:cubicBezTo>
                  <a:cubicBezTo>
                    <a:pt x="233" y="454"/>
                    <a:pt x="233" y="454"/>
                    <a:pt x="233" y="454"/>
                  </a:cubicBezTo>
                  <a:cubicBezTo>
                    <a:pt x="233" y="460"/>
                    <a:pt x="230" y="466"/>
                    <a:pt x="223" y="466"/>
                  </a:cubicBezTo>
                  <a:cubicBezTo>
                    <a:pt x="10" y="466"/>
                    <a:pt x="10" y="466"/>
                    <a:pt x="10" y="466"/>
                  </a:cubicBezTo>
                  <a:cubicBezTo>
                    <a:pt x="4" y="466"/>
                    <a:pt x="0" y="462"/>
                    <a:pt x="0" y="456"/>
                  </a:cubicBezTo>
                  <a:cubicBezTo>
                    <a:pt x="0" y="422"/>
                    <a:pt x="0" y="422"/>
                    <a:pt x="0" y="422"/>
                  </a:cubicBezTo>
                  <a:cubicBezTo>
                    <a:pt x="0" y="416"/>
                    <a:pt x="4" y="411"/>
                    <a:pt x="11" y="411"/>
                  </a:cubicBezTo>
                  <a:cubicBezTo>
                    <a:pt x="117" y="411"/>
                    <a:pt x="117" y="411"/>
                    <a:pt x="117" y="411"/>
                  </a:cubicBezTo>
                  <a:lnTo>
                    <a:pt x="223" y="411"/>
                  </a:lnTo>
                  <a:close/>
                </a:path>
              </a:pathLst>
            </a:custGeom>
            <a:solidFill>
              <a:srgbClr val="C03B2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 name="Freeform 10">
              <a:extLst>
                <a:ext uri="{FF2B5EF4-FFF2-40B4-BE49-F238E27FC236}">
                  <a16:creationId xmlns:a16="http://schemas.microsoft.com/office/drawing/2014/main" id="{C690606C-A4F1-B55D-0DBE-52F1BEE2012B}"/>
                </a:ext>
              </a:extLst>
            </p:cNvPr>
            <p:cNvSpPr>
              <a:spLocks noEditPoints="1"/>
            </p:cNvSpPr>
            <p:nvPr userDrawn="1"/>
          </p:nvSpPr>
          <p:spPr bwMode="auto">
            <a:xfrm>
              <a:off x="6280" y="1189"/>
              <a:ext cx="1102" cy="1105"/>
            </a:xfrm>
            <a:custGeom>
              <a:avLst/>
              <a:gdLst>
                <a:gd name="T0" fmla="*/ 154128366 w 466"/>
                <a:gd name="T1" fmla="*/ 943010351 h 466"/>
                <a:gd name="T2" fmla="*/ 0 w 466"/>
                <a:gd name="T3" fmla="*/ 552442640 h 466"/>
                <a:gd name="T4" fmla="*/ 154128366 w 466"/>
                <a:gd name="T5" fmla="*/ 163833771 h 466"/>
                <a:gd name="T6" fmla="*/ 527029454 w 466"/>
                <a:gd name="T7" fmla="*/ 0 h 466"/>
                <a:gd name="T8" fmla="*/ 900145882 w 466"/>
                <a:gd name="T9" fmla="*/ 163833771 h 466"/>
                <a:gd name="T10" fmla="*/ 1054209675 w 466"/>
                <a:gd name="T11" fmla="*/ 552442640 h 466"/>
                <a:gd name="T12" fmla="*/ 900145882 w 466"/>
                <a:gd name="T13" fmla="*/ 943010351 h 466"/>
                <a:gd name="T14" fmla="*/ 527029454 w 466"/>
                <a:gd name="T15" fmla="*/ 1104057219 h 466"/>
                <a:gd name="T16" fmla="*/ 154128366 w 466"/>
                <a:gd name="T17" fmla="*/ 943010351 h 466"/>
                <a:gd name="T18" fmla="*/ 237118879 w 466"/>
                <a:gd name="T19" fmla="*/ 248554821 h 466"/>
                <a:gd name="T20" fmla="*/ 117706387 w 466"/>
                <a:gd name="T21" fmla="*/ 552442640 h 466"/>
                <a:gd name="T22" fmla="*/ 237118879 w 466"/>
                <a:gd name="T23" fmla="*/ 855407497 h 466"/>
                <a:gd name="T24" fmla="*/ 527029454 w 466"/>
                <a:gd name="T25" fmla="*/ 983016883 h 466"/>
                <a:gd name="T26" fmla="*/ 817155276 w 466"/>
                <a:gd name="T27" fmla="*/ 855407497 h 466"/>
                <a:gd name="T28" fmla="*/ 938406617 w 466"/>
                <a:gd name="T29" fmla="*/ 552442640 h 466"/>
                <a:gd name="T30" fmla="*/ 817155276 w 466"/>
                <a:gd name="T31" fmla="*/ 248554821 h 466"/>
                <a:gd name="T32" fmla="*/ 527029454 w 466"/>
                <a:gd name="T33" fmla="*/ 121039414 h 466"/>
                <a:gd name="T34" fmla="*/ 237118879 w 466"/>
                <a:gd name="T35" fmla="*/ 248554821 h 4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6" h="466">
                  <a:moveTo>
                    <a:pt x="68" y="398"/>
                  </a:moveTo>
                  <a:cubicBezTo>
                    <a:pt x="24" y="354"/>
                    <a:pt x="2" y="299"/>
                    <a:pt x="0" y="233"/>
                  </a:cubicBezTo>
                  <a:cubicBezTo>
                    <a:pt x="2" y="167"/>
                    <a:pt x="24" y="112"/>
                    <a:pt x="68" y="69"/>
                  </a:cubicBezTo>
                  <a:cubicBezTo>
                    <a:pt x="112" y="24"/>
                    <a:pt x="167" y="2"/>
                    <a:pt x="233" y="0"/>
                  </a:cubicBezTo>
                  <a:cubicBezTo>
                    <a:pt x="299" y="2"/>
                    <a:pt x="354" y="24"/>
                    <a:pt x="398" y="69"/>
                  </a:cubicBezTo>
                  <a:cubicBezTo>
                    <a:pt x="442" y="112"/>
                    <a:pt x="465" y="167"/>
                    <a:pt x="466" y="233"/>
                  </a:cubicBezTo>
                  <a:cubicBezTo>
                    <a:pt x="465" y="299"/>
                    <a:pt x="442" y="354"/>
                    <a:pt x="398" y="398"/>
                  </a:cubicBezTo>
                  <a:cubicBezTo>
                    <a:pt x="354" y="441"/>
                    <a:pt x="299" y="464"/>
                    <a:pt x="233" y="466"/>
                  </a:cubicBezTo>
                  <a:cubicBezTo>
                    <a:pt x="167" y="464"/>
                    <a:pt x="112" y="441"/>
                    <a:pt x="68" y="398"/>
                  </a:cubicBezTo>
                  <a:close/>
                  <a:moveTo>
                    <a:pt x="105" y="105"/>
                  </a:moveTo>
                  <a:cubicBezTo>
                    <a:pt x="70" y="139"/>
                    <a:pt x="53" y="181"/>
                    <a:pt x="52" y="233"/>
                  </a:cubicBezTo>
                  <a:cubicBezTo>
                    <a:pt x="53" y="284"/>
                    <a:pt x="70" y="327"/>
                    <a:pt x="105" y="361"/>
                  </a:cubicBezTo>
                  <a:cubicBezTo>
                    <a:pt x="139" y="395"/>
                    <a:pt x="181" y="413"/>
                    <a:pt x="233" y="415"/>
                  </a:cubicBezTo>
                  <a:cubicBezTo>
                    <a:pt x="284" y="413"/>
                    <a:pt x="327" y="395"/>
                    <a:pt x="361" y="361"/>
                  </a:cubicBezTo>
                  <a:cubicBezTo>
                    <a:pt x="395" y="327"/>
                    <a:pt x="413" y="284"/>
                    <a:pt x="415" y="233"/>
                  </a:cubicBezTo>
                  <a:cubicBezTo>
                    <a:pt x="413" y="181"/>
                    <a:pt x="395" y="139"/>
                    <a:pt x="361" y="105"/>
                  </a:cubicBezTo>
                  <a:cubicBezTo>
                    <a:pt x="327" y="71"/>
                    <a:pt x="284" y="53"/>
                    <a:pt x="233" y="51"/>
                  </a:cubicBezTo>
                  <a:cubicBezTo>
                    <a:pt x="181" y="53"/>
                    <a:pt x="139" y="71"/>
                    <a:pt x="105" y="105"/>
                  </a:cubicBezTo>
                  <a:close/>
                </a:path>
              </a:pathLst>
            </a:custGeom>
            <a:solidFill>
              <a:srgbClr val="64324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9" name="Freeform 11">
              <a:extLst>
                <a:ext uri="{FF2B5EF4-FFF2-40B4-BE49-F238E27FC236}">
                  <a16:creationId xmlns:a16="http://schemas.microsoft.com/office/drawing/2014/main" id="{FE24AB00-82BA-CA64-51CF-B4FCBB8BDFBB}"/>
                </a:ext>
              </a:extLst>
            </p:cNvPr>
            <p:cNvSpPr>
              <a:spLocks noEditPoints="1"/>
            </p:cNvSpPr>
            <p:nvPr userDrawn="1"/>
          </p:nvSpPr>
          <p:spPr bwMode="auto">
            <a:xfrm>
              <a:off x="4230" y="2552"/>
              <a:ext cx="334" cy="551"/>
            </a:xfrm>
            <a:custGeom>
              <a:avLst/>
              <a:gdLst>
                <a:gd name="T0" fmla="*/ 0 w 334"/>
                <a:gd name="T1" fmla="*/ 0 h 551"/>
                <a:gd name="T2" fmla="*/ 334 w 334"/>
                <a:gd name="T3" fmla="*/ 0 h 551"/>
                <a:gd name="T4" fmla="*/ 334 w 334"/>
                <a:gd name="T5" fmla="*/ 31 h 551"/>
                <a:gd name="T6" fmla="*/ 0 w 334"/>
                <a:gd name="T7" fmla="*/ 31 h 551"/>
                <a:gd name="T8" fmla="*/ 0 w 334"/>
                <a:gd name="T9" fmla="*/ 0 h 551"/>
                <a:gd name="T10" fmla="*/ 156 w 334"/>
                <a:gd name="T11" fmla="*/ 50 h 551"/>
                <a:gd name="T12" fmla="*/ 156 w 334"/>
                <a:gd name="T13" fmla="*/ 551 h 551"/>
                <a:gd name="T14" fmla="*/ 128 w 334"/>
                <a:gd name="T15" fmla="*/ 551 h 551"/>
                <a:gd name="T16" fmla="*/ 128 w 334"/>
                <a:gd name="T17" fmla="*/ 79 h 551"/>
                <a:gd name="T18" fmla="*/ 0 w 334"/>
                <a:gd name="T19" fmla="*/ 79 h 551"/>
                <a:gd name="T20" fmla="*/ 0 w 334"/>
                <a:gd name="T21" fmla="*/ 50 h 551"/>
                <a:gd name="T22" fmla="*/ 156 w 334"/>
                <a:gd name="T23" fmla="*/ 50 h 551"/>
                <a:gd name="T24" fmla="*/ 334 w 334"/>
                <a:gd name="T25" fmla="*/ 50 h 551"/>
                <a:gd name="T26" fmla="*/ 334 w 334"/>
                <a:gd name="T27" fmla="*/ 79 h 551"/>
                <a:gd name="T28" fmla="*/ 206 w 334"/>
                <a:gd name="T29" fmla="*/ 79 h 551"/>
                <a:gd name="T30" fmla="*/ 206 w 334"/>
                <a:gd name="T31" fmla="*/ 551 h 551"/>
                <a:gd name="T32" fmla="*/ 175 w 334"/>
                <a:gd name="T33" fmla="*/ 551 h 551"/>
                <a:gd name="T34" fmla="*/ 175 w 334"/>
                <a:gd name="T35" fmla="*/ 50 h 551"/>
                <a:gd name="T36" fmla="*/ 334 w 334"/>
                <a:gd name="T37" fmla="*/ 50 h 5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34" h="551">
                  <a:moveTo>
                    <a:pt x="0" y="0"/>
                  </a:moveTo>
                  <a:lnTo>
                    <a:pt x="334" y="0"/>
                  </a:lnTo>
                  <a:lnTo>
                    <a:pt x="334" y="31"/>
                  </a:lnTo>
                  <a:lnTo>
                    <a:pt x="0" y="31"/>
                  </a:lnTo>
                  <a:lnTo>
                    <a:pt x="0" y="0"/>
                  </a:lnTo>
                  <a:close/>
                  <a:moveTo>
                    <a:pt x="156" y="50"/>
                  </a:moveTo>
                  <a:lnTo>
                    <a:pt x="156" y="551"/>
                  </a:lnTo>
                  <a:lnTo>
                    <a:pt x="128" y="551"/>
                  </a:lnTo>
                  <a:lnTo>
                    <a:pt x="128" y="79"/>
                  </a:lnTo>
                  <a:lnTo>
                    <a:pt x="0" y="79"/>
                  </a:lnTo>
                  <a:lnTo>
                    <a:pt x="0" y="50"/>
                  </a:lnTo>
                  <a:lnTo>
                    <a:pt x="156" y="50"/>
                  </a:lnTo>
                  <a:close/>
                  <a:moveTo>
                    <a:pt x="334" y="50"/>
                  </a:moveTo>
                  <a:lnTo>
                    <a:pt x="334" y="79"/>
                  </a:lnTo>
                  <a:lnTo>
                    <a:pt x="206" y="79"/>
                  </a:lnTo>
                  <a:lnTo>
                    <a:pt x="206" y="551"/>
                  </a:lnTo>
                  <a:lnTo>
                    <a:pt x="175" y="551"/>
                  </a:lnTo>
                  <a:lnTo>
                    <a:pt x="175" y="50"/>
                  </a:lnTo>
                  <a:lnTo>
                    <a:pt x="334" y="50"/>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0" name="Freeform 12">
              <a:extLst>
                <a:ext uri="{FF2B5EF4-FFF2-40B4-BE49-F238E27FC236}">
                  <a16:creationId xmlns:a16="http://schemas.microsoft.com/office/drawing/2014/main" id="{0CFB92ED-1AFB-E26B-2EDB-4CFB57CAFD0C}"/>
                </a:ext>
              </a:extLst>
            </p:cNvPr>
            <p:cNvSpPr>
              <a:spLocks noEditPoints="1"/>
            </p:cNvSpPr>
            <p:nvPr userDrawn="1"/>
          </p:nvSpPr>
          <p:spPr bwMode="auto">
            <a:xfrm>
              <a:off x="4599" y="2552"/>
              <a:ext cx="312" cy="551"/>
            </a:xfrm>
            <a:custGeom>
              <a:avLst/>
              <a:gdLst>
                <a:gd name="T0" fmla="*/ 295891719 w 132"/>
                <a:gd name="T1" fmla="*/ 0 h 232"/>
                <a:gd name="T2" fmla="*/ 295891719 w 132"/>
                <a:gd name="T3" fmla="*/ 31976658 h 232"/>
                <a:gd name="T4" fmla="*/ 111981461 w 132"/>
                <a:gd name="T5" fmla="*/ 31976658 h 232"/>
                <a:gd name="T6" fmla="*/ 51443210 w 132"/>
                <a:gd name="T7" fmla="*/ 58299493 h 232"/>
                <a:gd name="T8" fmla="*/ 26510905 w 132"/>
                <a:gd name="T9" fmla="*/ 122107630 h 232"/>
                <a:gd name="T10" fmla="*/ 26510905 w 132"/>
                <a:gd name="T11" fmla="*/ 442759715 h 232"/>
                <a:gd name="T12" fmla="*/ 51443210 w 132"/>
                <a:gd name="T13" fmla="*/ 508305993 h 232"/>
                <a:gd name="T14" fmla="*/ 111981461 w 132"/>
                <a:gd name="T15" fmla="*/ 535913430 h 232"/>
                <a:gd name="T16" fmla="*/ 295891719 w 132"/>
                <a:gd name="T17" fmla="*/ 535913430 h 232"/>
                <a:gd name="T18" fmla="*/ 295891719 w 132"/>
                <a:gd name="T19" fmla="*/ 564828430 h 232"/>
                <a:gd name="T20" fmla="*/ 111981461 w 132"/>
                <a:gd name="T21" fmla="*/ 564828430 h 232"/>
                <a:gd name="T22" fmla="*/ 33265636 w 132"/>
                <a:gd name="T23" fmla="*/ 527724589 h 232"/>
                <a:gd name="T24" fmla="*/ 0 w 132"/>
                <a:gd name="T25" fmla="*/ 442759715 h 232"/>
                <a:gd name="T26" fmla="*/ 0 w 132"/>
                <a:gd name="T27" fmla="*/ 122107630 h 232"/>
                <a:gd name="T28" fmla="*/ 33265636 w 132"/>
                <a:gd name="T29" fmla="*/ 37103839 h 232"/>
                <a:gd name="T30" fmla="*/ 111981461 w 132"/>
                <a:gd name="T31" fmla="*/ 0 h 232"/>
                <a:gd name="T32" fmla="*/ 295891719 w 132"/>
                <a:gd name="T33" fmla="*/ 0 h 232"/>
                <a:gd name="T34" fmla="*/ 47376772 w 132"/>
                <a:gd name="T35" fmla="*/ 122107630 h 232"/>
                <a:gd name="T36" fmla="*/ 65404189 w 132"/>
                <a:gd name="T37" fmla="*/ 70832843 h 232"/>
                <a:gd name="T38" fmla="*/ 111981461 w 132"/>
                <a:gd name="T39" fmla="*/ 51413739 h 232"/>
                <a:gd name="T40" fmla="*/ 295891719 w 132"/>
                <a:gd name="T41" fmla="*/ 51413739 h 232"/>
                <a:gd name="T42" fmla="*/ 295891719 w 132"/>
                <a:gd name="T43" fmla="*/ 79781492 h 232"/>
                <a:gd name="T44" fmla="*/ 111981461 w 132"/>
                <a:gd name="T45" fmla="*/ 79781492 h 232"/>
                <a:gd name="T46" fmla="*/ 85443339 w 132"/>
                <a:gd name="T47" fmla="*/ 92335711 h 232"/>
                <a:gd name="T48" fmla="*/ 73893437 w 132"/>
                <a:gd name="T49" fmla="*/ 122107630 h 232"/>
                <a:gd name="T50" fmla="*/ 73893437 w 132"/>
                <a:gd name="T51" fmla="*/ 202009418 h 232"/>
                <a:gd name="T52" fmla="*/ 295891719 w 132"/>
                <a:gd name="T53" fmla="*/ 202009418 h 232"/>
                <a:gd name="T54" fmla="*/ 295891719 w 132"/>
                <a:gd name="T55" fmla="*/ 233836064 h 232"/>
                <a:gd name="T56" fmla="*/ 47376772 w 132"/>
                <a:gd name="T57" fmla="*/ 233836064 h 232"/>
                <a:gd name="T58" fmla="*/ 47376772 w 132"/>
                <a:gd name="T59" fmla="*/ 122107630 h 232"/>
                <a:gd name="T60" fmla="*/ 47376772 w 132"/>
                <a:gd name="T61" fmla="*/ 253283286 h 232"/>
                <a:gd name="T62" fmla="*/ 295891719 w 132"/>
                <a:gd name="T63" fmla="*/ 253283286 h 232"/>
                <a:gd name="T64" fmla="*/ 295891719 w 132"/>
                <a:gd name="T65" fmla="*/ 283050061 h 232"/>
                <a:gd name="T66" fmla="*/ 73893437 w 132"/>
                <a:gd name="T67" fmla="*/ 283050061 h 232"/>
                <a:gd name="T68" fmla="*/ 73893437 w 132"/>
                <a:gd name="T69" fmla="*/ 442759715 h 232"/>
                <a:gd name="T70" fmla="*/ 85443339 w 132"/>
                <a:gd name="T71" fmla="*/ 472485538 h 232"/>
                <a:gd name="T72" fmla="*/ 111981461 w 132"/>
                <a:gd name="T73" fmla="*/ 484506888 h 232"/>
                <a:gd name="T74" fmla="*/ 295891719 w 132"/>
                <a:gd name="T75" fmla="*/ 484506888 h 232"/>
                <a:gd name="T76" fmla="*/ 295891719 w 132"/>
                <a:gd name="T77" fmla="*/ 513431020 h 232"/>
                <a:gd name="T78" fmla="*/ 111981461 w 132"/>
                <a:gd name="T79" fmla="*/ 513431020 h 232"/>
                <a:gd name="T80" fmla="*/ 65404189 w 132"/>
                <a:gd name="T81" fmla="*/ 494012295 h 232"/>
                <a:gd name="T82" fmla="*/ 47376772 w 132"/>
                <a:gd name="T83" fmla="*/ 442759715 h 232"/>
                <a:gd name="T84" fmla="*/ 47376772 w 132"/>
                <a:gd name="T85" fmla="*/ 253283286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132" y="0"/>
                  </a:moveTo>
                  <a:cubicBezTo>
                    <a:pt x="132" y="13"/>
                    <a:pt x="132" y="13"/>
                    <a:pt x="132" y="13"/>
                  </a:cubicBezTo>
                  <a:cubicBezTo>
                    <a:pt x="50" y="13"/>
                    <a:pt x="50" y="13"/>
                    <a:pt x="50" y="13"/>
                  </a:cubicBezTo>
                  <a:cubicBezTo>
                    <a:pt x="39" y="13"/>
                    <a:pt x="31" y="16"/>
                    <a:pt x="23" y="24"/>
                  </a:cubicBezTo>
                  <a:cubicBezTo>
                    <a:pt x="16" y="31"/>
                    <a:pt x="12" y="40"/>
                    <a:pt x="12" y="50"/>
                  </a:cubicBezTo>
                  <a:cubicBezTo>
                    <a:pt x="12" y="182"/>
                    <a:pt x="12" y="182"/>
                    <a:pt x="12" y="182"/>
                  </a:cubicBezTo>
                  <a:cubicBezTo>
                    <a:pt x="12" y="193"/>
                    <a:pt x="16" y="201"/>
                    <a:pt x="23" y="209"/>
                  </a:cubicBezTo>
                  <a:cubicBezTo>
                    <a:pt x="31" y="216"/>
                    <a:pt x="39" y="220"/>
                    <a:pt x="50" y="220"/>
                  </a:cubicBezTo>
                  <a:cubicBezTo>
                    <a:pt x="132" y="220"/>
                    <a:pt x="132" y="220"/>
                    <a:pt x="132" y="220"/>
                  </a:cubicBezTo>
                  <a:cubicBezTo>
                    <a:pt x="132" y="232"/>
                    <a:pt x="132" y="232"/>
                    <a:pt x="132" y="232"/>
                  </a:cubicBezTo>
                  <a:cubicBezTo>
                    <a:pt x="50" y="232"/>
                    <a:pt x="50" y="232"/>
                    <a:pt x="50" y="232"/>
                  </a:cubicBezTo>
                  <a:cubicBezTo>
                    <a:pt x="36" y="232"/>
                    <a:pt x="24" y="227"/>
                    <a:pt x="15" y="217"/>
                  </a:cubicBezTo>
                  <a:cubicBezTo>
                    <a:pt x="5" y="208"/>
                    <a:pt x="0" y="196"/>
                    <a:pt x="0" y="182"/>
                  </a:cubicBezTo>
                  <a:cubicBezTo>
                    <a:pt x="0" y="50"/>
                    <a:pt x="0" y="50"/>
                    <a:pt x="0" y="50"/>
                  </a:cubicBezTo>
                  <a:cubicBezTo>
                    <a:pt x="0" y="36"/>
                    <a:pt x="5" y="25"/>
                    <a:pt x="15" y="15"/>
                  </a:cubicBezTo>
                  <a:cubicBezTo>
                    <a:pt x="24" y="5"/>
                    <a:pt x="36" y="0"/>
                    <a:pt x="50" y="0"/>
                  </a:cubicBezTo>
                  <a:lnTo>
                    <a:pt x="132" y="0"/>
                  </a:lnTo>
                  <a:close/>
                  <a:moveTo>
                    <a:pt x="21" y="50"/>
                  </a:moveTo>
                  <a:cubicBezTo>
                    <a:pt x="21" y="42"/>
                    <a:pt x="24" y="35"/>
                    <a:pt x="29" y="29"/>
                  </a:cubicBezTo>
                  <a:cubicBezTo>
                    <a:pt x="35" y="24"/>
                    <a:pt x="42" y="21"/>
                    <a:pt x="50" y="21"/>
                  </a:cubicBezTo>
                  <a:cubicBezTo>
                    <a:pt x="132" y="21"/>
                    <a:pt x="132" y="21"/>
                    <a:pt x="132" y="21"/>
                  </a:cubicBezTo>
                  <a:cubicBezTo>
                    <a:pt x="132" y="33"/>
                    <a:pt x="132" y="33"/>
                    <a:pt x="132" y="33"/>
                  </a:cubicBezTo>
                  <a:cubicBezTo>
                    <a:pt x="50" y="33"/>
                    <a:pt x="50" y="33"/>
                    <a:pt x="50" y="33"/>
                  </a:cubicBezTo>
                  <a:cubicBezTo>
                    <a:pt x="45" y="33"/>
                    <a:pt x="41" y="35"/>
                    <a:pt x="38" y="38"/>
                  </a:cubicBezTo>
                  <a:cubicBezTo>
                    <a:pt x="35" y="42"/>
                    <a:pt x="33" y="45"/>
                    <a:pt x="33" y="50"/>
                  </a:cubicBezTo>
                  <a:cubicBezTo>
                    <a:pt x="33" y="83"/>
                    <a:pt x="33" y="83"/>
                    <a:pt x="33" y="83"/>
                  </a:cubicBezTo>
                  <a:cubicBezTo>
                    <a:pt x="132" y="83"/>
                    <a:pt x="132" y="83"/>
                    <a:pt x="132" y="83"/>
                  </a:cubicBezTo>
                  <a:cubicBezTo>
                    <a:pt x="132" y="96"/>
                    <a:pt x="132" y="96"/>
                    <a:pt x="132" y="96"/>
                  </a:cubicBezTo>
                  <a:cubicBezTo>
                    <a:pt x="21" y="96"/>
                    <a:pt x="21" y="96"/>
                    <a:pt x="21" y="96"/>
                  </a:cubicBezTo>
                  <a:lnTo>
                    <a:pt x="21" y="50"/>
                  </a:lnTo>
                  <a:close/>
                  <a:moveTo>
                    <a:pt x="21" y="104"/>
                  </a:moveTo>
                  <a:cubicBezTo>
                    <a:pt x="132" y="104"/>
                    <a:pt x="132" y="104"/>
                    <a:pt x="132" y="104"/>
                  </a:cubicBezTo>
                  <a:cubicBezTo>
                    <a:pt x="132" y="116"/>
                    <a:pt x="132" y="116"/>
                    <a:pt x="132" y="116"/>
                  </a:cubicBezTo>
                  <a:cubicBezTo>
                    <a:pt x="33" y="116"/>
                    <a:pt x="33" y="116"/>
                    <a:pt x="33" y="116"/>
                  </a:cubicBezTo>
                  <a:cubicBezTo>
                    <a:pt x="33" y="182"/>
                    <a:pt x="33" y="182"/>
                    <a:pt x="33" y="182"/>
                  </a:cubicBezTo>
                  <a:cubicBezTo>
                    <a:pt x="33" y="187"/>
                    <a:pt x="35" y="191"/>
                    <a:pt x="38" y="194"/>
                  </a:cubicBezTo>
                  <a:cubicBezTo>
                    <a:pt x="41" y="197"/>
                    <a:pt x="45" y="199"/>
                    <a:pt x="50" y="199"/>
                  </a:cubicBezTo>
                  <a:cubicBezTo>
                    <a:pt x="132" y="199"/>
                    <a:pt x="132" y="199"/>
                    <a:pt x="132" y="199"/>
                  </a:cubicBezTo>
                  <a:cubicBezTo>
                    <a:pt x="132" y="211"/>
                    <a:pt x="132" y="211"/>
                    <a:pt x="132" y="211"/>
                  </a:cubicBezTo>
                  <a:cubicBezTo>
                    <a:pt x="50" y="211"/>
                    <a:pt x="50" y="211"/>
                    <a:pt x="50" y="211"/>
                  </a:cubicBezTo>
                  <a:cubicBezTo>
                    <a:pt x="42" y="211"/>
                    <a:pt x="35" y="209"/>
                    <a:pt x="29" y="203"/>
                  </a:cubicBezTo>
                  <a:cubicBezTo>
                    <a:pt x="24" y="197"/>
                    <a:pt x="21" y="190"/>
                    <a:pt x="21" y="182"/>
                  </a:cubicBezTo>
                  <a:lnTo>
                    <a:pt x="21" y="104"/>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1" name="Freeform 13">
              <a:extLst>
                <a:ext uri="{FF2B5EF4-FFF2-40B4-BE49-F238E27FC236}">
                  <a16:creationId xmlns:a16="http://schemas.microsoft.com/office/drawing/2014/main" id="{CD89EBD5-FBA9-8245-DA4D-65C095C396AD}"/>
                </a:ext>
              </a:extLst>
            </p:cNvPr>
            <p:cNvSpPr>
              <a:spLocks noEditPoints="1"/>
            </p:cNvSpPr>
            <p:nvPr userDrawn="1"/>
          </p:nvSpPr>
          <p:spPr bwMode="auto">
            <a:xfrm>
              <a:off x="4958" y="2552"/>
              <a:ext cx="391" cy="551"/>
            </a:xfrm>
            <a:custGeom>
              <a:avLst/>
              <a:gdLst>
                <a:gd name="T0" fmla="*/ 309548631 w 165"/>
                <a:gd name="T1" fmla="*/ 0 h 232"/>
                <a:gd name="T2" fmla="*/ 363029971 w 165"/>
                <a:gd name="T3" fmla="*/ 24547155 h 232"/>
                <a:gd name="T4" fmla="*/ 386832786 w 165"/>
                <a:gd name="T5" fmla="*/ 79781492 h 232"/>
                <a:gd name="T6" fmla="*/ 386832786 w 165"/>
                <a:gd name="T7" fmla="*/ 564828430 h 232"/>
                <a:gd name="T8" fmla="*/ 358797870 w 165"/>
                <a:gd name="T9" fmla="*/ 564828430 h 232"/>
                <a:gd name="T10" fmla="*/ 358797870 w 165"/>
                <a:gd name="T11" fmla="*/ 79781492 h 232"/>
                <a:gd name="T12" fmla="*/ 344252405 w 165"/>
                <a:gd name="T13" fmla="*/ 46120372 h 232"/>
                <a:gd name="T14" fmla="*/ 309548631 w 165"/>
                <a:gd name="T15" fmla="*/ 31976658 h 232"/>
                <a:gd name="T16" fmla="*/ 77129169 w 165"/>
                <a:gd name="T17" fmla="*/ 31976658 h 232"/>
                <a:gd name="T18" fmla="*/ 42581549 w 165"/>
                <a:gd name="T19" fmla="*/ 46120372 h 232"/>
                <a:gd name="T20" fmla="*/ 27493911 w 165"/>
                <a:gd name="T21" fmla="*/ 79781492 h 232"/>
                <a:gd name="T22" fmla="*/ 27493911 w 165"/>
                <a:gd name="T23" fmla="*/ 564828430 h 232"/>
                <a:gd name="T24" fmla="*/ 0 w 165"/>
                <a:gd name="T25" fmla="*/ 564828430 h 232"/>
                <a:gd name="T26" fmla="*/ 0 w 165"/>
                <a:gd name="T27" fmla="*/ 79781492 h 232"/>
                <a:gd name="T28" fmla="*/ 20815816 w 165"/>
                <a:gd name="T29" fmla="*/ 24547155 h 232"/>
                <a:gd name="T30" fmla="*/ 77129169 w 165"/>
                <a:gd name="T31" fmla="*/ 0 h 232"/>
                <a:gd name="T32" fmla="*/ 309548631 w 165"/>
                <a:gd name="T33" fmla="*/ 0 h 232"/>
                <a:gd name="T34" fmla="*/ 182772758 w 165"/>
                <a:gd name="T35" fmla="*/ 51413739 h 232"/>
                <a:gd name="T36" fmla="*/ 182772758 w 165"/>
                <a:gd name="T37" fmla="*/ 263208180 h 232"/>
                <a:gd name="T38" fmla="*/ 154391061 w 165"/>
                <a:gd name="T39" fmla="*/ 263208180 h 232"/>
                <a:gd name="T40" fmla="*/ 154391061 w 165"/>
                <a:gd name="T41" fmla="*/ 79781492 h 232"/>
                <a:gd name="T42" fmla="*/ 77129169 w 165"/>
                <a:gd name="T43" fmla="*/ 79781492 h 232"/>
                <a:gd name="T44" fmla="*/ 77129169 w 165"/>
                <a:gd name="T45" fmla="*/ 564828430 h 232"/>
                <a:gd name="T46" fmla="*/ 46283478 w 165"/>
                <a:gd name="T47" fmla="*/ 564828430 h 232"/>
                <a:gd name="T48" fmla="*/ 46283478 w 165"/>
                <a:gd name="T49" fmla="*/ 79781492 h 232"/>
                <a:gd name="T50" fmla="*/ 56311393 w 165"/>
                <a:gd name="T51" fmla="*/ 60526659 h 232"/>
                <a:gd name="T52" fmla="*/ 77129169 w 165"/>
                <a:gd name="T53" fmla="*/ 51413739 h 232"/>
                <a:gd name="T54" fmla="*/ 182772758 w 165"/>
                <a:gd name="T55" fmla="*/ 51413739 h 232"/>
                <a:gd name="T56" fmla="*/ 309548631 w 165"/>
                <a:gd name="T57" fmla="*/ 51413739 h 232"/>
                <a:gd name="T58" fmla="*/ 329989272 w 165"/>
                <a:gd name="T59" fmla="*/ 60526659 h 232"/>
                <a:gd name="T60" fmla="*/ 337199511 w 165"/>
                <a:gd name="T61" fmla="*/ 79781492 h 232"/>
                <a:gd name="T62" fmla="*/ 337199511 w 165"/>
                <a:gd name="T63" fmla="*/ 564828430 h 232"/>
                <a:gd name="T64" fmla="*/ 309548631 w 165"/>
                <a:gd name="T65" fmla="*/ 564828430 h 232"/>
                <a:gd name="T66" fmla="*/ 309548631 w 165"/>
                <a:gd name="T67" fmla="*/ 79781492 h 232"/>
                <a:gd name="T68" fmla="*/ 232402284 w 165"/>
                <a:gd name="T69" fmla="*/ 79781492 h 232"/>
                <a:gd name="T70" fmla="*/ 232402284 w 165"/>
                <a:gd name="T71" fmla="*/ 263208180 h 232"/>
                <a:gd name="T72" fmla="*/ 203534936 w 165"/>
                <a:gd name="T73" fmla="*/ 263208180 h 232"/>
                <a:gd name="T74" fmla="*/ 203534936 w 165"/>
                <a:gd name="T75" fmla="*/ 51413739 h 232"/>
                <a:gd name="T76" fmla="*/ 309548631 w 165"/>
                <a:gd name="T77" fmla="*/ 51413739 h 23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65" h="232">
                  <a:moveTo>
                    <a:pt x="132" y="0"/>
                  </a:moveTo>
                  <a:cubicBezTo>
                    <a:pt x="141" y="0"/>
                    <a:pt x="149" y="4"/>
                    <a:pt x="155" y="10"/>
                  </a:cubicBezTo>
                  <a:cubicBezTo>
                    <a:pt x="162" y="16"/>
                    <a:pt x="165" y="24"/>
                    <a:pt x="165" y="33"/>
                  </a:cubicBezTo>
                  <a:cubicBezTo>
                    <a:pt x="165" y="232"/>
                    <a:pt x="165" y="232"/>
                    <a:pt x="165" y="232"/>
                  </a:cubicBezTo>
                  <a:cubicBezTo>
                    <a:pt x="153" y="232"/>
                    <a:pt x="153" y="232"/>
                    <a:pt x="153" y="232"/>
                  </a:cubicBezTo>
                  <a:cubicBezTo>
                    <a:pt x="153" y="33"/>
                    <a:pt x="153" y="33"/>
                    <a:pt x="153" y="33"/>
                  </a:cubicBezTo>
                  <a:cubicBezTo>
                    <a:pt x="153" y="28"/>
                    <a:pt x="151" y="23"/>
                    <a:pt x="147" y="19"/>
                  </a:cubicBezTo>
                  <a:cubicBezTo>
                    <a:pt x="143" y="15"/>
                    <a:pt x="138" y="13"/>
                    <a:pt x="132" y="13"/>
                  </a:cubicBezTo>
                  <a:cubicBezTo>
                    <a:pt x="33" y="13"/>
                    <a:pt x="33" y="13"/>
                    <a:pt x="33" y="13"/>
                  </a:cubicBezTo>
                  <a:cubicBezTo>
                    <a:pt x="27" y="13"/>
                    <a:pt x="22" y="15"/>
                    <a:pt x="18" y="19"/>
                  </a:cubicBezTo>
                  <a:cubicBezTo>
                    <a:pt x="14" y="23"/>
                    <a:pt x="12" y="28"/>
                    <a:pt x="12" y="33"/>
                  </a:cubicBezTo>
                  <a:cubicBezTo>
                    <a:pt x="12" y="232"/>
                    <a:pt x="12" y="232"/>
                    <a:pt x="12" y="232"/>
                  </a:cubicBezTo>
                  <a:cubicBezTo>
                    <a:pt x="0" y="232"/>
                    <a:pt x="0" y="232"/>
                    <a:pt x="0" y="232"/>
                  </a:cubicBezTo>
                  <a:cubicBezTo>
                    <a:pt x="0" y="33"/>
                    <a:pt x="0" y="33"/>
                    <a:pt x="0" y="33"/>
                  </a:cubicBezTo>
                  <a:cubicBezTo>
                    <a:pt x="0" y="24"/>
                    <a:pt x="3" y="16"/>
                    <a:pt x="9" y="10"/>
                  </a:cubicBezTo>
                  <a:cubicBezTo>
                    <a:pt x="16" y="4"/>
                    <a:pt x="24" y="0"/>
                    <a:pt x="33" y="0"/>
                  </a:cubicBezTo>
                  <a:lnTo>
                    <a:pt x="132" y="0"/>
                  </a:lnTo>
                  <a:close/>
                  <a:moveTo>
                    <a:pt x="78" y="21"/>
                  </a:moveTo>
                  <a:cubicBezTo>
                    <a:pt x="78" y="108"/>
                    <a:pt x="78" y="108"/>
                    <a:pt x="78" y="108"/>
                  </a:cubicBezTo>
                  <a:cubicBezTo>
                    <a:pt x="66" y="108"/>
                    <a:pt x="66" y="108"/>
                    <a:pt x="66" y="108"/>
                  </a:cubicBezTo>
                  <a:cubicBezTo>
                    <a:pt x="66" y="33"/>
                    <a:pt x="66" y="33"/>
                    <a:pt x="66" y="33"/>
                  </a:cubicBezTo>
                  <a:cubicBezTo>
                    <a:pt x="33" y="33"/>
                    <a:pt x="33" y="33"/>
                    <a:pt x="33" y="33"/>
                  </a:cubicBezTo>
                  <a:cubicBezTo>
                    <a:pt x="33" y="232"/>
                    <a:pt x="33" y="232"/>
                    <a:pt x="33" y="232"/>
                  </a:cubicBezTo>
                  <a:cubicBezTo>
                    <a:pt x="20" y="232"/>
                    <a:pt x="20" y="232"/>
                    <a:pt x="20" y="232"/>
                  </a:cubicBezTo>
                  <a:cubicBezTo>
                    <a:pt x="20" y="33"/>
                    <a:pt x="20" y="33"/>
                    <a:pt x="20" y="33"/>
                  </a:cubicBezTo>
                  <a:cubicBezTo>
                    <a:pt x="20" y="30"/>
                    <a:pt x="21" y="27"/>
                    <a:pt x="24" y="25"/>
                  </a:cubicBezTo>
                  <a:cubicBezTo>
                    <a:pt x="26" y="22"/>
                    <a:pt x="29" y="21"/>
                    <a:pt x="33" y="21"/>
                  </a:cubicBezTo>
                  <a:lnTo>
                    <a:pt x="78" y="21"/>
                  </a:lnTo>
                  <a:close/>
                  <a:moveTo>
                    <a:pt x="132" y="21"/>
                  </a:moveTo>
                  <a:cubicBezTo>
                    <a:pt x="135" y="21"/>
                    <a:pt x="138" y="22"/>
                    <a:pt x="141" y="25"/>
                  </a:cubicBezTo>
                  <a:cubicBezTo>
                    <a:pt x="143" y="27"/>
                    <a:pt x="144" y="30"/>
                    <a:pt x="144" y="33"/>
                  </a:cubicBezTo>
                  <a:cubicBezTo>
                    <a:pt x="144" y="232"/>
                    <a:pt x="144" y="232"/>
                    <a:pt x="144" y="232"/>
                  </a:cubicBezTo>
                  <a:cubicBezTo>
                    <a:pt x="132" y="232"/>
                    <a:pt x="132" y="232"/>
                    <a:pt x="132" y="232"/>
                  </a:cubicBezTo>
                  <a:cubicBezTo>
                    <a:pt x="132" y="33"/>
                    <a:pt x="132" y="33"/>
                    <a:pt x="132" y="33"/>
                  </a:cubicBezTo>
                  <a:cubicBezTo>
                    <a:pt x="99" y="33"/>
                    <a:pt x="99" y="33"/>
                    <a:pt x="99" y="33"/>
                  </a:cubicBezTo>
                  <a:cubicBezTo>
                    <a:pt x="99" y="108"/>
                    <a:pt x="99" y="108"/>
                    <a:pt x="99" y="108"/>
                  </a:cubicBezTo>
                  <a:cubicBezTo>
                    <a:pt x="87" y="108"/>
                    <a:pt x="87" y="108"/>
                    <a:pt x="87" y="108"/>
                  </a:cubicBezTo>
                  <a:cubicBezTo>
                    <a:pt x="87" y="21"/>
                    <a:pt x="87" y="21"/>
                    <a:pt x="87" y="21"/>
                  </a:cubicBezTo>
                  <a:lnTo>
                    <a:pt x="132" y="21"/>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14">
              <a:extLst>
                <a:ext uri="{FF2B5EF4-FFF2-40B4-BE49-F238E27FC236}">
                  <a16:creationId xmlns:a16="http://schemas.microsoft.com/office/drawing/2014/main" id="{19845C1A-0056-B740-C74E-CDD2B16829A1}"/>
                </a:ext>
              </a:extLst>
            </p:cNvPr>
            <p:cNvSpPr>
              <a:spLocks noEditPoints="1"/>
            </p:cNvSpPr>
            <p:nvPr userDrawn="1"/>
          </p:nvSpPr>
          <p:spPr bwMode="auto">
            <a:xfrm>
              <a:off x="5412" y="2552"/>
              <a:ext cx="313" cy="551"/>
            </a:xfrm>
            <a:custGeom>
              <a:avLst/>
              <a:gdLst>
                <a:gd name="T0" fmla="*/ 234667157 w 132"/>
                <a:gd name="T1" fmla="*/ 0 h 232"/>
                <a:gd name="T2" fmla="*/ 291517195 w 132"/>
                <a:gd name="T3" fmla="*/ 24547155 h 232"/>
                <a:gd name="T4" fmla="*/ 312488786 w 132"/>
                <a:gd name="T5" fmla="*/ 79781492 h 232"/>
                <a:gd name="T6" fmla="*/ 312488786 w 132"/>
                <a:gd name="T7" fmla="*/ 202009418 h 232"/>
                <a:gd name="T8" fmla="*/ 291517195 w 132"/>
                <a:gd name="T9" fmla="*/ 258572736 h 232"/>
                <a:gd name="T10" fmla="*/ 234667157 w 132"/>
                <a:gd name="T11" fmla="*/ 283050061 h 232"/>
                <a:gd name="T12" fmla="*/ 77977488 w 132"/>
                <a:gd name="T13" fmla="*/ 283050061 h 232"/>
                <a:gd name="T14" fmla="*/ 77977488 w 132"/>
                <a:gd name="T15" fmla="*/ 564828430 h 232"/>
                <a:gd name="T16" fmla="*/ 46760663 w 132"/>
                <a:gd name="T17" fmla="*/ 564828430 h 232"/>
                <a:gd name="T18" fmla="*/ 46760663 w 132"/>
                <a:gd name="T19" fmla="*/ 253283286 h 232"/>
                <a:gd name="T20" fmla="*/ 234667157 w 132"/>
                <a:gd name="T21" fmla="*/ 253283286 h 232"/>
                <a:gd name="T22" fmla="*/ 269717845 w 132"/>
                <a:gd name="T23" fmla="*/ 238499835 h 232"/>
                <a:gd name="T24" fmla="*/ 284788810 w 132"/>
                <a:gd name="T25" fmla="*/ 202009418 h 232"/>
                <a:gd name="T26" fmla="*/ 284788810 w 132"/>
                <a:gd name="T27" fmla="*/ 79781492 h 232"/>
                <a:gd name="T28" fmla="*/ 269717845 w 132"/>
                <a:gd name="T29" fmla="*/ 46120372 h 232"/>
                <a:gd name="T30" fmla="*/ 234667157 w 132"/>
                <a:gd name="T31" fmla="*/ 31976658 h 232"/>
                <a:gd name="T32" fmla="*/ 115836743 w 132"/>
                <a:gd name="T33" fmla="*/ 31976658 h 232"/>
                <a:gd name="T34" fmla="*/ 54699961 w 132"/>
                <a:gd name="T35" fmla="*/ 58299493 h 232"/>
                <a:gd name="T36" fmla="*/ 27860863 w 132"/>
                <a:gd name="T37" fmla="*/ 122107630 h 232"/>
                <a:gd name="T38" fmla="*/ 27860863 w 132"/>
                <a:gd name="T39" fmla="*/ 564828430 h 232"/>
                <a:gd name="T40" fmla="*/ 0 w 132"/>
                <a:gd name="T41" fmla="*/ 564828430 h 232"/>
                <a:gd name="T42" fmla="*/ 0 w 132"/>
                <a:gd name="T43" fmla="*/ 122107630 h 232"/>
                <a:gd name="T44" fmla="*/ 32885075 w 132"/>
                <a:gd name="T45" fmla="*/ 37103839 h 232"/>
                <a:gd name="T46" fmla="*/ 115836743 w 132"/>
                <a:gd name="T47" fmla="*/ 0 h 232"/>
                <a:gd name="T48" fmla="*/ 234667157 w 132"/>
                <a:gd name="T49" fmla="*/ 0 h 232"/>
                <a:gd name="T50" fmla="*/ 262918698 w 132"/>
                <a:gd name="T51" fmla="*/ 202009418 h 232"/>
                <a:gd name="T52" fmla="*/ 255645496 w 132"/>
                <a:gd name="T53" fmla="*/ 224358826 h 232"/>
                <a:gd name="T54" fmla="*/ 234667157 w 132"/>
                <a:gd name="T55" fmla="*/ 233836064 h 232"/>
                <a:gd name="T56" fmla="*/ 46760663 w 132"/>
                <a:gd name="T57" fmla="*/ 233836064 h 232"/>
                <a:gd name="T58" fmla="*/ 46760663 w 132"/>
                <a:gd name="T59" fmla="*/ 122107630 h 232"/>
                <a:gd name="T60" fmla="*/ 69064519 w 132"/>
                <a:gd name="T61" fmla="*/ 70832843 h 232"/>
                <a:gd name="T62" fmla="*/ 115836743 w 132"/>
                <a:gd name="T63" fmla="*/ 51413739 h 232"/>
                <a:gd name="T64" fmla="*/ 234667157 w 132"/>
                <a:gd name="T65" fmla="*/ 51413739 h 232"/>
                <a:gd name="T66" fmla="*/ 255645496 w 132"/>
                <a:gd name="T67" fmla="*/ 60526659 h 232"/>
                <a:gd name="T68" fmla="*/ 262918698 w 132"/>
                <a:gd name="T69" fmla="*/ 79781492 h 232"/>
                <a:gd name="T70" fmla="*/ 262918698 w 132"/>
                <a:gd name="T71" fmla="*/ 202009418 h 232"/>
                <a:gd name="T72" fmla="*/ 77977488 w 132"/>
                <a:gd name="T73" fmla="*/ 202009418 h 232"/>
                <a:gd name="T74" fmla="*/ 234667157 w 132"/>
                <a:gd name="T75" fmla="*/ 202009418 h 232"/>
                <a:gd name="T76" fmla="*/ 234667157 w 132"/>
                <a:gd name="T77" fmla="*/ 79781492 h 232"/>
                <a:gd name="T78" fmla="*/ 115836743 w 132"/>
                <a:gd name="T79" fmla="*/ 79781492 h 232"/>
                <a:gd name="T80" fmla="*/ 89678239 w 132"/>
                <a:gd name="T81" fmla="*/ 92335711 h 232"/>
                <a:gd name="T82" fmla="*/ 77977488 w 132"/>
                <a:gd name="T83" fmla="*/ 122107630 h 232"/>
                <a:gd name="T84" fmla="*/ 77977488 w 132"/>
                <a:gd name="T85" fmla="*/ 202009418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99" y="0"/>
                  </a:moveTo>
                  <a:cubicBezTo>
                    <a:pt x="108" y="0"/>
                    <a:pt x="116" y="4"/>
                    <a:pt x="123" y="10"/>
                  </a:cubicBezTo>
                  <a:cubicBezTo>
                    <a:pt x="129" y="16"/>
                    <a:pt x="132" y="24"/>
                    <a:pt x="132" y="33"/>
                  </a:cubicBezTo>
                  <a:cubicBezTo>
                    <a:pt x="132" y="83"/>
                    <a:pt x="132" y="83"/>
                    <a:pt x="132" y="83"/>
                  </a:cubicBezTo>
                  <a:cubicBezTo>
                    <a:pt x="132" y="92"/>
                    <a:pt x="129" y="100"/>
                    <a:pt x="123" y="106"/>
                  </a:cubicBezTo>
                  <a:cubicBezTo>
                    <a:pt x="116" y="113"/>
                    <a:pt x="108" y="116"/>
                    <a:pt x="99" y="116"/>
                  </a:cubicBezTo>
                  <a:cubicBezTo>
                    <a:pt x="33" y="116"/>
                    <a:pt x="33" y="116"/>
                    <a:pt x="33" y="116"/>
                  </a:cubicBezTo>
                  <a:cubicBezTo>
                    <a:pt x="33" y="232"/>
                    <a:pt x="33" y="232"/>
                    <a:pt x="33" y="232"/>
                  </a:cubicBezTo>
                  <a:cubicBezTo>
                    <a:pt x="20" y="232"/>
                    <a:pt x="20" y="232"/>
                    <a:pt x="20" y="232"/>
                  </a:cubicBezTo>
                  <a:cubicBezTo>
                    <a:pt x="20" y="104"/>
                    <a:pt x="20" y="104"/>
                    <a:pt x="20" y="104"/>
                  </a:cubicBezTo>
                  <a:cubicBezTo>
                    <a:pt x="99" y="104"/>
                    <a:pt x="99" y="104"/>
                    <a:pt x="99" y="104"/>
                  </a:cubicBezTo>
                  <a:cubicBezTo>
                    <a:pt x="105" y="104"/>
                    <a:pt x="110" y="102"/>
                    <a:pt x="114" y="98"/>
                  </a:cubicBezTo>
                  <a:cubicBezTo>
                    <a:pt x="118" y="94"/>
                    <a:pt x="120" y="89"/>
                    <a:pt x="120" y="83"/>
                  </a:cubicBezTo>
                  <a:cubicBezTo>
                    <a:pt x="120" y="33"/>
                    <a:pt x="120" y="33"/>
                    <a:pt x="120" y="33"/>
                  </a:cubicBezTo>
                  <a:cubicBezTo>
                    <a:pt x="120" y="28"/>
                    <a:pt x="118" y="23"/>
                    <a:pt x="114" y="19"/>
                  </a:cubicBezTo>
                  <a:cubicBezTo>
                    <a:pt x="110" y="15"/>
                    <a:pt x="105" y="13"/>
                    <a:pt x="99" y="13"/>
                  </a:cubicBezTo>
                  <a:cubicBezTo>
                    <a:pt x="49" y="13"/>
                    <a:pt x="49" y="13"/>
                    <a:pt x="49" y="13"/>
                  </a:cubicBezTo>
                  <a:cubicBezTo>
                    <a:pt x="39" y="13"/>
                    <a:pt x="30" y="16"/>
                    <a:pt x="23" y="24"/>
                  </a:cubicBezTo>
                  <a:cubicBezTo>
                    <a:pt x="16" y="31"/>
                    <a:pt x="12" y="40"/>
                    <a:pt x="12" y="50"/>
                  </a:cubicBezTo>
                  <a:cubicBezTo>
                    <a:pt x="12" y="232"/>
                    <a:pt x="12" y="232"/>
                    <a:pt x="12" y="232"/>
                  </a:cubicBezTo>
                  <a:cubicBezTo>
                    <a:pt x="0" y="232"/>
                    <a:pt x="0" y="232"/>
                    <a:pt x="0" y="232"/>
                  </a:cubicBezTo>
                  <a:cubicBezTo>
                    <a:pt x="0" y="50"/>
                    <a:pt x="0" y="50"/>
                    <a:pt x="0" y="50"/>
                  </a:cubicBezTo>
                  <a:cubicBezTo>
                    <a:pt x="0" y="36"/>
                    <a:pt x="5" y="25"/>
                    <a:pt x="14" y="15"/>
                  </a:cubicBezTo>
                  <a:cubicBezTo>
                    <a:pt x="24" y="5"/>
                    <a:pt x="36" y="0"/>
                    <a:pt x="49" y="0"/>
                  </a:cubicBezTo>
                  <a:lnTo>
                    <a:pt x="99" y="0"/>
                  </a:lnTo>
                  <a:close/>
                  <a:moveTo>
                    <a:pt x="111" y="83"/>
                  </a:moveTo>
                  <a:cubicBezTo>
                    <a:pt x="111" y="87"/>
                    <a:pt x="110" y="89"/>
                    <a:pt x="108" y="92"/>
                  </a:cubicBezTo>
                  <a:cubicBezTo>
                    <a:pt x="105" y="94"/>
                    <a:pt x="102" y="96"/>
                    <a:pt x="99" y="96"/>
                  </a:cubicBezTo>
                  <a:cubicBezTo>
                    <a:pt x="20" y="96"/>
                    <a:pt x="20" y="96"/>
                    <a:pt x="20" y="96"/>
                  </a:cubicBezTo>
                  <a:cubicBezTo>
                    <a:pt x="20" y="50"/>
                    <a:pt x="20" y="50"/>
                    <a:pt x="20" y="50"/>
                  </a:cubicBezTo>
                  <a:cubicBezTo>
                    <a:pt x="20" y="42"/>
                    <a:pt x="23" y="35"/>
                    <a:pt x="29" y="29"/>
                  </a:cubicBezTo>
                  <a:cubicBezTo>
                    <a:pt x="35" y="24"/>
                    <a:pt x="41" y="21"/>
                    <a:pt x="49" y="21"/>
                  </a:cubicBezTo>
                  <a:cubicBezTo>
                    <a:pt x="99" y="21"/>
                    <a:pt x="99" y="21"/>
                    <a:pt x="99" y="21"/>
                  </a:cubicBezTo>
                  <a:cubicBezTo>
                    <a:pt x="102" y="21"/>
                    <a:pt x="105" y="22"/>
                    <a:pt x="108" y="25"/>
                  </a:cubicBezTo>
                  <a:cubicBezTo>
                    <a:pt x="110" y="27"/>
                    <a:pt x="111" y="30"/>
                    <a:pt x="111" y="33"/>
                  </a:cubicBezTo>
                  <a:lnTo>
                    <a:pt x="111" y="83"/>
                  </a:lnTo>
                  <a:close/>
                  <a:moveTo>
                    <a:pt x="33" y="83"/>
                  </a:moveTo>
                  <a:cubicBezTo>
                    <a:pt x="99" y="83"/>
                    <a:pt x="99" y="83"/>
                    <a:pt x="99" y="83"/>
                  </a:cubicBezTo>
                  <a:cubicBezTo>
                    <a:pt x="99" y="33"/>
                    <a:pt x="99" y="33"/>
                    <a:pt x="99" y="33"/>
                  </a:cubicBezTo>
                  <a:cubicBezTo>
                    <a:pt x="49" y="33"/>
                    <a:pt x="49" y="33"/>
                    <a:pt x="49" y="33"/>
                  </a:cubicBezTo>
                  <a:cubicBezTo>
                    <a:pt x="45" y="33"/>
                    <a:pt x="41" y="35"/>
                    <a:pt x="38" y="38"/>
                  </a:cubicBezTo>
                  <a:cubicBezTo>
                    <a:pt x="34" y="42"/>
                    <a:pt x="33" y="45"/>
                    <a:pt x="33" y="50"/>
                  </a:cubicBezTo>
                  <a:lnTo>
                    <a:pt x="33" y="83"/>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3" name="Freeform 15">
              <a:extLst>
                <a:ext uri="{FF2B5EF4-FFF2-40B4-BE49-F238E27FC236}">
                  <a16:creationId xmlns:a16="http://schemas.microsoft.com/office/drawing/2014/main" id="{6880DDAC-9F25-4855-D627-B36E674487ED}"/>
                </a:ext>
              </a:extLst>
            </p:cNvPr>
            <p:cNvSpPr>
              <a:spLocks noEditPoints="1"/>
            </p:cNvSpPr>
            <p:nvPr userDrawn="1"/>
          </p:nvSpPr>
          <p:spPr bwMode="auto">
            <a:xfrm>
              <a:off x="5774" y="2552"/>
              <a:ext cx="312" cy="551"/>
            </a:xfrm>
            <a:custGeom>
              <a:avLst/>
              <a:gdLst>
                <a:gd name="T0" fmla="*/ 26510905 w 132"/>
                <a:gd name="T1" fmla="*/ 442759715 h 232"/>
                <a:gd name="T2" fmla="*/ 51443210 w 132"/>
                <a:gd name="T3" fmla="*/ 508305993 h 232"/>
                <a:gd name="T4" fmla="*/ 110103249 w 132"/>
                <a:gd name="T5" fmla="*/ 535913430 h 232"/>
                <a:gd name="T6" fmla="*/ 295891719 w 132"/>
                <a:gd name="T7" fmla="*/ 535913430 h 232"/>
                <a:gd name="T8" fmla="*/ 295891719 w 132"/>
                <a:gd name="T9" fmla="*/ 564828430 h 232"/>
                <a:gd name="T10" fmla="*/ 110103249 w 132"/>
                <a:gd name="T11" fmla="*/ 564828430 h 232"/>
                <a:gd name="T12" fmla="*/ 31262608 w 132"/>
                <a:gd name="T13" fmla="*/ 527724589 h 232"/>
                <a:gd name="T14" fmla="*/ 0 w 132"/>
                <a:gd name="T15" fmla="*/ 442759715 h 232"/>
                <a:gd name="T16" fmla="*/ 0 w 132"/>
                <a:gd name="T17" fmla="*/ 0 h 232"/>
                <a:gd name="T18" fmla="*/ 26510905 w 132"/>
                <a:gd name="T19" fmla="*/ 0 h 232"/>
                <a:gd name="T20" fmla="*/ 26510905 w 132"/>
                <a:gd name="T21" fmla="*/ 442759715 h 232"/>
                <a:gd name="T22" fmla="*/ 295891719 w 132"/>
                <a:gd name="T23" fmla="*/ 484506888 h 232"/>
                <a:gd name="T24" fmla="*/ 295891719 w 132"/>
                <a:gd name="T25" fmla="*/ 513431020 h 232"/>
                <a:gd name="T26" fmla="*/ 110103249 w 132"/>
                <a:gd name="T27" fmla="*/ 513431020 h 232"/>
                <a:gd name="T28" fmla="*/ 65404189 w 132"/>
                <a:gd name="T29" fmla="*/ 494012295 h 232"/>
                <a:gd name="T30" fmla="*/ 44482705 w 132"/>
                <a:gd name="T31" fmla="*/ 442759715 h 232"/>
                <a:gd name="T32" fmla="*/ 44482705 w 132"/>
                <a:gd name="T33" fmla="*/ 0 h 232"/>
                <a:gd name="T34" fmla="*/ 73893437 w 132"/>
                <a:gd name="T35" fmla="*/ 0 h 232"/>
                <a:gd name="T36" fmla="*/ 73893437 w 132"/>
                <a:gd name="T37" fmla="*/ 442759715 h 232"/>
                <a:gd name="T38" fmla="*/ 85443339 w 132"/>
                <a:gd name="T39" fmla="*/ 472485538 h 232"/>
                <a:gd name="T40" fmla="*/ 110103249 w 132"/>
                <a:gd name="T41" fmla="*/ 484506888 h 232"/>
                <a:gd name="T42" fmla="*/ 295891719 w 132"/>
                <a:gd name="T43" fmla="*/ 484506888 h 2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2" h="232">
                  <a:moveTo>
                    <a:pt x="12" y="182"/>
                  </a:moveTo>
                  <a:cubicBezTo>
                    <a:pt x="12" y="193"/>
                    <a:pt x="16" y="201"/>
                    <a:pt x="23" y="209"/>
                  </a:cubicBezTo>
                  <a:cubicBezTo>
                    <a:pt x="30" y="216"/>
                    <a:pt x="39" y="220"/>
                    <a:pt x="49" y="220"/>
                  </a:cubicBezTo>
                  <a:cubicBezTo>
                    <a:pt x="132" y="220"/>
                    <a:pt x="132" y="220"/>
                    <a:pt x="132" y="220"/>
                  </a:cubicBezTo>
                  <a:cubicBezTo>
                    <a:pt x="132" y="232"/>
                    <a:pt x="132" y="232"/>
                    <a:pt x="132" y="232"/>
                  </a:cubicBezTo>
                  <a:cubicBezTo>
                    <a:pt x="49" y="232"/>
                    <a:pt x="49" y="232"/>
                    <a:pt x="49" y="232"/>
                  </a:cubicBezTo>
                  <a:cubicBezTo>
                    <a:pt x="36" y="232"/>
                    <a:pt x="24" y="227"/>
                    <a:pt x="14" y="217"/>
                  </a:cubicBezTo>
                  <a:cubicBezTo>
                    <a:pt x="4" y="208"/>
                    <a:pt x="0" y="196"/>
                    <a:pt x="0" y="182"/>
                  </a:cubicBezTo>
                  <a:cubicBezTo>
                    <a:pt x="0" y="0"/>
                    <a:pt x="0" y="0"/>
                    <a:pt x="0" y="0"/>
                  </a:cubicBezTo>
                  <a:cubicBezTo>
                    <a:pt x="12" y="0"/>
                    <a:pt x="12" y="0"/>
                    <a:pt x="12" y="0"/>
                  </a:cubicBezTo>
                  <a:lnTo>
                    <a:pt x="12" y="182"/>
                  </a:lnTo>
                  <a:close/>
                  <a:moveTo>
                    <a:pt x="132" y="199"/>
                  </a:moveTo>
                  <a:cubicBezTo>
                    <a:pt x="132" y="211"/>
                    <a:pt x="132" y="211"/>
                    <a:pt x="132" y="211"/>
                  </a:cubicBezTo>
                  <a:cubicBezTo>
                    <a:pt x="49" y="211"/>
                    <a:pt x="49" y="211"/>
                    <a:pt x="49" y="211"/>
                  </a:cubicBezTo>
                  <a:cubicBezTo>
                    <a:pt x="41" y="211"/>
                    <a:pt x="34" y="209"/>
                    <a:pt x="29" y="203"/>
                  </a:cubicBezTo>
                  <a:cubicBezTo>
                    <a:pt x="23" y="197"/>
                    <a:pt x="20" y="190"/>
                    <a:pt x="20" y="182"/>
                  </a:cubicBezTo>
                  <a:cubicBezTo>
                    <a:pt x="20" y="0"/>
                    <a:pt x="20" y="0"/>
                    <a:pt x="20" y="0"/>
                  </a:cubicBezTo>
                  <a:cubicBezTo>
                    <a:pt x="33" y="0"/>
                    <a:pt x="33" y="0"/>
                    <a:pt x="33" y="0"/>
                  </a:cubicBezTo>
                  <a:cubicBezTo>
                    <a:pt x="33" y="182"/>
                    <a:pt x="33" y="182"/>
                    <a:pt x="33" y="182"/>
                  </a:cubicBezTo>
                  <a:cubicBezTo>
                    <a:pt x="33" y="187"/>
                    <a:pt x="34" y="191"/>
                    <a:pt x="38" y="194"/>
                  </a:cubicBezTo>
                  <a:cubicBezTo>
                    <a:pt x="41" y="197"/>
                    <a:pt x="45" y="199"/>
                    <a:pt x="49" y="199"/>
                  </a:cubicBezTo>
                  <a:lnTo>
                    <a:pt x="132" y="199"/>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6">
              <a:extLst>
                <a:ext uri="{FF2B5EF4-FFF2-40B4-BE49-F238E27FC236}">
                  <a16:creationId xmlns:a16="http://schemas.microsoft.com/office/drawing/2014/main" id="{57FB7D42-4D23-B25E-02A0-60D82C2625D4}"/>
                </a:ext>
              </a:extLst>
            </p:cNvPr>
            <p:cNvSpPr>
              <a:spLocks noEditPoints="1"/>
            </p:cNvSpPr>
            <p:nvPr userDrawn="1"/>
          </p:nvSpPr>
          <p:spPr bwMode="auto">
            <a:xfrm>
              <a:off x="6120" y="2552"/>
              <a:ext cx="331" cy="551"/>
            </a:xfrm>
            <a:custGeom>
              <a:avLst/>
              <a:gdLst>
                <a:gd name="T0" fmla="*/ 315628455 w 140"/>
                <a:gd name="T1" fmla="*/ 0 h 232"/>
                <a:gd name="T2" fmla="*/ 315628455 w 140"/>
                <a:gd name="T3" fmla="*/ 564828430 h 232"/>
                <a:gd name="T4" fmla="*/ 288722604 w 140"/>
                <a:gd name="T5" fmla="*/ 564828430 h 232"/>
                <a:gd name="T6" fmla="*/ 288722604 w 140"/>
                <a:gd name="T7" fmla="*/ 31976658 h 232"/>
                <a:gd name="T8" fmla="*/ 110489077 w 140"/>
                <a:gd name="T9" fmla="*/ 31976658 h 232"/>
                <a:gd name="T10" fmla="*/ 51651254 w 140"/>
                <a:gd name="T11" fmla="*/ 58299493 h 232"/>
                <a:gd name="T12" fmla="*/ 26606139 w 140"/>
                <a:gd name="T13" fmla="*/ 122107630 h 232"/>
                <a:gd name="T14" fmla="*/ 26606139 w 140"/>
                <a:gd name="T15" fmla="*/ 564828430 h 232"/>
                <a:gd name="T16" fmla="*/ 0 w 140"/>
                <a:gd name="T17" fmla="*/ 564828430 h 232"/>
                <a:gd name="T18" fmla="*/ 0 w 140"/>
                <a:gd name="T19" fmla="*/ 122107630 h 232"/>
                <a:gd name="T20" fmla="*/ 31354195 w 140"/>
                <a:gd name="T21" fmla="*/ 37103839 h 232"/>
                <a:gd name="T22" fmla="*/ 110489077 w 140"/>
                <a:gd name="T23" fmla="*/ 0 h 232"/>
                <a:gd name="T24" fmla="*/ 315628455 w 140"/>
                <a:gd name="T25" fmla="*/ 0 h 232"/>
                <a:gd name="T26" fmla="*/ 44631525 w 140"/>
                <a:gd name="T27" fmla="*/ 122107630 h 232"/>
                <a:gd name="T28" fmla="*/ 65649001 w 140"/>
                <a:gd name="T29" fmla="*/ 70832843 h 232"/>
                <a:gd name="T30" fmla="*/ 110489077 w 140"/>
                <a:gd name="T31" fmla="*/ 51413739 h 232"/>
                <a:gd name="T32" fmla="*/ 270477527 w 140"/>
                <a:gd name="T33" fmla="*/ 51413739 h 232"/>
                <a:gd name="T34" fmla="*/ 270477527 w 140"/>
                <a:gd name="T35" fmla="*/ 233836064 h 232"/>
                <a:gd name="T36" fmla="*/ 44631525 w 140"/>
                <a:gd name="T37" fmla="*/ 233836064 h 232"/>
                <a:gd name="T38" fmla="*/ 44631525 w 140"/>
                <a:gd name="T39" fmla="*/ 122107630 h 232"/>
                <a:gd name="T40" fmla="*/ 270477527 w 140"/>
                <a:gd name="T41" fmla="*/ 253283286 h 232"/>
                <a:gd name="T42" fmla="*/ 270477527 w 140"/>
                <a:gd name="T43" fmla="*/ 564828430 h 232"/>
                <a:gd name="T44" fmla="*/ 241121972 w 140"/>
                <a:gd name="T45" fmla="*/ 564828430 h 232"/>
                <a:gd name="T46" fmla="*/ 241121972 w 140"/>
                <a:gd name="T47" fmla="*/ 283050061 h 232"/>
                <a:gd name="T48" fmla="*/ 74130275 w 140"/>
                <a:gd name="T49" fmla="*/ 283050061 h 232"/>
                <a:gd name="T50" fmla="*/ 74130275 w 140"/>
                <a:gd name="T51" fmla="*/ 564828430 h 232"/>
                <a:gd name="T52" fmla="*/ 44631525 w 140"/>
                <a:gd name="T53" fmla="*/ 564828430 h 232"/>
                <a:gd name="T54" fmla="*/ 44631525 w 140"/>
                <a:gd name="T55" fmla="*/ 253283286 h 232"/>
                <a:gd name="T56" fmla="*/ 270477527 w 140"/>
                <a:gd name="T57" fmla="*/ 253283286 h 232"/>
                <a:gd name="T58" fmla="*/ 241121972 w 140"/>
                <a:gd name="T59" fmla="*/ 79781492 h 232"/>
                <a:gd name="T60" fmla="*/ 110489077 w 140"/>
                <a:gd name="T61" fmla="*/ 79781492 h 232"/>
                <a:gd name="T62" fmla="*/ 85974132 w 140"/>
                <a:gd name="T63" fmla="*/ 92335711 h 232"/>
                <a:gd name="T64" fmla="*/ 74130275 w 140"/>
                <a:gd name="T65" fmla="*/ 122107630 h 232"/>
                <a:gd name="T66" fmla="*/ 74130275 w 140"/>
                <a:gd name="T67" fmla="*/ 202009418 h 232"/>
                <a:gd name="T68" fmla="*/ 241121972 w 140"/>
                <a:gd name="T69" fmla="*/ 202009418 h 232"/>
                <a:gd name="T70" fmla="*/ 241121972 w 140"/>
                <a:gd name="T71" fmla="*/ 79781492 h 23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40" h="232">
                  <a:moveTo>
                    <a:pt x="140" y="0"/>
                  </a:moveTo>
                  <a:cubicBezTo>
                    <a:pt x="140" y="232"/>
                    <a:pt x="140" y="232"/>
                    <a:pt x="140" y="232"/>
                  </a:cubicBezTo>
                  <a:cubicBezTo>
                    <a:pt x="128" y="232"/>
                    <a:pt x="128" y="232"/>
                    <a:pt x="128" y="232"/>
                  </a:cubicBezTo>
                  <a:cubicBezTo>
                    <a:pt x="128" y="13"/>
                    <a:pt x="128" y="13"/>
                    <a:pt x="128" y="13"/>
                  </a:cubicBezTo>
                  <a:cubicBezTo>
                    <a:pt x="49" y="13"/>
                    <a:pt x="49" y="13"/>
                    <a:pt x="49" y="13"/>
                  </a:cubicBezTo>
                  <a:cubicBezTo>
                    <a:pt x="39" y="13"/>
                    <a:pt x="30" y="16"/>
                    <a:pt x="23" y="24"/>
                  </a:cubicBezTo>
                  <a:cubicBezTo>
                    <a:pt x="16" y="31"/>
                    <a:pt x="12" y="40"/>
                    <a:pt x="12" y="50"/>
                  </a:cubicBezTo>
                  <a:cubicBezTo>
                    <a:pt x="12" y="232"/>
                    <a:pt x="12" y="232"/>
                    <a:pt x="12" y="232"/>
                  </a:cubicBezTo>
                  <a:cubicBezTo>
                    <a:pt x="0" y="232"/>
                    <a:pt x="0" y="232"/>
                    <a:pt x="0" y="232"/>
                  </a:cubicBezTo>
                  <a:cubicBezTo>
                    <a:pt x="0" y="50"/>
                    <a:pt x="0" y="50"/>
                    <a:pt x="0" y="50"/>
                  </a:cubicBezTo>
                  <a:cubicBezTo>
                    <a:pt x="0" y="36"/>
                    <a:pt x="5" y="25"/>
                    <a:pt x="14" y="15"/>
                  </a:cubicBezTo>
                  <a:cubicBezTo>
                    <a:pt x="24" y="5"/>
                    <a:pt x="36" y="0"/>
                    <a:pt x="49" y="0"/>
                  </a:cubicBezTo>
                  <a:lnTo>
                    <a:pt x="140" y="0"/>
                  </a:lnTo>
                  <a:close/>
                  <a:moveTo>
                    <a:pt x="20" y="50"/>
                  </a:moveTo>
                  <a:cubicBezTo>
                    <a:pt x="20" y="42"/>
                    <a:pt x="23" y="35"/>
                    <a:pt x="29" y="29"/>
                  </a:cubicBezTo>
                  <a:cubicBezTo>
                    <a:pt x="35" y="24"/>
                    <a:pt x="41" y="21"/>
                    <a:pt x="49" y="21"/>
                  </a:cubicBezTo>
                  <a:cubicBezTo>
                    <a:pt x="120" y="21"/>
                    <a:pt x="120" y="21"/>
                    <a:pt x="120" y="21"/>
                  </a:cubicBezTo>
                  <a:cubicBezTo>
                    <a:pt x="120" y="96"/>
                    <a:pt x="120" y="96"/>
                    <a:pt x="120" y="96"/>
                  </a:cubicBezTo>
                  <a:cubicBezTo>
                    <a:pt x="20" y="96"/>
                    <a:pt x="20" y="96"/>
                    <a:pt x="20" y="96"/>
                  </a:cubicBezTo>
                  <a:lnTo>
                    <a:pt x="20" y="50"/>
                  </a:lnTo>
                  <a:close/>
                  <a:moveTo>
                    <a:pt x="120" y="104"/>
                  </a:moveTo>
                  <a:cubicBezTo>
                    <a:pt x="120" y="232"/>
                    <a:pt x="120" y="232"/>
                    <a:pt x="120" y="232"/>
                  </a:cubicBezTo>
                  <a:cubicBezTo>
                    <a:pt x="107" y="232"/>
                    <a:pt x="107" y="232"/>
                    <a:pt x="107" y="232"/>
                  </a:cubicBezTo>
                  <a:cubicBezTo>
                    <a:pt x="107" y="116"/>
                    <a:pt x="107" y="116"/>
                    <a:pt x="107" y="116"/>
                  </a:cubicBezTo>
                  <a:cubicBezTo>
                    <a:pt x="33" y="116"/>
                    <a:pt x="33" y="116"/>
                    <a:pt x="33" y="116"/>
                  </a:cubicBezTo>
                  <a:cubicBezTo>
                    <a:pt x="33" y="232"/>
                    <a:pt x="33" y="232"/>
                    <a:pt x="33" y="232"/>
                  </a:cubicBezTo>
                  <a:cubicBezTo>
                    <a:pt x="20" y="232"/>
                    <a:pt x="20" y="232"/>
                    <a:pt x="20" y="232"/>
                  </a:cubicBezTo>
                  <a:cubicBezTo>
                    <a:pt x="20" y="104"/>
                    <a:pt x="20" y="104"/>
                    <a:pt x="20" y="104"/>
                  </a:cubicBezTo>
                  <a:lnTo>
                    <a:pt x="120" y="104"/>
                  </a:lnTo>
                  <a:close/>
                  <a:moveTo>
                    <a:pt x="107" y="33"/>
                  </a:moveTo>
                  <a:cubicBezTo>
                    <a:pt x="49" y="33"/>
                    <a:pt x="49" y="33"/>
                    <a:pt x="49" y="33"/>
                  </a:cubicBezTo>
                  <a:cubicBezTo>
                    <a:pt x="45" y="33"/>
                    <a:pt x="41" y="35"/>
                    <a:pt x="38" y="38"/>
                  </a:cubicBezTo>
                  <a:cubicBezTo>
                    <a:pt x="34" y="42"/>
                    <a:pt x="33" y="45"/>
                    <a:pt x="33" y="50"/>
                  </a:cubicBezTo>
                  <a:cubicBezTo>
                    <a:pt x="33" y="83"/>
                    <a:pt x="33" y="83"/>
                    <a:pt x="33" y="83"/>
                  </a:cubicBezTo>
                  <a:cubicBezTo>
                    <a:pt x="107" y="83"/>
                    <a:pt x="107" y="83"/>
                    <a:pt x="107" y="83"/>
                  </a:cubicBezTo>
                  <a:lnTo>
                    <a:pt x="107" y="33"/>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5" name="Freeform 17">
              <a:extLst>
                <a:ext uri="{FF2B5EF4-FFF2-40B4-BE49-F238E27FC236}">
                  <a16:creationId xmlns:a16="http://schemas.microsoft.com/office/drawing/2014/main" id="{8BF2E792-45FC-5420-8CEC-008F03C9608A}"/>
                </a:ext>
              </a:extLst>
            </p:cNvPr>
            <p:cNvSpPr>
              <a:spLocks noEditPoints="1"/>
            </p:cNvSpPr>
            <p:nvPr userDrawn="1"/>
          </p:nvSpPr>
          <p:spPr bwMode="auto">
            <a:xfrm>
              <a:off x="6517" y="2552"/>
              <a:ext cx="331" cy="551"/>
            </a:xfrm>
            <a:custGeom>
              <a:avLst/>
              <a:gdLst>
                <a:gd name="T0" fmla="*/ 0 w 331"/>
                <a:gd name="T1" fmla="*/ 0 h 551"/>
                <a:gd name="T2" fmla="*/ 331 w 331"/>
                <a:gd name="T3" fmla="*/ 0 h 551"/>
                <a:gd name="T4" fmla="*/ 331 w 331"/>
                <a:gd name="T5" fmla="*/ 31 h 551"/>
                <a:gd name="T6" fmla="*/ 0 w 331"/>
                <a:gd name="T7" fmla="*/ 31 h 551"/>
                <a:gd name="T8" fmla="*/ 0 w 331"/>
                <a:gd name="T9" fmla="*/ 0 h 551"/>
                <a:gd name="T10" fmla="*/ 156 w 331"/>
                <a:gd name="T11" fmla="*/ 50 h 551"/>
                <a:gd name="T12" fmla="*/ 156 w 331"/>
                <a:gd name="T13" fmla="*/ 551 h 551"/>
                <a:gd name="T14" fmla="*/ 128 w 331"/>
                <a:gd name="T15" fmla="*/ 551 h 551"/>
                <a:gd name="T16" fmla="*/ 128 w 331"/>
                <a:gd name="T17" fmla="*/ 79 h 551"/>
                <a:gd name="T18" fmla="*/ 0 w 331"/>
                <a:gd name="T19" fmla="*/ 79 h 551"/>
                <a:gd name="T20" fmla="*/ 0 w 331"/>
                <a:gd name="T21" fmla="*/ 50 h 551"/>
                <a:gd name="T22" fmla="*/ 156 w 331"/>
                <a:gd name="T23" fmla="*/ 50 h 551"/>
                <a:gd name="T24" fmla="*/ 331 w 331"/>
                <a:gd name="T25" fmla="*/ 50 h 551"/>
                <a:gd name="T26" fmla="*/ 331 w 331"/>
                <a:gd name="T27" fmla="*/ 79 h 551"/>
                <a:gd name="T28" fmla="*/ 206 w 331"/>
                <a:gd name="T29" fmla="*/ 79 h 551"/>
                <a:gd name="T30" fmla="*/ 206 w 331"/>
                <a:gd name="T31" fmla="*/ 551 h 551"/>
                <a:gd name="T32" fmla="*/ 175 w 331"/>
                <a:gd name="T33" fmla="*/ 551 h 551"/>
                <a:gd name="T34" fmla="*/ 175 w 331"/>
                <a:gd name="T35" fmla="*/ 50 h 551"/>
                <a:gd name="T36" fmla="*/ 331 w 331"/>
                <a:gd name="T37" fmla="*/ 50 h 5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31" h="551">
                  <a:moveTo>
                    <a:pt x="0" y="0"/>
                  </a:moveTo>
                  <a:lnTo>
                    <a:pt x="331" y="0"/>
                  </a:lnTo>
                  <a:lnTo>
                    <a:pt x="331" y="31"/>
                  </a:lnTo>
                  <a:lnTo>
                    <a:pt x="0" y="31"/>
                  </a:lnTo>
                  <a:lnTo>
                    <a:pt x="0" y="0"/>
                  </a:lnTo>
                  <a:close/>
                  <a:moveTo>
                    <a:pt x="156" y="50"/>
                  </a:moveTo>
                  <a:lnTo>
                    <a:pt x="156" y="551"/>
                  </a:lnTo>
                  <a:lnTo>
                    <a:pt x="128" y="551"/>
                  </a:lnTo>
                  <a:lnTo>
                    <a:pt x="128" y="79"/>
                  </a:lnTo>
                  <a:lnTo>
                    <a:pt x="0" y="79"/>
                  </a:lnTo>
                  <a:lnTo>
                    <a:pt x="0" y="50"/>
                  </a:lnTo>
                  <a:lnTo>
                    <a:pt x="156" y="50"/>
                  </a:lnTo>
                  <a:close/>
                  <a:moveTo>
                    <a:pt x="331" y="50"/>
                  </a:moveTo>
                  <a:lnTo>
                    <a:pt x="331" y="79"/>
                  </a:lnTo>
                  <a:lnTo>
                    <a:pt x="206" y="79"/>
                  </a:lnTo>
                  <a:lnTo>
                    <a:pt x="206" y="551"/>
                  </a:lnTo>
                  <a:lnTo>
                    <a:pt x="175" y="551"/>
                  </a:lnTo>
                  <a:lnTo>
                    <a:pt x="175" y="50"/>
                  </a:lnTo>
                  <a:lnTo>
                    <a:pt x="331" y="50"/>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6" name="Freeform 18">
              <a:extLst>
                <a:ext uri="{FF2B5EF4-FFF2-40B4-BE49-F238E27FC236}">
                  <a16:creationId xmlns:a16="http://schemas.microsoft.com/office/drawing/2014/main" id="{2C2C8275-19B4-93E6-0376-881D77A6CFE7}"/>
                </a:ext>
              </a:extLst>
            </p:cNvPr>
            <p:cNvSpPr>
              <a:spLocks noEditPoints="1"/>
            </p:cNvSpPr>
            <p:nvPr userDrawn="1"/>
          </p:nvSpPr>
          <p:spPr bwMode="auto">
            <a:xfrm>
              <a:off x="6886" y="2552"/>
              <a:ext cx="312" cy="551"/>
            </a:xfrm>
            <a:custGeom>
              <a:avLst/>
              <a:gdLst>
                <a:gd name="T0" fmla="*/ 295891719 w 132"/>
                <a:gd name="T1" fmla="*/ 0 h 232"/>
                <a:gd name="T2" fmla="*/ 295891719 w 132"/>
                <a:gd name="T3" fmla="*/ 31976658 h 232"/>
                <a:gd name="T4" fmla="*/ 110103249 w 132"/>
                <a:gd name="T5" fmla="*/ 31976658 h 232"/>
                <a:gd name="T6" fmla="*/ 51443210 w 132"/>
                <a:gd name="T7" fmla="*/ 58299493 h 232"/>
                <a:gd name="T8" fmla="*/ 26510905 w 132"/>
                <a:gd name="T9" fmla="*/ 122107630 h 232"/>
                <a:gd name="T10" fmla="*/ 26510905 w 132"/>
                <a:gd name="T11" fmla="*/ 442759715 h 232"/>
                <a:gd name="T12" fmla="*/ 51443210 w 132"/>
                <a:gd name="T13" fmla="*/ 508305993 h 232"/>
                <a:gd name="T14" fmla="*/ 110103249 w 132"/>
                <a:gd name="T15" fmla="*/ 535913430 h 232"/>
                <a:gd name="T16" fmla="*/ 295891719 w 132"/>
                <a:gd name="T17" fmla="*/ 535913430 h 232"/>
                <a:gd name="T18" fmla="*/ 295891719 w 132"/>
                <a:gd name="T19" fmla="*/ 564828430 h 232"/>
                <a:gd name="T20" fmla="*/ 110103249 w 132"/>
                <a:gd name="T21" fmla="*/ 564828430 h 232"/>
                <a:gd name="T22" fmla="*/ 31262608 w 132"/>
                <a:gd name="T23" fmla="*/ 527724589 h 232"/>
                <a:gd name="T24" fmla="*/ 0 w 132"/>
                <a:gd name="T25" fmla="*/ 442759715 h 232"/>
                <a:gd name="T26" fmla="*/ 0 w 132"/>
                <a:gd name="T27" fmla="*/ 122107630 h 232"/>
                <a:gd name="T28" fmla="*/ 31262608 w 132"/>
                <a:gd name="T29" fmla="*/ 37103839 h 232"/>
                <a:gd name="T30" fmla="*/ 110103249 w 132"/>
                <a:gd name="T31" fmla="*/ 0 h 232"/>
                <a:gd name="T32" fmla="*/ 295891719 w 132"/>
                <a:gd name="T33" fmla="*/ 0 h 232"/>
                <a:gd name="T34" fmla="*/ 44482705 w 132"/>
                <a:gd name="T35" fmla="*/ 122107630 h 232"/>
                <a:gd name="T36" fmla="*/ 65404189 w 132"/>
                <a:gd name="T37" fmla="*/ 70832843 h 232"/>
                <a:gd name="T38" fmla="*/ 111981461 w 132"/>
                <a:gd name="T39" fmla="*/ 51413739 h 232"/>
                <a:gd name="T40" fmla="*/ 295891719 w 132"/>
                <a:gd name="T41" fmla="*/ 51413739 h 232"/>
                <a:gd name="T42" fmla="*/ 295891719 w 132"/>
                <a:gd name="T43" fmla="*/ 79781492 h 232"/>
                <a:gd name="T44" fmla="*/ 111981461 w 132"/>
                <a:gd name="T45" fmla="*/ 79781492 h 232"/>
                <a:gd name="T46" fmla="*/ 85443339 w 132"/>
                <a:gd name="T47" fmla="*/ 92335711 h 232"/>
                <a:gd name="T48" fmla="*/ 73893437 w 132"/>
                <a:gd name="T49" fmla="*/ 122107630 h 232"/>
                <a:gd name="T50" fmla="*/ 73893437 w 132"/>
                <a:gd name="T51" fmla="*/ 202009418 h 232"/>
                <a:gd name="T52" fmla="*/ 295891719 w 132"/>
                <a:gd name="T53" fmla="*/ 202009418 h 232"/>
                <a:gd name="T54" fmla="*/ 295891719 w 132"/>
                <a:gd name="T55" fmla="*/ 233836064 h 232"/>
                <a:gd name="T56" fmla="*/ 44482705 w 132"/>
                <a:gd name="T57" fmla="*/ 233836064 h 232"/>
                <a:gd name="T58" fmla="*/ 44482705 w 132"/>
                <a:gd name="T59" fmla="*/ 122107630 h 232"/>
                <a:gd name="T60" fmla="*/ 44482705 w 132"/>
                <a:gd name="T61" fmla="*/ 253283286 h 232"/>
                <a:gd name="T62" fmla="*/ 295891719 w 132"/>
                <a:gd name="T63" fmla="*/ 253283286 h 232"/>
                <a:gd name="T64" fmla="*/ 295891719 w 132"/>
                <a:gd name="T65" fmla="*/ 283050061 h 232"/>
                <a:gd name="T66" fmla="*/ 73893437 w 132"/>
                <a:gd name="T67" fmla="*/ 283050061 h 232"/>
                <a:gd name="T68" fmla="*/ 73893437 w 132"/>
                <a:gd name="T69" fmla="*/ 442759715 h 232"/>
                <a:gd name="T70" fmla="*/ 85443339 w 132"/>
                <a:gd name="T71" fmla="*/ 472485538 h 232"/>
                <a:gd name="T72" fmla="*/ 111981461 w 132"/>
                <a:gd name="T73" fmla="*/ 484506888 h 232"/>
                <a:gd name="T74" fmla="*/ 295891719 w 132"/>
                <a:gd name="T75" fmla="*/ 484506888 h 232"/>
                <a:gd name="T76" fmla="*/ 295891719 w 132"/>
                <a:gd name="T77" fmla="*/ 513431020 h 232"/>
                <a:gd name="T78" fmla="*/ 111981461 w 132"/>
                <a:gd name="T79" fmla="*/ 513431020 h 232"/>
                <a:gd name="T80" fmla="*/ 65404189 w 132"/>
                <a:gd name="T81" fmla="*/ 494012295 h 232"/>
                <a:gd name="T82" fmla="*/ 44482705 w 132"/>
                <a:gd name="T83" fmla="*/ 442759715 h 232"/>
                <a:gd name="T84" fmla="*/ 44482705 w 132"/>
                <a:gd name="T85" fmla="*/ 253283286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132" y="0"/>
                  </a:moveTo>
                  <a:cubicBezTo>
                    <a:pt x="132" y="13"/>
                    <a:pt x="132" y="13"/>
                    <a:pt x="132" y="13"/>
                  </a:cubicBezTo>
                  <a:cubicBezTo>
                    <a:pt x="49" y="13"/>
                    <a:pt x="49" y="13"/>
                    <a:pt x="49" y="13"/>
                  </a:cubicBezTo>
                  <a:cubicBezTo>
                    <a:pt x="39" y="13"/>
                    <a:pt x="30" y="16"/>
                    <a:pt x="23" y="24"/>
                  </a:cubicBezTo>
                  <a:cubicBezTo>
                    <a:pt x="16" y="31"/>
                    <a:pt x="12" y="40"/>
                    <a:pt x="12" y="50"/>
                  </a:cubicBezTo>
                  <a:cubicBezTo>
                    <a:pt x="12" y="182"/>
                    <a:pt x="12" y="182"/>
                    <a:pt x="12" y="182"/>
                  </a:cubicBezTo>
                  <a:cubicBezTo>
                    <a:pt x="12" y="193"/>
                    <a:pt x="16" y="201"/>
                    <a:pt x="23" y="209"/>
                  </a:cubicBezTo>
                  <a:cubicBezTo>
                    <a:pt x="30" y="216"/>
                    <a:pt x="39" y="220"/>
                    <a:pt x="49" y="220"/>
                  </a:cubicBezTo>
                  <a:cubicBezTo>
                    <a:pt x="132" y="220"/>
                    <a:pt x="132" y="220"/>
                    <a:pt x="132" y="220"/>
                  </a:cubicBezTo>
                  <a:cubicBezTo>
                    <a:pt x="132" y="232"/>
                    <a:pt x="132" y="232"/>
                    <a:pt x="132" y="232"/>
                  </a:cubicBezTo>
                  <a:cubicBezTo>
                    <a:pt x="49" y="232"/>
                    <a:pt x="49" y="232"/>
                    <a:pt x="49" y="232"/>
                  </a:cubicBezTo>
                  <a:cubicBezTo>
                    <a:pt x="36" y="232"/>
                    <a:pt x="24" y="227"/>
                    <a:pt x="14" y="217"/>
                  </a:cubicBezTo>
                  <a:cubicBezTo>
                    <a:pt x="5" y="208"/>
                    <a:pt x="0" y="196"/>
                    <a:pt x="0" y="182"/>
                  </a:cubicBezTo>
                  <a:cubicBezTo>
                    <a:pt x="0" y="50"/>
                    <a:pt x="0" y="50"/>
                    <a:pt x="0" y="50"/>
                  </a:cubicBezTo>
                  <a:cubicBezTo>
                    <a:pt x="0" y="36"/>
                    <a:pt x="5" y="25"/>
                    <a:pt x="14" y="15"/>
                  </a:cubicBezTo>
                  <a:cubicBezTo>
                    <a:pt x="24" y="5"/>
                    <a:pt x="36" y="0"/>
                    <a:pt x="49" y="0"/>
                  </a:cubicBezTo>
                  <a:lnTo>
                    <a:pt x="132" y="0"/>
                  </a:lnTo>
                  <a:close/>
                  <a:moveTo>
                    <a:pt x="20" y="50"/>
                  </a:moveTo>
                  <a:cubicBezTo>
                    <a:pt x="20" y="42"/>
                    <a:pt x="23" y="35"/>
                    <a:pt x="29" y="29"/>
                  </a:cubicBezTo>
                  <a:cubicBezTo>
                    <a:pt x="35" y="24"/>
                    <a:pt x="42" y="21"/>
                    <a:pt x="50" y="21"/>
                  </a:cubicBezTo>
                  <a:cubicBezTo>
                    <a:pt x="132" y="21"/>
                    <a:pt x="132" y="21"/>
                    <a:pt x="132" y="21"/>
                  </a:cubicBezTo>
                  <a:cubicBezTo>
                    <a:pt x="132" y="33"/>
                    <a:pt x="132" y="33"/>
                    <a:pt x="132" y="33"/>
                  </a:cubicBezTo>
                  <a:cubicBezTo>
                    <a:pt x="50" y="33"/>
                    <a:pt x="50" y="33"/>
                    <a:pt x="50" y="33"/>
                  </a:cubicBezTo>
                  <a:cubicBezTo>
                    <a:pt x="45" y="33"/>
                    <a:pt x="41" y="35"/>
                    <a:pt x="38" y="38"/>
                  </a:cubicBezTo>
                  <a:cubicBezTo>
                    <a:pt x="35" y="42"/>
                    <a:pt x="33" y="45"/>
                    <a:pt x="33" y="50"/>
                  </a:cubicBezTo>
                  <a:cubicBezTo>
                    <a:pt x="33" y="83"/>
                    <a:pt x="33" y="83"/>
                    <a:pt x="33" y="83"/>
                  </a:cubicBezTo>
                  <a:cubicBezTo>
                    <a:pt x="132" y="83"/>
                    <a:pt x="132" y="83"/>
                    <a:pt x="132" y="83"/>
                  </a:cubicBezTo>
                  <a:cubicBezTo>
                    <a:pt x="132" y="96"/>
                    <a:pt x="132" y="96"/>
                    <a:pt x="132" y="96"/>
                  </a:cubicBezTo>
                  <a:cubicBezTo>
                    <a:pt x="20" y="96"/>
                    <a:pt x="20" y="96"/>
                    <a:pt x="20" y="96"/>
                  </a:cubicBezTo>
                  <a:lnTo>
                    <a:pt x="20" y="50"/>
                  </a:lnTo>
                  <a:close/>
                  <a:moveTo>
                    <a:pt x="20" y="104"/>
                  </a:moveTo>
                  <a:cubicBezTo>
                    <a:pt x="132" y="104"/>
                    <a:pt x="132" y="104"/>
                    <a:pt x="132" y="104"/>
                  </a:cubicBezTo>
                  <a:cubicBezTo>
                    <a:pt x="132" y="116"/>
                    <a:pt x="132" y="116"/>
                    <a:pt x="132" y="116"/>
                  </a:cubicBezTo>
                  <a:cubicBezTo>
                    <a:pt x="33" y="116"/>
                    <a:pt x="33" y="116"/>
                    <a:pt x="33" y="116"/>
                  </a:cubicBezTo>
                  <a:cubicBezTo>
                    <a:pt x="33" y="182"/>
                    <a:pt x="33" y="182"/>
                    <a:pt x="33" y="182"/>
                  </a:cubicBezTo>
                  <a:cubicBezTo>
                    <a:pt x="33" y="187"/>
                    <a:pt x="35" y="191"/>
                    <a:pt x="38" y="194"/>
                  </a:cubicBezTo>
                  <a:cubicBezTo>
                    <a:pt x="41" y="197"/>
                    <a:pt x="45" y="199"/>
                    <a:pt x="50" y="199"/>
                  </a:cubicBezTo>
                  <a:cubicBezTo>
                    <a:pt x="132" y="199"/>
                    <a:pt x="132" y="199"/>
                    <a:pt x="132" y="199"/>
                  </a:cubicBezTo>
                  <a:cubicBezTo>
                    <a:pt x="132" y="211"/>
                    <a:pt x="132" y="211"/>
                    <a:pt x="132" y="211"/>
                  </a:cubicBezTo>
                  <a:cubicBezTo>
                    <a:pt x="50" y="211"/>
                    <a:pt x="50" y="211"/>
                    <a:pt x="50" y="211"/>
                  </a:cubicBezTo>
                  <a:cubicBezTo>
                    <a:pt x="42" y="211"/>
                    <a:pt x="35" y="209"/>
                    <a:pt x="29" y="203"/>
                  </a:cubicBezTo>
                  <a:cubicBezTo>
                    <a:pt x="23" y="197"/>
                    <a:pt x="20" y="190"/>
                    <a:pt x="20" y="182"/>
                  </a:cubicBezTo>
                  <a:lnTo>
                    <a:pt x="20" y="104"/>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1617163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2331B25C-5AE4-C588-8867-E756F1A82237}"/>
              </a:ext>
            </a:extLst>
          </p:cNvPr>
          <p:cNvSpPr/>
          <p:nvPr/>
        </p:nvSpPr>
        <p:spPr>
          <a:xfrm>
            <a:off x="11350625" y="6361113"/>
            <a:ext cx="344488" cy="344487"/>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2"/>
              </a:solidFill>
            </a:endParaRPr>
          </a:p>
        </p:txBody>
      </p:sp>
      <p:grpSp>
        <p:nvGrpSpPr>
          <p:cNvPr id="3" name="Group 4">
            <a:extLst>
              <a:ext uri="{FF2B5EF4-FFF2-40B4-BE49-F238E27FC236}">
                <a16:creationId xmlns:a16="http://schemas.microsoft.com/office/drawing/2014/main" id="{FCDF58D2-5C42-0C98-FB91-24899730C6CF}"/>
              </a:ext>
            </a:extLst>
          </p:cNvPr>
          <p:cNvGrpSpPr>
            <a:grpSpLocks noChangeAspect="1"/>
          </p:cNvGrpSpPr>
          <p:nvPr/>
        </p:nvGrpSpPr>
        <p:grpSpPr bwMode="auto">
          <a:xfrm>
            <a:off x="527050" y="6389688"/>
            <a:ext cx="1039813" cy="284162"/>
            <a:chOff x="297" y="1187"/>
            <a:chExt cx="7085" cy="1944"/>
          </a:xfrm>
        </p:grpSpPr>
        <p:sp>
          <p:nvSpPr>
            <p:cNvPr id="4" name="Freeform 9">
              <a:extLst>
                <a:ext uri="{FF2B5EF4-FFF2-40B4-BE49-F238E27FC236}">
                  <a16:creationId xmlns:a16="http://schemas.microsoft.com/office/drawing/2014/main" id="{0B4A95FC-5B02-16F8-7EEE-E8B2A0740376}"/>
                </a:ext>
              </a:extLst>
            </p:cNvPr>
            <p:cNvSpPr>
              <a:spLocks noEditPoints="1"/>
            </p:cNvSpPr>
            <p:nvPr userDrawn="1"/>
          </p:nvSpPr>
          <p:spPr bwMode="auto">
            <a:xfrm>
              <a:off x="297" y="1189"/>
              <a:ext cx="1266" cy="1105"/>
            </a:xfrm>
            <a:custGeom>
              <a:avLst/>
              <a:gdLst>
                <a:gd name="T0" fmla="*/ 592814223 w 535"/>
                <a:gd name="T1" fmla="*/ 490470457 h 466"/>
                <a:gd name="T2" fmla="*/ 475447313 w 535"/>
                <a:gd name="T3" fmla="*/ 198813566 h 466"/>
                <a:gd name="T4" fmla="*/ 254086917 w 535"/>
                <a:gd name="T5" fmla="*/ 767261907 h 466"/>
                <a:gd name="T6" fmla="*/ 205935911 w 535"/>
                <a:gd name="T7" fmla="*/ 898255873 h 466"/>
                <a:gd name="T8" fmla="*/ 135177273 w 535"/>
                <a:gd name="T9" fmla="*/ 1082812292 h 466"/>
                <a:gd name="T10" fmla="*/ 135177273 w 535"/>
                <a:gd name="T11" fmla="*/ 1079972834 h 466"/>
                <a:gd name="T12" fmla="*/ 102568007 w 535"/>
                <a:gd name="T13" fmla="*/ 1104057219 h 466"/>
                <a:gd name="T14" fmla="*/ 25381052 w 535"/>
                <a:gd name="T15" fmla="*/ 1104057219 h 466"/>
                <a:gd name="T16" fmla="*/ 0 w 535"/>
                <a:gd name="T17" fmla="*/ 1087116478 h 466"/>
                <a:gd name="T18" fmla="*/ 2031267 w 535"/>
                <a:gd name="T19" fmla="*/ 1078264271 h 466"/>
                <a:gd name="T20" fmla="*/ 4806699 w 535"/>
                <a:gd name="T21" fmla="*/ 1068152912 h 466"/>
                <a:gd name="T22" fmla="*/ 423281075 w 535"/>
                <a:gd name="T23" fmla="*/ 19018883 h 466"/>
                <a:gd name="T24" fmla="*/ 425157884 w 535"/>
                <a:gd name="T25" fmla="*/ 16871626 h 466"/>
                <a:gd name="T26" fmla="*/ 423281075 w 535"/>
                <a:gd name="T27" fmla="*/ 19018883 h 466"/>
                <a:gd name="T28" fmla="*/ 430186005 w 535"/>
                <a:gd name="T29" fmla="*/ 7115093 h 466"/>
                <a:gd name="T30" fmla="*/ 453467932 w 535"/>
                <a:gd name="T31" fmla="*/ 0 h 466"/>
                <a:gd name="T32" fmla="*/ 500809590 w 535"/>
                <a:gd name="T33" fmla="*/ 0 h 466"/>
                <a:gd name="T34" fmla="*/ 522062318 w 535"/>
                <a:gd name="T35" fmla="*/ 7115093 h 466"/>
                <a:gd name="T36" fmla="*/ 528624526 w 535"/>
                <a:gd name="T37" fmla="*/ 19018883 h 466"/>
                <a:gd name="T38" fmla="*/ 530657417 w 535"/>
                <a:gd name="T39" fmla="*/ 19018883 h 466"/>
                <a:gd name="T40" fmla="*/ 532753721 w 535"/>
                <a:gd name="T41" fmla="*/ 23986629 h 466"/>
                <a:gd name="T42" fmla="*/ 530657417 w 535"/>
                <a:gd name="T43" fmla="*/ 21137875 h 466"/>
                <a:gd name="T44" fmla="*/ 656507488 w 535"/>
                <a:gd name="T45" fmla="*/ 336755356 h 466"/>
                <a:gd name="T46" fmla="*/ 592814223 w 535"/>
                <a:gd name="T47" fmla="*/ 490470457 h 466"/>
                <a:gd name="T48" fmla="*/ 1063415281 w 535"/>
                <a:gd name="T49" fmla="*/ 1007003229 h 466"/>
                <a:gd name="T50" fmla="*/ 1020096784 w 535"/>
                <a:gd name="T51" fmla="*/ 898255873 h 466"/>
                <a:gd name="T52" fmla="*/ 862287051 w 535"/>
                <a:gd name="T53" fmla="*/ 490470457 h 466"/>
                <a:gd name="T54" fmla="*/ 745075518 w 535"/>
                <a:gd name="T55" fmla="*/ 198813566 h 466"/>
                <a:gd name="T56" fmla="*/ 524093625 w 535"/>
                <a:gd name="T57" fmla="*/ 767261907 h 466"/>
                <a:gd name="T58" fmla="*/ 473909525 w 535"/>
                <a:gd name="T59" fmla="*/ 898255873 h 466"/>
                <a:gd name="T60" fmla="*/ 405184384 w 535"/>
                <a:gd name="T61" fmla="*/ 1082812292 h 466"/>
                <a:gd name="T62" fmla="*/ 405184384 w 535"/>
                <a:gd name="T63" fmla="*/ 1079972834 h 466"/>
                <a:gd name="T64" fmla="*/ 372851835 w 535"/>
                <a:gd name="T65" fmla="*/ 1104057219 h 466"/>
                <a:gd name="T66" fmla="*/ 295029932 w 535"/>
                <a:gd name="T67" fmla="*/ 1104057219 h 466"/>
                <a:gd name="T68" fmla="*/ 269628205 w 535"/>
                <a:gd name="T69" fmla="*/ 1087116478 h 466"/>
                <a:gd name="T70" fmla="*/ 272403609 w 535"/>
                <a:gd name="T71" fmla="*/ 1078264271 h 466"/>
                <a:gd name="T72" fmla="*/ 274527635 w 535"/>
                <a:gd name="T73" fmla="*/ 1068152912 h 466"/>
                <a:gd name="T74" fmla="*/ 693246507 w 535"/>
                <a:gd name="T75" fmla="*/ 19018883 h 466"/>
                <a:gd name="T76" fmla="*/ 694891188 w 535"/>
                <a:gd name="T77" fmla="*/ 16871626 h 466"/>
                <a:gd name="T78" fmla="*/ 693246507 w 535"/>
                <a:gd name="T79" fmla="*/ 19018883 h 466"/>
                <a:gd name="T80" fmla="*/ 699814170 w 535"/>
                <a:gd name="T81" fmla="*/ 7115093 h 466"/>
                <a:gd name="T82" fmla="*/ 722963600 w 535"/>
                <a:gd name="T83" fmla="*/ 0 h 466"/>
                <a:gd name="T84" fmla="*/ 770453496 w 535"/>
                <a:gd name="T85" fmla="*/ 0 h 466"/>
                <a:gd name="T86" fmla="*/ 791690909 w 535"/>
                <a:gd name="T87" fmla="*/ 7115093 h 466"/>
                <a:gd name="T88" fmla="*/ 798593889 w 535"/>
                <a:gd name="T89" fmla="*/ 19018883 h 466"/>
                <a:gd name="T90" fmla="*/ 800282813 w 535"/>
                <a:gd name="T91" fmla="*/ 19018883 h 466"/>
                <a:gd name="T92" fmla="*/ 800282813 w 535"/>
                <a:gd name="T93" fmla="*/ 23986629 h 466"/>
                <a:gd name="T94" fmla="*/ 800282813 w 535"/>
                <a:gd name="T95" fmla="*/ 21137875 h 466"/>
                <a:gd name="T96" fmla="*/ 1221874959 w 535"/>
                <a:gd name="T97" fmla="*/ 1068152912 h 466"/>
                <a:gd name="T98" fmla="*/ 1223907795 w 535"/>
                <a:gd name="T99" fmla="*/ 1073239556 h 466"/>
                <a:gd name="T100" fmla="*/ 1223907795 w 535"/>
                <a:gd name="T101" fmla="*/ 1087116478 h 466"/>
                <a:gd name="T102" fmla="*/ 1198604492 w 535"/>
                <a:gd name="T103" fmla="*/ 1104057219 h 466"/>
                <a:gd name="T104" fmla="*/ 1123315401 w 535"/>
                <a:gd name="T105" fmla="*/ 1104057219 h 466"/>
                <a:gd name="T106" fmla="*/ 1091504023 w 535"/>
                <a:gd name="T107" fmla="*/ 1082812292 h 466"/>
                <a:gd name="T108" fmla="*/ 1063415281 w 535"/>
                <a:gd name="T109" fmla="*/ 1007003229 h 4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35" h="466">
                  <a:moveTo>
                    <a:pt x="259" y="207"/>
                  </a:moveTo>
                  <a:cubicBezTo>
                    <a:pt x="208" y="84"/>
                    <a:pt x="208" y="84"/>
                    <a:pt x="208" y="84"/>
                  </a:cubicBezTo>
                  <a:cubicBezTo>
                    <a:pt x="111" y="324"/>
                    <a:pt x="111" y="324"/>
                    <a:pt x="111" y="324"/>
                  </a:cubicBezTo>
                  <a:cubicBezTo>
                    <a:pt x="90" y="379"/>
                    <a:pt x="90" y="379"/>
                    <a:pt x="90" y="379"/>
                  </a:cubicBezTo>
                  <a:cubicBezTo>
                    <a:pt x="59" y="457"/>
                    <a:pt x="59" y="457"/>
                    <a:pt x="59" y="457"/>
                  </a:cubicBezTo>
                  <a:cubicBezTo>
                    <a:pt x="59" y="456"/>
                    <a:pt x="59" y="456"/>
                    <a:pt x="59" y="456"/>
                  </a:cubicBezTo>
                  <a:cubicBezTo>
                    <a:pt x="56" y="462"/>
                    <a:pt x="51" y="466"/>
                    <a:pt x="45" y="466"/>
                  </a:cubicBezTo>
                  <a:cubicBezTo>
                    <a:pt x="11" y="466"/>
                    <a:pt x="11" y="466"/>
                    <a:pt x="11" y="466"/>
                  </a:cubicBezTo>
                  <a:cubicBezTo>
                    <a:pt x="4" y="466"/>
                    <a:pt x="0" y="464"/>
                    <a:pt x="0" y="459"/>
                  </a:cubicBezTo>
                  <a:cubicBezTo>
                    <a:pt x="0" y="458"/>
                    <a:pt x="0" y="457"/>
                    <a:pt x="1" y="455"/>
                  </a:cubicBezTo>
                  <a:cubicBezTo>
                    <a:pt x="2" y="451"/>
                    <a:pt x="2" y="451"/>
                    <a:pt x="2" y="451"/>
                  </a:cubicBezTo>
                  <a:cubicBezTo>
                    <a:pt x="185" y="8"/>
                    <a:pt x="185" y="8"/>
                    <a:pt x="185" y="8"/>
                  </a:cubicBezTo>
                  <a:cubicBezTo>
                    <a:pt x="185" y="8"/>
                    <a:pt x="185" y="7"/>
                    <a:pt x="186" y="7"/>
                  </a:cubicBezTo>
                  <a:cubicBezTo>
                    <a:pt x="185" y="8"/>
                    <a:pt x="185" y="8"/>
                    <a:pt x="185" y="8"/>
                  </a:cubicBezTo>
                  <a:cubicBezTo>
                    <a:pt x="188" y="3"/>
                    <a:pt x="188" y="3"/>
                    <a:pt x="188" y="3"/>
                  </a:cubicBezTo>
                  <a:cubicBezTo>
                    <a:pt x="190" y="1"/>
                    <a:pt x="193" y="0"/>
                    <a:pt x="198" y="0"/>
                  </a:cubicBezTo>
                  <a:cubicBezTo>
                    <a:pt x="219" y="0"/>
                    <a:pt x="219" y="0"/>
                    <a:pt x="219" y="0"/>
                  </a:cubicBezTo>
                  <a:cubicBezTo>
                    <a:pt x="224" y="0"/>
                    <a:pt x="227" y="1"/>
                    <a:pt x="228" y="3"/>
                  </a:cubicBezTo>
                  <a:cubicBezTo>
                    <a:pt x="231" y="8"/>
                    <a:pt x="231" y="8"/>
                    <a:pt x="231" y="8"/>
                  </a:cubicBezTo>
                  <a:cubicBezTo>
                    <a:pt x="231" y="8"/>
                    <a:pt x="231" y="8"/>
                    <a:pt x="232" y="8"/>
                  </a:cubicBezTo>
                  <a:cubicBezTo>
                    <a:pt x="233" y="10"/>
                    <a:pt x="233" y="10"/>
                    <a:pt x="233" y="10"/>
                  </a:cubicBezTo>
                  <a:cubicBezTo>
                    <a:pt x="232" y="9"/>
                    <a:pt x="232" y="9"/>
                    <a:pt x="232" y="9"/>
                  </a:cubicBezTo>
                  <a:cubicBezTo>
                    <a:pt x="287" y="142"/>
                    <a:pt x="287" y="142"/>
                    <a:pt x="287" y="142"/>
                  </a:cubicBezTo>
                  <a:lnTo>
                    <a:pt x="259" y="207"/>
                  </a:lnTo>
                  <a:close/>
                  <a:moveTo>
                    <a:pt x="465" y="425"/>
                  </a:moveTo>
                  <a:cubicBezTo>
                    <a:pt x="446" y="379"/>
                    <a:pt x="446" y="379"/>
                    <a:pt x="446" y="379"/>
                  </a:cubicBezTo>
                  <a:cubicBezTo>
                    <a:pt x="377" y="207"/>
                    <a:pt x="377" y="207"/>
                    <a:pt x="377" y="207"/>
                  </a:cubicBezTo>
                  <a:cubicBezTo>
                    <a:pt x="326" y="84"/>
                    <a:pt x="326" y="84"/>
                    <a:pt x="326" y="84"/>
                  </a:cubicBezTo>
                  <a:cubicBezTo>
                    <a:pt x="229" y="324"/>
                    <a:pt x="229" y="324"/>
                    <a:pt x="229" y="324"/>
                  </a:cubicBezTo>
                  <a:cubicBezTo>
                    <a:pt x="207" y="379"/>
                    <a:pt x="207" y="379"/>
                    <a:pt x="207" y="379"/>
                  </a:cubicBezTo>
                  <a:cubicBezTo>
                    <a:pt x="177" y="457"/>
                    <a:pt x="177" y="457"/>
                    <a:pt x="177" y="457"/>
                  </a:cubicBezTo>
                  <a:cubicBezTo>
                    <a:pt x="177" y="456"/>
                    <a:pt x="177" y="456"/>
                    <a:pt x="177" y="456"/>
                  </a:cubicBezTo>
                  <a:cubicBezTo>
                    <a:pt x="174" y="462"/>
                    <a:pt x="169" y="466"/>
                    <a:pt x="163" y="466"/>
                  </a:cubicBezTo>
                  <a:cubicBezTo>
                    <a:pt x="129" y="466"/>
                    <a:pt x="129" y="466"/>
                    <a:pt x="129" y="466"/>
                  </a:cubicBezTo>
                  <a:cubicBezTo>
                    <a:pt x="122" y="466"/>
                    <a:pt x="118" y="464"/>
                    <a:pt x="118" y="459"/>
                  </a:cubicBezTo>
                  <a:cubicBezTo>
                    <a:pt x="118" y="458"/>
                    <a:pt x="118" y="457"/>
                    <a:pt x="119" y="455"/>
                  </a:cubicBezTo>
                  <a:cubicBezTo>
                    <a:pt x="120" y="451"/>
                    <a:pt x="120" y="451"/>
                    <a:pt x="120" y="451"/>
                  </a:cubicBezTo>
                  <a:cubicBezTo>
                    <a:pt x="303" y="8"/>
                    <a:pt x="303" y="8"/>
                    <a:pt x="303" y="8"/>
                  </a:cubicBezTo>
                  <a:cubicBezTo>
                    <a:pt x="303" y="8"/>
                    <a:pt x="303" y="7"/>
                    <a:pt x="304" y="7"/>
                  </a:cubicBezTo>
                  <a:cubicBezTo>
                    <a:pt x="303" y="8"/>
                    <a:pt x="303" y="8"/>
                    <a:pt x="303" y="8"/>
                  </a:cubicBezTo>
                  <a:cubicBezTo>
                    <a:pt x="306" y="3"/>
                    <a:pt x="306" y="3"/>
                    <a:pt x="306" y="3"/>
                  </a:cubicBezTo>
                  <a:cubicBezTo>
                    <a:pt x="308" y="1"/>
                    <a:pt x="311" y="0"/>
                    <a:pt x="316" y="0"/>
                  </a:cubicBezTo>
                  <a:cubicBezTo>
                    <a:pt x="337" y="0"/>
                    <a:pt x="337" y="0"/>
                    <a:pt x="337" y="0"/>
                  </a:cubicBezTo>
                  <a:cubicBezTo>
                    <a:pt x="342" y="0"/>
                    <a:pt x="344" y="1"/>
                    <a:pt x="346" y="3"/>
                  </a:cubicBezTo>
                  <a:cubicBezTo>
                    <a:pt x="349" y="8"/>
                    <a:pt x="349" y="8"/>
                    <a:pt x="349" y="8"/>
                  </a:cubicBezTo>
                  <a:cubicBezTo>
                    <a:pt x="349" y="8"/>
                    <a:pt x="349" y="8"/>
                    <a:pt x="350" y="8"/>
                  </a:cubicBezTo>
                  <a:cubicBezTo>
                    <a:pt x="350" y="10"/>
                    <a:pt x="350" y="10"/>
                    <a:pt x="350" y="10"/>
                  </a:cubicBezTo>
                  <a:cubicBezTo>
                    <a:pt x="350" y="9"/>
                    <a:pt x="350" y="9"/>
                    <a:pt x="350" y="9"/>
                  </a:cubicBezTo>
                  <a:cubicBezTo>
                    <a:pt x="534" y="451"/>
                    <a:pt x="534" y="451"/>
                    <a:pt x="534" y="451"/>
                  </a:cubicBezTo>
                  <a:cubicBezTo>
                    <a:pt x="535" y="453"/>
                    <a:pt x="535" y="453"/>
                    <a:pt x="535" y="453"/>
                  </a:cubicBezTo>
                  <a:cubicBezTo>
                    <a:pt x="535" y="455"/>
                    <a:pt x="535" y="457"/>
                    <a:pt x="535" y="459"/>
                  </a:cubicBezTo>
                  <a:cubicBezTo>
                    <a:pt x="535" y="464"/>
                    <a:pt x="532" y="466"/>
                    <a:pt x="524" y="466"/>
                  </a:cubicBezTo>
                  <a:cubicBezTo>
                    <a:pt x="491" y="466"/>
                    <a:pt x="491" y="466"/>
                    <a:pt x="491" y="466"/>
                  </a:cubicBezTo>
                  <a:cubicBezTo>
                    <a:pt x="479" y="466"/>
                    <a:pt x="477" y="456"/>
                    <a:pt x="477" y="457"/>
                  </a:cubicBezTo>
                  <a:lnTo>
                    <a:pt x="465" y="425"/>
                  </a:lnTo>
                  <a:close/>
                </a:path>
              </a:pathLst>
            </a:custGeom>
            <a:solidFill>
              <a:srgbClr val="2580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 name="Freeform 6">
              <a:extLst>
                <a:ext uri="{FF2B5EF4-FFF2-40B4-BE49-F238E27FC236}">
                  <a16:creationId xmlns:a16="http://schemas.microsoft.com/office/drawing/2014/main" id="{B23BC71B-6483-6B98-2835-4E45417212BE}"/>
                </a:ext>
              </a:extLst>
            </p:cNvPr>
            <p:cNvSpPr>
              <a:spLocks noEditPoints="1"/>
            </p:cNvSpPr>
            <p:nvPr userDrawn="1"/>
          </p:nvSpPr>
          <p:spPr bwMode="auto">
            <a:xfrm>
              <a:off x="1456" y="1189"/>
              <a:ext cx="986" cy="1105"/>
            </a:xfrm>
            <a:custGeom>
              <a:avLst/>
              <a:gdLst>
                <a:gd name="T0" fmla="*/ 26658435 w 417"/>
                <a:gd name="T1" fmla="*/ 1104057219 h 466"/>
                <a:gd name="T2" fmla="*/ 0 w 417"/>
                <a:gd name="T3" fmla="*/ 1084997487 h 466"/>
                <a:gd name="T4" fmla="*/ 0 w 417"/>
                <a:gd name="T5" fmla="*/ 1071148297 h 466"/>
                <a:gd name="T6" fmla="*/ 2016564 w 417"/>
                <a:gd name="T7" fmla="*/ 1065967725 h 466"/>
                <a:gd name="T8" fmla="*/ 440005146 w 417"/>
                <a:gd name="T9" fmla="*/ 19018883 h 466"/>
                <a:gd name="T10" fmla="*/ 469546985 w 417"/>
                <a:gd name="T11" fmla="*/ 0 h 466"/>
                <a:gd name="T12" fmla="*/ 474377529 w 417"/>
                <a:gd name="T13" fmla="*/ 0 h 466"/>
                <a:gd name="T14" fmla="*/ 505945896 w 417"/>
                <a:gd name="T15" fmla="*/ 21137875 h 466"/>
                <a:gd name="T16" fmla="*/ 612172944 w 417"/>
                <a:gd name="T17" fmla="*/ 284828039 h 466"/>
                <a:gd name="T18" fmla="*/ 830540312 w 417"/>
                <a:gd name="T19" fmla="*/ 805128453 h 466"/>
                <a:gd name="T20" fmla="*/ 936767478 w 417"/>
                <a:gd name="T21" fmla="*/ 1065967725 h 466"/>
                <a:gd name="T22" fmla="*/ 936767478 w 417"/>
                <a:gd name="T23" fmla="*/ 1065967725 h 466"/>
                <a:gd name="T24" fmla="*/ 941198430 w 417"/>
                <a:gd name="T25" fmla="*/ 1084997487 h 466"/>
                <a:gd name="T26" fmla="*/ 914535082 w 417"/>
                <a:gd name="T27" fmla="*/ 1104057219 h 466"/>
                <a:gd name="T28" fmla="*/ 26658435 w 417"/>
                <a:gd name="T29" fmla="*/ 1104057219 h 466"/>
                <a:gd name="T30" fmla="*/ 173692259 w 417"/>
                <a:gd name="T31" fmla="*/ 974102843 h 466"/>
                <a:gd name="T32" fmla="*/ 332252753 w 417"/>
                <a:gd name="T33" fmla="*/ 974102843 h 466"/>
                <a:gd name="T34" fmla="*/ 767506131 w 417"/>
                <a:gd name="T35" fmla="*/ 974102843 h 466"/>
                <a:gd name="T36" fmla="*/ 471651445 w 417"/>
                <a:gd name="T37" fmla="*/ 238808028 h 466"/>
                <a:gd name="T38" fmla="*/ 173692259 w 417"/>
                <a:gd name="T39" fmla="*/ 974102843 h 4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17" h="466">
                  <a:moveTo>
                    <a:pt x="12" y="466"/>
                  </a:moveTo>
                  <a:cubicBezTo>
                    <a:pt x="4" y="466"/>
                    <a:pt x="0" y="463"/>
                    <a:pt x="0" y="458"/>
                  </a:cubicBezTo>
                  <a:cubicBezTo>
                    <a:pt x="0" y="455"/>
                    <a:pt x="0" y="453"/>
                    <a:pt x="0" y="452"/>
                  </a:cubicBezTo>
                  <a:cubicBezTo>
                    <a:pt x="1" y="450"/>
                    <a:pt x="1" y="450"/>
                    <a:pt x="1" y="450"/>
                  </a:cubicBezTo>
                  <a:cubicBezTo>
                    <a:pt x="195" y="8"/>
                    <a:pt x="195" y="8"/>
                    <a:pt x="195" y="8"/>
                  </a:cubicBezTo>
                  <a:cubicBezTo>
                    <a:pt x="196" y="5"/>
                    <a:pt x="197" y="0"/>
                    <a:pt x="208" y="0"/>
                  </a:cubicBezTo>
                  <a:cubicBezTo>
                    <a:pt x="210" y="0"/>
                    <a:pt x="210" y="0"/>
                    <a:pt x="210" y="0"/>
                  </a:cubicBezTo>
                  <a:cubicBezTo>
                    <a:pt x="222" y="0"/>
                    <a:pt x="222" y="7"/>
                    <a:pt x="224" y="9"/>
                  </a:cubicBezTo>
                  <a:cubicBezTo>
                    <a:pt x="239" y="46"/>
                    <a:pt x="255" y="83"/>
                    <a:pt x="271" y="120"/>
                  </a:cubicBezTo>
                  <a:cubicBezTo>
                    <a:pt x="368" y="340"/>
                    <a:pt x="368" y="340"/>
                    <a:pt x="368" y="340"/>
                  </a:cubicBezTo>
                  <a:cubicBezTo>
                    <a:pt x="384" y="377"/>
                    <a:pt x="400" y="414"/>
                    <a:pt x="415" y="450"/>
                  </a:cubicBezTo>
                  <a:cubicBezTo>
                    <a:pt x="415" y="450"/>
                    <a:pt x="415" y="450"/>
                    <a:pt x="415" y="450"/>
                  </a:cubicBezTo>
                  <a:cubicBezTo>
                    <a:pt x="417" y="458"/>
                    <a:pt x="417" y="458"/>
                    <a:pt x="417" y="458"/>
                  </a:cubicBezTo>
                  <a:cubicBezTo>
                    <a:pt x="417" y="463"/>
                    <a:pt x="413" y="466"/>
                    <a:pt x="405" y="466"/>
                  </a:cubicBezTo>
                  <a:lnTo>
                    <a:pt x="12" y="466"/>
                  </a:lnTo>
                  <a:close/>
                  <a:moveTo>
                    <a:pt x="77" y="411"/>
                  </a:moveTo>
                  <a:cubicBezTo>
                    <a:pt x="147" y="411"/>
                    <a:pt x="147" y="411"/>
                    <a:pt x="147" y="411"/>
                  </a:cubicBezTo>
                  <a:cubicBezTo>
                    <a:pt x="340" y="411"/>
                    <a:pt x="340" y="411"/>
                    <a:pt x="340" y="411"/>
                  </a:cubicBezTo>
                  <a:cubicBezTo>
                    <a:pt x="209" y="101"/>
                    <a:pt x="209" y="101"/>
                    <a:pt x="209" y="101"/>
                  </a:cubicBezTo>
                  <a:lnTo>
                    <a:pt x="77" y="411"/>
                  </a:lnTo>
                  <a:close/>
                </a:path>
              </a:pathLst>
            </a:custGeom>
            <a:solidFill>
              <a:srgbClr val="1993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 name="Freeform 7">
              <a:extLst>
                <a:ext uri="{FF2B5EF4-FFF2-40B4-BE49-F238E27FC236}">
                  <a16:creationId xmlns:a16="http://schemas.microsoft.com/office/drawing/2014/main" id="{38BA5CE3-51F7-291B-E51A-BB3691D7140A}"/>
                </a:ext>
              </a:extLst>
            </p:cNvPr>
            <p:cNvSpPr>
              <a:spLocks noEditPoints="1"/>
            </p:cNvSpPr>
            <p:nvPr userDrawn="1"/>
          </p:nvSpPr>
          <p:spPr bwMode="auto">
            <a:xfrm>
              <a:off x="2501" y="1189"/>
              <a:ext cx="1594" cy="1942"/>
            </a:xfrm>
            <a:custGeom>
              <a:avLst/>
              <a:gdLst>
                <a:gd name="T0" fmla="*/ 1483443497 w 674"/>
                <a:gd name="T1" fmla="*/ 1714655374 h 819"/>
                <a:gd name="T2" fmla="*/ 1526729097 w 674"/>
                <a:gd name="T3" fmla="*/ 1761916426 h 819"/>
                <a:gd name="T4" fmla="*/ 1526729097 w 674"/>
                <a:gd name="T5" fmla="*/ 1892482889 h 819"/>
                <a:gd name="T6" fmla="*/ 1483443497 w 674"/>
                <a:gd name="T7" fmla="*/ 1939529634 h 819"/>
                <a:gd name="T8" fmla="*/ 45037621 w 674"/>
                <a:gd name="T9" fmla="*/ 1939529634 h 819"/>
                <a:gd name="T10" fmla="*/ 2021131 w 674"/>
                <a:gd name="T11" fmla="*/ 1892482889 h 819"/>
                <a:gd name="T12" fmla="*/ 2021131 w 674"/>
                <a:gd name="T13" fmla="*/ 1747816468 h 819"/>
                <a:gd name="T14" fmla="*/ 4779945 w 674"/>
                <a:gd name="T15" fmla="*/ 1718918526 h 819"/>
                <a:gd name="T16" fmla="*/ 1173181872 w 674"/>
                <a:gd name="T17" fmla="*/ 224874255 h 819"/>
                <a:gd name="T18" fmla="*/ 67999529 w 674"/>
                <a:gd name="T19" fmla="*/ 224874255 h 819"/>
                <a:gd name="T20" fmla="*/ 23082570 w 674"/>
                <a:gd name="T21" fmla="*/ 177827380 h 819"/>
                <a:gd name="T22" fmla="*/ 23082570 w 674"/>
                <a:gd name="T23" fmla="*/ 39995312 h 819"/>
                <a:gd name="T24" fmla="*/ 67999529 w 674"/>
                <a:gd name="T25" fmla="*/ 0 h 819"/>
                <a:gd name="T26" fmla="*/ 1415437178 w 674"/>
                <a:gd name="T27" fmla="*/ 0 h 819"/>
                <a:gd name="T28" fmla="*/ 1460854109 w 674"/>
                <a:gd name="T29" fmla="*/ 45085377 h 819"/>
                <a:gd name="T30" fmla="*/ 1460854109 w 674"/>
                <a:gd name="T31" fmla="*/ 191701471 h 819"/>
                <a:gd name="T32" fmla="*/ 1458729657 w 674"/>
                <a:gd name="T33" fmla="*/ 205471911 h 819"/>
                <a:gd name="T34" fmla="*/ 1451728403 w 674"/>
                <a:gd name="T35" fmla="*/ 224874255 h 819"/>
                <a:gd name="T36" fmla="*/ 1453837196 w 674"/>
                <a:gd name="T37" fmla="*/ 220773085 h 819"/>
                <a:gd name="T38" fmla="*/ 298805398 w 674"/>
                <a:gd name="T39" fmla="*/ 1714655374 h 819"/>
                <a:gd name="T40" fmla="*/ 892477599 w 674"/>
                <a:gd name="T41" fmla="*/ 1714655374 h 819"/>
                <a:gd name="T42" fmla="*/ 1483443497 w 674"/>
                <a:gd name="T43" fmla="*/ 1714655374 h 819"/>
                <a:gd name="T44" fmla="*/ 901071203 w 674"/>
                <a:gd name="T45" fmla="*/ 1338067130 h 819"/>
                <a:gd name="T46" fmla="*/ 1485464242 w 674"/>
                <a:gd name="T47" fmla="*/ 1338067130 h 819"/>
                <a:gd name="T48" fmla="*/ 1526729097 w 674"/>
                <a:gd name="T49" fmla="*/ 1380181100 h 819"/>
                <a:gd name="T50" fmla="*/ 1526729097 w 674"/>
                <a:gd name="T51" fmla="*/ 1518014804 h 819"/>
                <a:gd name="T52" fmla="*/ 1485464242 w 674"/>
                <a:gd name="T53" fmla="*/ 1565124966 h 819"/>
                <a:gd name="T54" fmla="*/ 899479284 w 674"/>
                <a:gd name="T55" fmla="*/ 1565124966 h 819"/>
                <a:gd name="T56" fmla="*/ 858051680 w 674"/>
                <a:gd name="T57" fmla="*/ 1525126678 h 819"/>
                <a:gd name="T58" fmla="*/ 858051680 w 674"/>
                <a:gd name="T59" fmla="*/ 1385323779 h 819"/>
                <a:gd name="T60" fmla="*/ 872788267 w 674"/>
                <a:gd name="T61" fmla="*/ 1354121744 h 819"/>
                <a:gd name="T62" fmla="*/ 901071203 w 674"/>
                <a:gd name="T63" fmla="*/ 1338067130 h 81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74" h="819">
                  <a:moveTo>
                    <a:pt x="655" y="724"/>
                  </a:moveTo>
                  <a:cubicBezTo>
                    <a:pt x="654" y="724"/>
                    <a:pt x="674" y="721"/>
                    <a:pt x="674" y="744"/>
                  </a:cubicBezTo>
                  <a:cubicBezTo>
                    <a:pt x="674" y="799"/>
                    <a:pt x="674" y="799"/>
                    <a:pt x="674" y="799"/>
                  </a:cubicBezTo>
                  <a:cubicBezTo>
                    <a:pt x="674" y="809"/>
                    <a:pt x="666" y="819"/>
                    <a:pt x="655" y="819"/>
                  </a:cubicBezTo>
                  <a:cubicBezTo>
                    <a:pt x="20" y="819"/>
                    <a:pt x="20" y="819"/>
                    <a:pt x="20" y="819"/>
                  </a:cubicBezTo>
                  <a:cubicBezTo>
                    <a:pt x="10" y="819"/>
                    <a:pt x="0" y="811"/>
                    <a:pt x="1" y="799"/>
                  </a:cubicBezTo>
                  <a:cubicBezTo>
                    <a:pt x="1" y="738"/>
                    <a:pt x="1" y="738"/>
                    <a:pt x="1" y="738"/>
                  </a:cubicBezTo>
                  <a:cubicBezTo>
                    <a:pt x="0" y="735"/>
                    <a:pt x="2" y="730"/>
                    <a:pt x="2" y="726"/>
                  </a:cubicBezTo>
                  <a:cubicBezTo>
                    <a:pt x="518" y="95"/>
                    <a:pt x="518" y="95"/>
                    <a:pt x="518" y="95"/>
                  </a:cubicBezTo>
                  <a:cubicBezTo>
                    <a:pt x="30" y="95"/>
                    <a:pt x="30" y="95"/>
                    <a:pt x="30" y="95"/>
                  </a:cubicBezTo>
                  <a:cubicBezTo>
                    <a:pt x="15" y="95"/>
                    <a:pt x="10" y="88"/>
                    <a:pt x="10" y="75"/>
                  </a:cubicBezTo>
                  <a:cubicBezTo>
                    <a:pt x="10" y="17"/>
                    <a:pt x="10" y="17"/>
                    <a:pt x="10" y="17"/>
                  </a:cubicBezTo>
                  <a:cubicBezTo>
                    <a:pt x="10" y="5"/>
                    <a:pt x="15" y="0"/>
                    <a:pt x="30" y="0"/>
                  </a:cubicBezTo>
                  <a:cubicBezTo>
                    <a:pt x="625" y="0"/>
                    <a:pt x="625" y="0"/>
                    <a:pt x="625" y="0"/>
                  </a:cubicBezTo>
                  <a:cubicBezTo>
                    <a:pt x="637" y="0"/>
                    <a:pt x="645" y="6"/>
                    <a:pt x="645" y="19"/>
                  </a:cubicBezTo>
                  <a:cubicBezTo>
                    <a:pt x="645" y="81"/>
                    <a:pt x="645" y="81"/>
                    <a:pt x="645" y="81"/>
                  </a:cubicBezTo>
                  <a:cubicBezTo>
                    <a:pt x="645" y="82"/>
                    <a:pt x="645" y="85"/>
                    <a:pt x="644" y="87"/>
                  </a:cubicBezTo>
                  <a:cubicBezTo>
                    <a:pt x="641" y="95"/>
                    <a:pt x="641" y="95"/>
                    <a:pt x="641" y="95"/>
                  </a:cubicBezTo>
                  <a:cubicBezTo>
                    <a:pt x="642" y="93"/>
                    <a:pt x="642" y="93"/>
                    <a:pt x="642" y="93"/>
                  </a:cubicBezTo>
                  <a:cubicBezTo>
                    <a:pt x="132" y="724"/>
                    <a:pt x="132" y="724"/>
                    <a:pt x="132" y="724"/>
                  </a:cubicBezTo>
                  <a:cubicBezTo>
                    <a:pt x="394" y="724"/>
                    <a:pt x="394" y="724"/>
                    <a:pt x="394" y="724"/>
                  </a:cubicBezTo>
                  <a:lnTo>
                    <a:pt x="655" y="724"/>
                  </a:lnTo>
                  <a:close/>
                  <a:moveTo>
                    <a:pt x="398" y="565"/>
                  </a:moveTo>
                  <a:cubicBezTo>
                    <a:pt x="656" y="565"/>
                    <a:pt x="656" y="565"/>
                    <a:pt x="656" y="565"/>
                  </a:cubicBezTo>
                  <a:cubicBezTo>
                    <a:pt x="666" y="565"/>
                    <a:pt x="674" y="573"/>
                    <a:pt x="674" y="583"/>
                  </a:cubicBezTo>
                  <a:cubicBezTo>
                    <a:pt x="674" y="641"/>
                    <a:pt x="674" y="641"/>
                    <a:pt x="674" y="641"/>
                  </a:cubicBezTo>
                  <a:cubicBezTo>
                    <a:pt x="674" y="652"/>
                    <a:pt x="666" y="661"/>
                    <a:pt x="656" y="661"/>
                  </a:cubicBezTo>
                  <a:cubicBezTo>
                    <a:pt x="397" y="661"/>
                    <a:pt x="397" y="661"/>
                    <a:pt x="397" y="661"/>
                  </a:cubicBezTo>
                  <a:cubicBezTo>
                    <a:pt x="386" y="661"/>
                    <a:pt x="379" y="654"/>
                    <a:pt x="379" y="644"/>
                  </a:cubicBezTo>
                  <a:cubicBezTo>
                    <a:pt x="379" y="585"/>
                    <a:pt x="379" y="585"/>
                    <a:pt x="379" y="585"/>
                  </a:cubicBezTo>
                  <a:cubicBezTo>
                    <a:pt x="380" y="580"/>
                    <a:pt x="382" y="576"/>
                    <a:pt x="385" y="572"/>
                  </a:cubicBezTo>
                  <a:cubicBezTo>
                    <a:pt x="385" y="572"/>
                    <a:pt x="386" y="565"/>
                    <a:pt x="398" y="565"/>
                  </a:cubicBezTo>
                  <a:close/>
                </a:path>
              </a:pathLst>
            </a:custGeom>
            <a:solidFill>
              <a:srgbClr val="9EBE5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 name="Freeform 8">
              <a:extLst>
                <a:ext uri="{FF2B5EF4-FFF2-40B4-BE49-F238E27FC236}">
                  <a16:creationId xmlns:a16="http://schemas.microsoft.com/office/drawing/2014/main" id="{6884A960-9930-0B0D-1A30-FC8B45A235F4}"/>
                </a:ext>
              </a:extLst>
            </p:cNvPr>
            <p:cNvSpPr>
              <a:spLocks noEditPoints="1"/>
            </p:cNvSpPr>
            <p:nvPr userDrawn="1"/>
          </p:nvSpPr>
          <p:spPr bwMode="auto">
            <a:xfrm>
              <a:off x="4133" y="1189"/>
              <a:ext cx="986" cy="1105"/>
            </a:xfrm>
            <a:custGeom>
              <a:avLst/>
              <a:gdLst>
                <a:gd name="T0" fmla="*/ 26658435 w 417"/>
                <a:gd name="T1" fmla="*/ 1104057219 h 466"/>
                <a:gd name="T2" fmla="*/ 2016564 w 417"/>
                <a:gd name="T3" fmla="*/ 1084997487 h 466"/>
                <a:gd name="T4" fmla="*/ 2016564 w 417"/>
                <a:gd name="T5" fmla="*/ 1071148297 h 466"/>
                <a:gd name="T6" fmla="*/ 4768183 w 417"/>
                <a:gd name="T7" fmla="*/ 1065967725 h 466"/>
                <a:gd name="T8" fmla="*/ 440005146 w 417"/>
                <a:gd name="T9" fmla="*/ 19018883 h 466"/>
                <a:gd name="T10" fmla="*/ 471651445 w 417"/>
                <a:gd name="T11" fmla="*/ 0 h 466"/>
                <a:gd name="T12" fmla="*/ 476419656 w 417"/>
                <a:gd name="T13" fmla="*/ 0 h 466"/>
                <a:gd name="T14" fmla="*/ 505945896 w 417"/>
                <a:gd name="T15" fmla="*/ 21137875 h 466"/>
                <a:gd name="T16" fmla="*/ 612172944 w 417"/>
                <a:gd name="T17" fmla="*/ 284828039 h 466"/>
                <a:gd name="T18" fmla="*/ 833293680 w 417"/>
                <a:gd name="T19" fmla="*/ 805128453 h 466"/>
                <a:gd name="T20" fmla="*/ 939517011 w 417"/>
                <a:gd name="T21" fmla="*/ 1065967725 h 466"/>
                <a:gd name="T22" fmla="*/ 936767478 w 417"/>
                <a:gd name="T23" fmla="*/ 1065967725 h 466"/>
                <a:gd name="T24" fmla="*/ 941198430 w 417"/>
                <a:gd name="T25" fmla="*/ 1084997487 h 466"/>
                <a:gd name="T26" fmla="*/ 916425650 w 417"/>
                <a:gd name="T27" fmla="*/ 1104057219 h 466"/>
                <a:gd name="T28" fmla="*/ 26658435 w 417"/>
                <a:gd name="T29" fmla="*/ 1104057219 h 466"/>
                <a:gd name="T30" fmla="*/ 173692259 w 417"/>
                <a:gd name="T31" fmla="*/ 974102843 h 466"/>
                <a:gd name="T32" fmla="*/ 332252753 w 417"/>
                <a:gd name="T33" fmla="*/ 974102843 h 466"/>
                <a:gd name="T34" fmla="*/ 767506131 w 417"/>
                <a:gd name="T35" fmla="*/ 974102843 h 466"/>
                <a:gd name="T36" fmla="*/ 471651445 w 417"/>
                <a:gd name="T37" fmla="*/ 238808028 h 466"/>
                <a:gd name="T38" fmla="*/ 173692259 w 417"/>
                <a:gd name="T39" fmla="*/ 974102843 h 4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17" h="466">
                  <a:moveTo>
                    <a:pt x="12" y="466"/>
                  </a:moveTo>
                  <a:cubicBezTo>
                    <a:pt x="4" y="466"/>
                    <a:pt x="0" y="463"/>
                    <a:pt x="1" y="458"/>
                  </a:cubicBezTo>
                  <a:cubicBezTo>
                    <a:pt x="0" y="455"/>
                    <a:pt x="0" y="453"/>
                    <a:pt x="1" y="452"/>
                  </a:cubicBezTo>
                  <a:cubicBezTo>
                    <a:pt x="2" y="450"/>
                    <a:pt x="2" y="450"/>
                    <a:pt x="2" y="450"/>
                  </a:cubicBezTo>
                  <a:cubicBezTo>
                    <a:pt x="195" y="8"/>
                    <a:pt x="195" y="8"/>
                    <a:pt x="195" y="8"/>
                  </a:cubicBezTo>
                  <a:cubicBezTo>
                    <a:pt x="197" y="5"/>
                    <a:pt x="198" y="0"/>
                    <a:pt x="209" y="0"/>
                  </a:cubicBezTo>
                  <a:cubicBezTo>
                    <a:pt x="211" y="0"/>
                    <a:pt x="211" y="0"/>
                    <a:pt x="211" y="0"/>
                  </a:cubicBezTo>
                  <a:cubicBezTo>
                    <a:pt x="222" y="0"/>
                    <a:pt x="223" y="7"/>
                    <a:pt x="224" y="9"/>
                  </a:cubicBezTo>
                  <a:cubicBezTo>
                    <a:pt x="239" y="46"/>
                    <a:pt x="255" y="83"/>
                    <a:pt x="271" y="120"/>
                  </a:cubicBezTo>
                  <a:cubicBezTo>
                    <a:pt x="369" y="340"/>
                    <a:pt x="369" y="340"/>
                    <a:pt x="369" y="340"/>
                  </a:cubicBezTo>
                  <a:cubicBezTo>
                    <a:pt x="385" y="377"/>
                    <a:pt x="401" y="414"/>
                    <a:pt x="416" y="450"/>
                  </a:cubicBezTo>
                  <a:cubicBezTo>
                    <a:pt x="415" y="450"/>
                    <a:pt x="415" y="450"/>
                    <a:pt x="415" y="450"/>
                  </a:cubicBezTo>
                  <a:cubicBezTo>
                    <a:pt x="417" y="458"/>
                    <a:pt x="417" y="458"/>
                    <a:pt x="417" y="458"/>
                  </a:cubicBezTo>
                  <a:cubicBezTo>
                    <a:pt x="417" y="463"/>
                    <a:pt x="414" y="466"/>
                    <a:pt x="406" y="466"/>
                  </a:cubicBezTo>
                  <a:lnTo>
                    <a:pt x="12" y="466"/>
                  </a:lnTo>
                  <a:close/>
                  <a:moveTo>
                    <a:pt x="77" y="411"/>
                  </a:moveTo>
                  <a:cubicBezTo>
                    <a:pt x="147" y="411"/>
                    <a:pt x="147" y="411"/>
                    <a:pt x="147" y="411"/>
                  </a:cubicBezTo>
                  <a:cubicBezTo>
                    <a:pt x="340" y="411"/>
                    <a:pt x="340" y="411"/>
                    <a:pt x="340" y="411"/>
                  </a:cubicBezTo>
                  <a:cubicBezTo>
                    <a:pt x="209" y="101"/>
                    <a:pt x="209" y="101"/>
                    <a:pt x="209" y="101"/>
                  </a:cubicBezTo>
                  <a:lnTo>
                    <a:pt x="77" y="411"/>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9" name="Freeform 9">
              <a:extLst>
                <a:ext uri="{FF2B5EF4-FFF2-40B4-BE49-F238E27FC236}">
                  <a16:creationId xmlns:a16="http://schemas.microsoft.com/office/drawing/2014/main" id="{42174801-C334-08A5-9B08-57391C1CA6C5}"/>
                </a:ext>
              </a:extLst>
            </p:cNvPr>
            <p:cNvSpPr>
              <a:spLocks noEditPoints="1"/>
            </p:cNvSpPr>
            <p:nvPr userDrawn="1"/>
          </p:nvSpPr>
          <p:spPr bwMode="auto">
            <a:xfrm>
              <a:off x="5259" y="1187"/>
              <a:ext cx="941" cy="1107"/>
            </a:xfrm>
            <a:custGeom>
              <a:avLst/>
              <a:gdLst>
                <a:gd name="T0" fmla="*/ 897379222 w 398"/>
                <a:gd name="T1" fmla="*/ 30594420 h 467"/>
                <a:gd name="T2" fmla="*/ 890358234 w 398"/>
                <a:gd name="T3" fmla="*/ 1076168270 h 467"/>
                <a:gd name="T4" fmla="*/ 863748004 w 398"/>
                <a:gd name="T5" fmla="*/ 1100058818 h 467"/>
                <a:gd name="T6" fmla="*/ 771485685 w 398"/>
                <a:gd name="T7" fmla="*/ 1100058818 h 467"/>
                <a:gd name="T8" fmla="*/ 125893508 w 398"/>
                <a:gd name="T9" fmla="*/ 184128005 h 467"/>
                <a:gd name="T10" fmla="*/ 122136901 w 398"/>
                <a:gd name="T11" fmla="*/ 754173992 h 467"/>
                <a:gd name="T12" fmla="*/ 376580847 w 398"/>
                <a:gd name="T13" fmla="*/ 754173992 h 467"/>
                <a:gd name="T14" fmla="*/ 398430025 w 398"/>
                <a:gd name="T15" fmla="*/ 777275989 h 467"/>
                <a:gd name="T16" fmla="*/ 398430025 w 398"/>
                <a:gd name="T17" fmla="*/ 854743724 h 467"/>
                <a:gd name="T18" fmla="*/ 376580847 w 398"/>
                <a:gd name="T19" fmla="*/ 883384289 h 467"/>
                <a:gd name="T20" fmla="*/ 24536535 w 398"/>
                <a:gd name="T21" fmla="*/ 878310296 h 467"/>
                <a:gd name="T22" fmla="*/ 23013058 w 398"/>
                <a:gd name="T23" fmla="*/ 878310296 h 467"/>
                <a:gd name="T24" fmla="*/ 0 w 398"/>
                <a:gd name="T25" fmla="*/ 859366371 h 467"/>
                <a:gd name="T26" fmla="*/ 6865536 w 398"/>
                <a:gd name="T27" fmla="*/ 25974653 h 467"/>
                <a:gd name="T28" fmla="*/ 31374522 w 398"/>
                <a:gd name="T29" fmla="*/ 2072546 h 467"/>
                <a:gd name="T30" fmla="*/ 125893508 w 398"/>
                <a:gd name="T31" fmla="*/ 2072546 h 467"/>
                <a:gd name="T32" fmla="*/ 148746381 w 398"/>
                <a:gd name="T33" fmla="*/ 13823806 h 467"/>
                <a:gd name="T34" fmla="*/ 768580627 w 398"/>
                <a:gd name="T35" fmla="*/ 885333514 h 467"/>
                <a:gd name="T36" fmla="*/ 775022528 w 398"/>
                <a:gd name="T37" fmla="*/ 23886284 h 467"/>
                <a:gd name="T38" fmla="*/ 798083455 w 398"/>
                <a:gd name="T39" fmla="*/ 7074865 h 467"/>
                <a:gd name="T40" fmla="*/ 870741434 w 398"/>
                <a:gd name="T41" fmla="*/ 7074865 h 467"/>
                <a:gd name="T42" fmla="*/ 888769892 w 398"/>
                <a:gd name="T43" fmla="*/ 13823806 h 467"/>
                <a:gd name="T44" fmla="*/ 897379222 w 398"/>
                <a:gd name="T45" fmla="*/ 30594420 h 467"/>
                <a:gd name="T46" fmla="*/ 502483131 w 398"/>
                <a:gd name="T47" fmla="*/ 967923553 h 467"/>
                <a:gd name="T48" fmla="*/ 525479561 w 398"/>
                <a:gd name="T49" fmla="*/ 991784983 h 467"/>
                <a:gd name="T50" fmla="*/ 525479561 w 398"/>
                <a:gd name="T51" fmla="*/ 1069462303 h 467"/>
                <a:gd name="T52" fmla="*/ 502483131 w 398"/>
                <a:gd name="T53" fmla="*/ 1097986322 h 467"/>
                <a:gd name="T54" fmla="*/ 23013058 w 398"/>
                <a:gd name="T55" fmla="*/ 1097986322 h 467"/>
                <a:gd name="T56" fmla="*/ 0 w 398"/>
                <a:gd name="T57" fmla="*/ 1074095937 h 467"/>
                <a:gd name="T58" fmla="*/ 0 w 398"/>
                <a:gd name="T59" fmla="*/ 993579494 h 467"/>
                <a:gd name="T60" fmla="*/ 24536535 w 398"/>
                <a:gd name="T61" fmla="*/ 967923553 h 467"/>
                <a:gd name="T62" fmla="*/ 264174943 w 398"/>
                <a:gd name="T63" fmla="*/ 967923553 h 467"/>
                <a:gd name="T64" fmla="*/ 502483131 w 398"/>
                <a:gd name="T65" fmla="*/ 967923553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98" h="467">
                  <a:moveTo>
                    <a:pt x="398" y="13"/>
                  </a:moveTo>
                  <a:cubicBezTo>
                    <a:pt x="395" y="457"/>
                    <a:pt x="395" y="457"/>
                    <a:pt x="395" y="457"/>
                  </a:cubicBezTo>
                  <a:cubicBezTo>
                    <a:pt x="395" y="464"/>
                    <a:pt x="390" y="467"/>
                    <a:pt x="383" y="467"/>
                  </a:cubicBezTo>
                  <a:cubicBezTo>
                    <a:pt x="342" y="467"/>
                    <a:pt x="342" y="467"/>
                    <a:pt x="342" y="467"/>
                  </a:cubicBezTo>
                  <a:cubicBezTo>
                    <a:pt x="56" y="78"/>
                    <a:pt x="56" y="78"/>
                    <a:pt x="56" y="78"/>
                  </a:cubicBezTo>
                  <a:cubicBezTo>
                    <a:pt x="54" y="320"/>
                    <a:pt x="54" y="320"/>
                    <a:pt x="54" y="320"/>
                  </a:cubicBezTo>
                  <a:cubicBezTo>
                    <a:pt x="167" y="320"/>
                    <a:pt x="167" y="320"/>
                    <a:pt x="167" y="320"/>
                  </a:cubicBezTo>
                  <a:cubicBezTo>
                    <a:pt x="173" y="320"/>
                    <a:pt x="177" y="324"/>
                    <a:pt x="177" y="330"/>
                  </a:cubicBezTo>
                  <a:cubicBezTo>
                    <a:pt x="177" y="363"/>
                    <a:pt x="177" y="363"/>
                    <a:pt x="177" y="363"/>
                  </a:cubicBezTo>
                  <a:cubicBezTo>
                    <a:pt x="177" y="369"/>
                    <a:pt x="173" y="375"/>
                    <a:pt x="167" y="375"/>
                  </a:cubicBezTo>
                  <a:cubicBezTo>
                    <a:pt x="11" y="373"/>
                    <a:pt x="11" y="373"/>
                    <a:pt x="11" y="373"/>
                  </a:cubicBezTo>
                  <a:cubicBezTo>
                    <a:pt x="10" y="373"/>
                    <a:pt x="10" y="373"/>
                    <a:pt x="10" y="373"/>
                  </a:cubicBezTo>
                  <a:cubicBezTo>
                    <a:pt x="4" y="373"/>
                    <a:pt x="1" y="370"/>
                    <a:pt x="0" y="365"/>
                  </a:cubicBezTo>
                  <a:cubicBezTo>
                    <a:pt x="3" y="11"/>
                    <a:pt x="3" y="11"/>
                    <a:pt x="3" y="11"/>
                  </a:cubicBezTo>
                  <a:cubicBezTo>
                    <a:pt x="3" y="5"/>
                    <a:pt x="7" y="0"/>
                    <a:pt x="14" y="1"/>
                  </a:cubicBezTo>
                  <a:cubicBezTo>
                    <a:pt x="56" y="1"/>
                    <a:pt x="56" y="1"/>
                    <a:pt x="56" y="1"/>
                  </a:cubicBezTo>
                  <a:cubicBezTo>
                    <a:pt x="60" y="1"/>
                    <a:pt x="64" y="3"/>
                    <a:pt x="66" y="6"/>
                  </a:cubicBezTo>
                  <a:cubicBezTo>
                    <a:pt x="341" y="376"/>
                    <a:pt x="341" y="376"/>
                    <a:pt x="341" y="376"/>
                  </a:cubicBezTo>
                  <a:cubicBezTo>
                    <a:pt x="344" y="10"/>
                    <a:pt x="344" y="10"/>
                    <a:pt x="344" y="10"/>
                  </a:cubicBezTo>
                  <a:cubicBezTo>
                    <a:pt x="345" y="5"/>
                    <a:pt x="349" y="3"/>
                    <a:pt x="354" y="3"/>
                  </a:cubicBezTo>
                  <a:cubicBezTo>
                    <a:pt x="386" y="3"/>
                    <a:pt x="386" y="3"/>
                    <a:pt x="386" y="3"/>
                  </a:cubicBezTo>
                  <a:cubicBezTo>
                    <a:pt x="389" y="3"/>
                    <a:pt x="391" y="4"/>
                    <a:pt x="394" y="6"/>
                  </a:cubicBezTo>
                  <a:cubicBezTo>
                    <a:pt x="396" y="7"/>
                    <a:pt x="398" y="10"/>
                    <a:pt x="398" y="13"/>
                  </a:cubicBezTo>
                  <a:close/>
                  <a:moveTo>
                    <a:pt x="223" y="411"/>
                  </a:moveTo>
                  <a:cubicBezTo>
                    <a:pt x="229" y="411"/>
                    <a:pt x="233" y="415"/>
                    <a:pt x="233" y="421"/>
                  </a:cubicBezTo>
                  <a:cubicBezTo>
                    <a:pt x="233" y="454"/>
                    <a:pt x="233" y="454"/>
                    <a:pt x="233" y="454"/>
                  </a:cubicBezTo>
                  <a:cubicBezTo>
                    <a:pt x="233" y="460"/>
                    <a:pt x="230" y="466"/>
                    <a:pt x="223" y="466"/>
                  </a:cubicBezTo>
                  <a:cubicBezTo>
                    <a:pt x="10" y="466"/>
                    <a:pt x="10" y="466"/>
                    <a:pt x="10" y="466"/>
                  </a:cubicBezTo>
                  <a:cubicBezTo>
                    <a:pt x="4" y="466"/>
                    <a:pt x="0" y="462"/>
                    <a:pt x="0" y="456"/>
                  </a:cubicBezTo>
                  <a:cubicBezTo>
                    <a:pt x="0" y="422"/>
                    <a:pt x="0" y="422"/>
                    <a:pt x="0" y="422"/>
                  </a:cubicBezTo>
                  <a:cubicBezTo>
                    <a:pt x="0" y="416"/>
                    <a:pt x="4" y="411"/>
                    <a:pt x="11" y="411"/>
                  </a:cubicBezTo>
                  <a:cubicBezTo>
                    <a:pt x="117" y="411"/>
                    <a:pt x="117" y="411"/>
                    <a:pt x="117" y="411"/>
                  </a:cubicBezTo>
                  <a:lnTo>
                    <a:pt x="223" y="411"/>
                  </a:lnTo>
                  <a:close/>
                </a:path>
              </a:pathLst>
            </a:custGeom>
            <a:solidFill>
              <a:srgbClr val="C03B2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0" name="Freeform 10">
              <a:extLst>
                <a:ext uri="{FF2B5EF4-FFF2-40B4-BE49-F238E27FC236}">
                  <a16:creationId xmlns:a16="http://schemas.microsoft.com/office/drawing/2014/main" id="{DB653C46-759A-7616-8241-F090FB518959}"/>
                </a:ext>
              </a:extLst>
            </p:cNvPr>
            <p:cNvSpPr>
              <a:spLocks noEditPoints="1"/>
            </p:cNvSpPr>
            <p:nvPr userDrawn="1"/>
          </p:nvSpPr>
          <p:spPr bwMode="auto">
            <a:xfrm>
              <a:off x="6280" y="1189"/>
              <a:ext cx="1102" cy="1105"/>
            </a:xfrm>
            <a:custGeom>
              <a:avLst/>
              <a:gdLst>
                <a:gd name="T0" fmla="*/ 154128366 w 466"/>
                <a:gd name="T1" fmla="*/ 943010351 h 466"/>
                <a:gd name="T2" fmla="*/ 0 w 466"/>
                <a:gd name="T3" fmla="*/ 552442640 h 466"/>
                <a:gd name="T4" fmla="*/ 154128366 w 466"/>
                <a:gd name="T5" fmla="*/ 163833771 h 466"/>
                <a:gd name="T6" fmla="*/ 527029454 w 466"/>
                <a:gd name="T7" fmla="*/ 0 h 466"/>
                <a:gd name="T8" fmla="*/ 900145882 w 466"/>
                <a:gd name="T9" fmla="*/ 163833771 h 466"/>
                <a:gd name="T10" fmla="*/ 1054209675 w 466"/>
                <a:gd name="T11" fmla="*/ 552442640 h 466"/>
                <a:gd name="T12" fmla="*/ 900145882 w 466"/>
                <a:gd name="T13" fmla="*/ 943010351 h 466"/>
                <a:gd name="T14" fmla="*/ 527029454 w 466"/>
                <a:gd name="T15" fmla="*/ 1104057219 h 466"/>
                <a:gd name="T16" fmla="*/ 154128366 w 466"/>
                <a:gd name="T17" fmla="*/ 943010351 h 466"/>
                <a:gd name="T18" fmla="*/ 237118879 w 466"/>
                <a:gd name="T19" fmla="*/ 248554821 h 466"/>
                <a:gd name="T20" fmla="*/ 117706387 w 466"/>
                <a:gd name="T21" fmla="*/ 552442640 h 466"/>
                <a:gd name="T22" fmla="*/ 237118879 w 466"/>
                <a:gd name="T23" fmla="*/ 855407497 h 466"/>
                <a:gd name="T24" fmla="*/ 527029454 w 466"/>
                <a:gd name="T25" fmla="*/ 983016883 h 466"/>
                <a:gd name="T26" fmla="*/ 817155276 w 466"/>
                <a:gd name="T27" fmla="*/ 855407497 h 466"/>
                <a:gd name="T28" fmla="*/ 938406617 w 466"/>
                <a:gd name="T29" fmla="*/ 552442640 h 466"/>
                <a:gd name="T30" fmla="*/ 817155276 w 466"/>
                <a:gd name="T31" fmla="*/ 248554821 h 466"/>
                <a:gd name="T32" fmla="*/ 527029454 w 466"/>
                <a:gd name="T33" fmla="*/ 121039414 h 466"/>
                <a:gd name="T34" fmla="*/ 237118879 w 466"/>
                <a:gd name="T35" fmla="*/ 248554821 h 4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6" h="466">
                  <a:moveTo>
                    <a:pt x="68" y="398"/>
                  </a:moveTo>
                  <a:cubicBezTo>
                    <a:pt x="24" y="354"/>
                    <a:pt x="2" y="299"/>
                    <a:pt x="0" y="233"/>
                  </a:cubicBezTo>
                  <a:cubicBezTo>
                    <a:pt x="2" y="167"/>
                    <a:pt x="24" y="112"/>
                    <a:pt x="68" y="69"/>
                  </a:cubicBezTo>
                  <a:cubicBezTo>
                    <a:pt x="112" y="24"/>
                    <a:pt x="167" y="2"/>
                    <a:pt x="233" y="0"/>
                  </a:cubicBezTo>
                  <a:cubicBezTo>
                    <a:pt x="299" y="2"/>
                    <a:pt x="354" y="24"/>
                    <a:pt x="398" y="69"/>
                  </a:cubicBezTo>
                  <a:cubicBezTo>
                    <a:pt x="442" y="112"/>
                    <a:pt x="465" y="167"/>
                    <a:pt x="466" y="233"/>
                  </a:cubicBezTo>
                  <a:cubicBezTo>
                    <a:pt x="465" y="299"/>
                    <a:pt x="442" y="354"/>
                    <a:pt x="398" y="398"/>
                  </a:cubicBezTo>
                  <a:cubicBezTo>
                    <a:pt x="354" y="441"/>
                    <a:pt x="299" y="464"/>
                    <a:pt x="233" y="466"/>
                  </a:cubicBezTo>
                  <a:cubicBezTo>
                    <a:pt x="167" y="464"/>
                    <a:pt x="112" y="441"/>
                    <a:pt x="68" y="398"/>
                  </a:cubicBezTo>
                  <a:close/>
                  <a:moveTo>
                    <a:pt x="105" y="105"/>
                  </a:moveTo>
                  <a:cubicBezTo>
                    <a:pt x="70" y="139"/>
                    <a:pt x="53" y="181"/>
                    <a:pt x="52" y="233"/>
                  </a:cubicBezTo>
                  <a:cubicBezTo>
                    <a:pt x="53" y="284"/>
                    <a:pt x="70" y="327"/>
                    <a:pt x="105" y="361"/>
                  </a:cubicBezTo>
                  <a:cubicBezTo>
                    <a:pt x="139" y="395"/>
                    <a:pt x="181" y="413"/>
                    <a:pt x="233" y="415"/>
                  </a:cubicBezTo>
                  <a:cubicBezTo>
                    <a:pt x="284" y="413"/>
                    <a:pt x="327" y="395"/>
                    <a:pt x="361" y="361"/>
                  </a:cubicBezTo>
                  <a:cubicBezTo>
                    <a:pt x="395" y="327"/>
                    <a:pt x="413" y="284"/>
                    <a:pt x="415" y="233"/>
                  </a:cubicBezTo>
                  <a:cubicBezTo>
                    <a:pt x="413" y="181"/>
                    <a:pt x="395" y="139"/>
                    <a:pt x="361" y="105"/>
                  </a:cubicBezTo>
                  <a:cubicBezTo>
                    <a:pt x="327" y="71"/>
                    <a:pt x="284" y="53"/>
                    <a:pt x="233" y="51"/>
                  </a:cubicBezTo>
                  <a:cubicBezTo>
                    <a:pt x="181" y="53"/>
                    <a:pt x="139" y="71"/>
                    <a:pt x="105" y="105"/>
                  </a:cubicBezTo>
                  <a:close/>
                </a:path>
              </a:pathLst>
            </a:custGeom>
            <a:solidFill>
              <a:srgbClr val="64324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1" name="Freeform 11">
              <a:extLst>
                <a:ext uri="{FF2B5EF4-FFF2-40B4-BE49-F238E27FC236}">
                  <a16:creationId xmlns:a16="http://schemas.microsoft.com/office/drawing/2014/main" id="{9A4D51DA-F49B-261E-B002-41FCE454CFAA}"/>
                </a:ext>
              </a:extLst>
            </p:cNvPr>
            <p:cNvSpPr>
              <a:spLocks noEditPoints="1"/>
            </p:cNvSpPr>
            <p:nvPr userDrawn="1"/>
          </p:nvSpPr>
          <p:spPr bwMode="auto">
            <a:xfrm>
              <a:off x="4230" y="2552"/>
              <a:ext cx="334" cy="551"/>
            </a:xfrm>
            <a:custGeom>
              <a:avLst/>
              <a:gdLst>
                <a:gd name="T0" fmla="*/ 0 w 334"/>
                <a:gd name="T1" fmla="*/ 0 h 551"/>
                <a:gd name="T2" fmla="*/ 334 w 334"/>
                <a:gd name="T3" fmla="*/ 0 h 551"/>
                <a:gd name="T4" fmla="*/ 334 w 334"/>
                <a:gd name="T5" fmla="*/ 31 h 551"/>
                <a:gd name="T6" fmla="*/ 0 w 334"/>
                <a:gd name="T7" fmla="*/ 31 h 551"/>
                <a:gd name="T8" fmla="*/ 0 w 334"/>
                <a:gd name="T9" fmla="*/ 0 h 551"/>
                <a:gd name="T10" fmla="*/ 156 w 334"/>
                <a:gd name="T11" fmla="*/ 50 h 551"/>
                <a:gd name="T12" fmla="*/ 156 w 334"/>
                <a:gd name="T13" fmla="*/ 551 h 551"/>
                <a:gd name="T14" fmla="*/ 128 w 334"/>
                <a:gd name="T15" fmla="*/ 551 h 551"/>
                <a:gd name="T16" fmla="*/ 128 w 334"/>
                <a:gd name="T17" fmla="*/ 79 h 551"/>
                <a:gd name="T18" fmla="*/ 0 w 334"/>
                <a:gd name="T19" fmla="*/ 79 h 551"/>
                <a:gd name="T20" fmla="*/ 0 w 334"/>
                <a:gd name="T21" fmla="*/ 50 h 551"/>
                <a:gd name="T22" fmla="*/ 156 w 334"/>
                <a:gd name="T23" fmla="*/ 50 h 551"/>
                <a:gd name="T24" fmla="*/ 334 w 334"/>
                <a:gd name="T25" fmla="*/ 50 h 551"/>
                <a:gd name="T26" fmla="*/ 334 w 334"/>
                <a:gd name="T27" fmla="*/ 79 h 551"/>
                <a:gd name="T28" fmla="*/ 206 w 334"/>
                <a:gd name="T29" fmla="*/ 79 h 551"/>
                <a:gd name="T30" fmla="*/ 206 w 334"/>
                <a:gd name="T31" fmla="*/ 551 h 551"/>
                <a:gd name="T32" fmla="*/ 175 w 334"/>
                <a:gd name="T33" fmla="*/ 551 h 551"/>
                <a:gd name="T34" fmla="*/ 175 w 334"/>
                <a:gd name="T35" fmla="*/ 50 h 551"/>
                <a:gd name="T36" fmla="*/ 334 w 334"/>
                <a:gd name="T37" fmla="*/ 50 h 5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34" h="551">
                  <a:moveTo>
                    <a:pt x="0" y="0"/>
                  </a:moveTo>
                  <a:lnTo>
                    <a:pt x="334" y="0"/>
                  </a:lnTo>
                  <a:lnTo>
                    <a:pt x="334" y="31"/>
                  </a:lnTo>
                  <a:lnTo>
                    <a:pt x="0" y="31"/>
                  </a:lnTo>
                  <a:lnTo>
                    <a:pt x="0" y="0"/>
                  </a:lnTo>
                  <a:close/>
                  <a:moveTo>
                    <a:pt x="156" y="50"/>
                  </a:moveTo>
                  <a:lnTo>
                    <a:pt x="156" y="551"/>
                  </a:lnTo>
                  <a:lnTo>
                    <a:pt x="128" y="551"/>
                  </a:lnTo>
                  <a:lnTo>
                    <a:pt x="128" y="79"/>
                  </a:lnTo>
                  <a:lnTo>
                    <a:pt x="0" y="79"/>
                  </a:lnTo>
                  <a:lnTo>
                    <a:pt x="0" y="50"/>
                  </a:lnTo>
                  <a:lnTo>
                    <a:pt x="156" y="50"/>
                  </a:lnTo>
                  <a:close/>
                  <a:moveTo>
                    <a:pt x="334" y="50"/>
                  </a:moveTo>
                  <a:lnTo>
                    <a:pt x="334" y="79"/>
                  </a:lnTo>
                  <a:lnTo>
                    <a:pt x="206" y="79"/>
                  </a:lnTo>
                  <a:lnTo>
                    <a:pt x="206" y="551"/>
                  </a:lnTo>
                  <a:lnTo>
                    <a:pt x="175" y="551"/>
                  </a:lnTo>
                  <a:lnTo>
                    <a:pt x="175" y="50"/>
                  </a:lnTo>
                  <a:lnTo>
                    <a:pt x="334" y="50"/>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12">
              <a:extLst>
                <a:ext uri="{FF2B5EF4-FFF2-40B4-BE49-F238E27FC236}">
                  <a16:creationId xmlns:a16="http://schemas.microsoft.com/office/drawing/2014/main" id="{C08AA358-83B5-06F9-1F03-EB0EB0313369}"/>
                </a:ext>
              </a:extLst>
            </p:cNvPr>
            <p:cNvSpPr>
              <a:spLocks noEditPoints="1"/>
            </p:cNvSpPr>
            <p:nvPr userDrawn="1"/>
          </p:nvSpPr>
          <p:spPr bwMode="auto">
            <a:xfrm>
              <a:off x="4599" y="2552"/>
              <a:ext cx="312" cy="551"/>
            </a:xfrm>
            <a:custGeom>
              <a:avLst/>
              <a:gdLst>
                <a:gd name="T0" fmla="*/ 295891719 w 132"/>
                <a:gd name="T1" fmla="*/ 0 h 232"/>
                <a:gd name="T2" fmla="*/ 295891719 w 132"/>
                <a:gd name="T3" fmla="*/ 31976658 h 232"/>
                <a:gd name="T4" fmla="*/ 111981461 w 132"/>
                <a:gd name="T5" fmla="*/ 31976658 h 232"/>
                <a:gd name="T6" fmla="*/ 51443210 w 132"/>
                <a:gd name="T7" fmla="*/ 58299493 h 232"/>
                <a:gd name="T8" fmla="*/ 26510905 w 132"/>
                <a:gd name="T9" fmla="*/ 122107630 h 232"/>
                <a:gd name="T10" fmla="*/ 26510905 w 132"/>
                <a:gd name="T11" fmla="*/ 442759715 h 232"/>
                <a:gd name="T12" fmla="*/ 51443210 w 132"/>
                <a:gd name="T13" fmla="*/ 508305993 h 232"/>
                <a:gd name="T14" fmla="*/ 111981461 w 132"/>
                <a:gd name="T15" fmla="*/ 535913430 h 232"/>
                <a:gd name="T16" fmla="*/ 295891719 w 132"/>
                <a:gd name="T17" fmla="*/ 535913430 h 232"/>
                <a:gd name="T18" fmla="*/ 295891719 w 132"/>
                <a:gd name="T19" fmla="*/ 564828430 h 232"/>
                <a:gd name="T20" fmla="*/ 111981461 w 132"/>
                <a:gd name="T21" fmla="*/ 564828430 h 232"/>
                <a:gd name="T22" fmla="*/ 33265636 w 132"/>
                <a:gd name="T23" fmla="*/ 527724589 h 232"/>
                <a:gd name="T24" fmla="*/ 0 w 132"/>
                <a:gd name="T25" fmla="*/ 442759715 h 232"/>
                <a:gd name="T26" fmla="*/ 0 w 132"/>
                <a:gd name="T27" fmla="*/ 122107630 h 232"/>
                <a:gd name="T28" fmla="*/ 33265636 w 132"/>
                <a:gd name="T29" fmla="*/ 37103839 h 232"/>
                <a:gd name="T30" fmla="*/ 111981461 w 132"/>
                <a:gd name="T31" fmla="*/ 0 h 232"/>
                <a:gd name="T32" fmla="*/ 295891719 w 132"/>
                <a:gd name="T33" fmla="*/ 0 h 232"/>
                <a:gd name="T34" fmla="*/ 47376772 w 132"/>
                <a:gd name="T35" fmla="*/ 122107630 h 232"/>
                <a:gd name="T36" fmla="*/ 65404189 w 132"/>
                <a:gd name="T37" fmla="*/ 70832843 h 232"/>
                <a:gd name="T38" fmla="*/ 111981461 w 132"/>
                <a:gd name="T39" fmla="*/ 51413739 h 232"/>
                <a:gd name="T40" fmla="*/ 295891719 w 132"/>
                <a:gd name="T41" fmla="*/ 51413739 h 232"/>
                <a:gd name="T42" fmla="*/ 295891719 w 132"/>
                <a:gd name="T43" fmla="*/ 79781492 h 232"/>
                <a:gd name="T44" fmla="*/ 111981461 w 132"/>
                <a:gd name="T45" fmla="*/ 79781492 h 232"/>
                <a:gd name="T46" fmla="*/ 85443339 w 132"/>
                <a:gd name="T47" fmla="*/ 92335711 h 232"/>
                <a:gd name="T48" fmla="*/ 73893437 w 132"/>
                <a:gd name="T49" fmla="*/ 122107630 h 232"/>
                <a:gd name="T50" fmla="*/ 73893437 w 132"/>
                <a:gd name="T51" fmla="*/ 202009418 h 232"/>
                <a:gd name="T52" fmla="*/ 295891719 w 132"/>
                <a:gd name="T53" fmla="*/ 202009418 h 232"/>
                <a:gd name="T54" fmla="*/ 295891719 w 132"/>
                <a:gd name="T55" fmla="*/ 233836064 h 232"/>
                <a:gd name="T56" fmla="*/ 47376772 w 132"/>
                <a:gd name="T57" fmla="*/ 233836064 h 232"/>
                <a:gd name="T58" fmla="*/ 47376772 w 132"/>
                <a:gd name="T59" fmla="*/ 122107630 h 232"/>
                <a:gd name="T60" fmla="*/ 47376772 w 132"/>
                <a:gd name="T61" fmla="*/ 253283286 h 232"/>
                <a:gd name="T62" fmla="*/ 295891719 w 132"/>
                <a:gd name="T63" fmla="*/ 253283286 h 232"/>
                <a:gd name="T64" fmla="*/ 295891719 w 132"/>
                <a:gd name="T65" fmla="*/ 283050061 h 232"/>
                <a:gd name="T66" fmla="*/ 73893437 w 132"/>
                <a:gd name="T67" fmla="*/ 283050061 h 232"/>
                <a:gd name="T68" fmla="*/ 73893437 w 132"/>
                <a:gd name="T69" fmla="*/ 442759715 h 232"/>
                <a:gd name="T70" fmla="*/ 85443339 w 132"/>
                <a:gd name="T71" fmla="*/ 472485538 h 232"/>
                <a:gd name="T72" fmla="*/ 111981461 w 132"/>
                <a:gd name="T73" fmla="*/ 484506888 h 232"/>
                <a:gd name="T74" fmla="*/ 295891719 w 132"/>
                <a:gd name="T75" fmla="*/ 484506888 h 232"/>
                <a:gd name="T76" fmla="*/ 295891719 w 132"/>
                <a:gd name="T77" fmla="*/ 513431020 h 232"/>
                <a:gd name="T78" fmla="*/ 111981461 w 132"/>
                <a:gd name="T79" fmla="*/ 513431020 h 232"/>
                <a:gd name="T80" fmla="*/ 65404189 w 132"/>
                <a:gd name="T81" fmla="*/ 494012295 h 232"/>
                <a:gd name="T82" fmla="*/ 47376772 w 132"/>
                <a:gd name="T83" fmla="*/ 442759715 h 232"/>
                <a:gd name="T84" fmla="*/ 47376772 w 132"/>
                <a:gd name="T85" fmla="*/ 253283286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132" y="0"/>
                  </a:moveTo>
                  <a:cubicBezTo>
                    <a:pt x="132" y="13"/>
                    <a:pt x="132" y="13"/>
                    <a:pt x="132" y="13"/>
                  </a:cubicBezTo>
                  <a:cubicBezTo>
                    <a:pt x="50" y="13"/>
                    <a:pt x="50" y="13"/>
                    <a:pt x="50" y="13"/>
                  </a:cubicBezTo>
                  <a:cubicBezTo>
                    <a:pt x="39" y="13"/>
                    <a:pt x="31" y="16"/>
                    <a:pt x="23" y="24"/>
                  </a:cubicBezTo>
                  <a:cubicBezTo>
                    <a:pt x="16" y="31"/>
                    <a:pt x="12" y="40"/>
                    <a:pt x="12" y="50"/>
                  </a:cubicBezTo>
                  <a:cubicBezTo>
                    <a:pt x="12" y="182"/>
                    <a:pt x="12" y="182"/>
                    <a:pt x="12" y="182"/>
                  </a:cubicBezTo>
                  <a:cubicBezTo>
                    <a:pt x="12" y="193"/>
                    <a:pt x="16" y="201"/>
                    <a:pt x="23" y="209"/>
                  </a:cubicBezTo>
                  <a:cubicBezTo>
                    <a:pt x="31" y="216"/>
                    <a:pt x="39" y="220"/>
                    <a:pt x="50" y="220"/>
                  </a:cubicBezTo>
                  <a:cubicBezTo>
                    <a:pt x="132" y="220"/>
                    <a:pt x="132" y="220"/>
                    <a:pt x="132" y="220"/>
                  </a:cubicBezTo>
                  <a:cubicBezTo>
                    <a:pt x="132" y="232"/>
                    <a:pt x="132" y="232"/>
                    <a:pt x="132" y="232"/>
                  </a:cubicBezTo>
                  <a:cubicBezTo>
                    <a:pt x="50" y="232"/>
                    <a:pt x="50" y="232"/>
                    <a:pt x="50" y="232"/>
                  </a:cubicBezTo>
                  <a:cubicBezTo>
                    <a:pt x="36" y="232"/>
                    <a:pt x="24" y="227"/>
                    <a:pt x="15" y="217"/>
                  </a:cubicBezTo>
                  <a:cubicBezTo>
                    <a:pt x="5" y="208"/>
                    <a:pt x="0" y="196"/>
                    <a:pt x="0" y="182"/>
                  </a:cubicBezTo>
                  <a:cubicBezTo>
                    <a:pt x="0" y="50"/>
                    <a:pt x="0" y="50"/>
                    <a:pt x="0" y="50"/>
                  </a:cubicBezTo>
                  <a:cubicBezTo>
                    <a:pt x="0" y="36"/>
                    <a:pt x="5" y="25"/>
                    <a:pt x="15" y="15"/>
                  </a:cubicBezTo>
                  <a:cubicBezTo>
                    <a:pt x="24" y="5"/>
                    <a:pt x="36" y="0"/>
                    <a:pt x="50" y="0"/>
                  </a:cubicBezTo>
                  <a:lnTo>
                    <a:pt x="132" y="0"/>
                  </a:lnTo>
                  <a:close/>
                  <a:moveTo>
                    <a:pt x="21" y="50"/>
                  </a:moveTo>
                  <a:cubicBezTo>
                    <a:pt x="21" y="42"/>
                    <a:pt x="24" y="35"/>
                    <a:pt x="29" y="29"/>
                  </a:cubicBezTo>
                  <a:cubicBezTo>
                    <a:pt x="35" y="24"/>
                    <a:pt x="42" y="21"/>
                    <a:pt x="50" y="21"/>
                  </a:cubicBezTo>
                  <a:cubicBezTo>
                    <a:pt x="132" y="21"/>
                    <a:pt x="132" y="21"/>
                    <a:pt x="132" y="21"/>
                  </a:cubicBezTo>
                  <a:cubicBezTo>
                    <a:pt x="132" y="33"/>
                    <a:pt x="132" y="33"/>
                    <a:pt x="132" y="33"/>
                  </a:cubicBezTo>
                  <a:cubicBezTo>
                    <a:pt x="50" y="33"/>
                    <a:pt x="50" y="33"/>
                    <a:pt x="50" y="33"/>
                  </a:cubicBezTo>
                  <a:cubicBezTo>
                    <a:pt x="45" y="33"/>
                    <a:pt x="41" y="35"/>
                    <a:pt x="38" y="38"/>
                  </a:cubicBezTo>
                  <a:cubicBezTo>
                    <a:pt x="35" y="42"/>
                    <a:pt x="33" y="45"/>
                    <a:pt x="33" y="50"/>
                  </a:cubicBezTo>
                  <a:cubicBezTo>
                    <a:pt x="33" y="83"/>
                    <a:pt x="33" y="83"/>
                    <a:pt x="33" y="83"/>
                  </a:cubicBezTo>
                  <a:cubicBezTo>
                    <a:pt x="132" y="83"/>
                    <a:pt x="132" y="83"/>
                    <a:pt x="132" y="83"/>
                  </a:cubicBezTo>
                  <a:cubicBezTo>
                    <a:pt x="132" y="96"/>
                    <a:pt x="132" y="96"/>
                    <a:pt x="132" y="96"/>
                  </a:cubicBezTo>
                  <a:cubicBezTo>
                    <a:pt x="21" y="96"/>
                    <a:pt x="21" y="96"/>
                    <a:pt x="21" y="96"/>
                  </a:cubicBezTo>
                  <a:lnTo>
                    <a:pt x="21" y="50"/>
                  </a:lnTo>
                  <a:close/>
                  <a:moveTo>
                    <a:pt x="21" y="104"/>
                  </a:moveTo>
                  <a:cubicBezTo>
                    <a:pt x="132" y="104"/>
                    <a:pt x="132" y="104"/>
                    <a:pt x="132" y="104"/>
                  </a:cubicBezTo>
                  <a:cubicBezTo>
                    <a:pt x="132" y="116"/>
                    <a:pt x="132" y="116"/>
                    <a:pt x="132" y="116"/>
                  </a:cubicBezTo>
                  <a:cubicBezTo>
                    <a:pt x="33" y="116"/>
                    <a:pt x="33" y="116"/>
                    <a:pt x="33" y="116"/>
                  </a:cubicBezTo>
                  <a:cubicBezTo>
                    <a:pt x="33" y="182"/>
                    <a:pt x="33" y="182"/>
                    <a:pt x="33" y="182"/>
                  </a:cubicBezTo>
                  <a:cubicBezTo>
                    <a:pt x="33" y="187"/>
                    <a:pt x="35" y="191"/>
                    <a:pt x="38" y="194"/>
                  </a:cubicBezTo>
                  <a:cubicBezTo>
                    <a:pt x="41" y="197"/>
                    <a:pt x="45" y="199"/>
                    <a:pt x="50" y="199"/>
                  </a:cubicBezTo>
                  <a:cubicBezTo>
                    <a:pt x="132" y="199"/>
                    <a:pt x="132" y="199"/>
                    <a:pt x="132" y="199"/>
                  </a:cubicBezTo>
                  <a:cubicBezTo>
                    <a:pt x="132" y="211"/>
                    <a:pt x="132" y="211"/>
                    <a:pt x="132" y="211"/>
                  </a:cubicBezTo>
                  <a:cubicBezTo>
                    <a:pt x="50" y="211"/>
                    <a:pt x="50" y="211"/>
                    <a:pt x="50" y="211"/>
                  </a:cubicBezTo>
                  <a:cubicBezTo>
                    <a:pt x="42" y="211"/>
                    <a:pt x="35" y="209"/>
                    <a:pt x="29" y="203"/>
                  </a:cubicBezTo>
                  <a:cubicBezTo>
                    <a:pt x="24" y="197"/>
                    <a:pt x="21" y="190"/>
                    <a:pt x="21" y="182"/>
                  </a:cubicBezTo>
                  <a:lnTo>
                    <a:pt x="21" y="104"/>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3" name="Freeform 13">
              <a:extLst>
                <a:ext uri="{FF2B5EF4-FFF2-40B4-BE49-F238E27FC236}">
                  <a16:creationId xmlns:a16="http://schemas.microsoft.com/office/drawing/2014/main" id="{0E6AE01F-C1F1-7FD8-8C9F-9A0EC5D243BD}"/>
                </a:ext>
              </a:extLst>
            </p:cNvPr>
            <p:cNvSpPr>
              <a:spLocks noEditPoints="1"/>
            </p:cNvSpPr>
            <p:nvPr userDrawn="1"/>
          </p:nvSpPr>
          <p:spPr bwMode="auto">
            <a:xfrm>
              <a:off x="4958" y="2552"/>
              <a:ext cx="391" cy="551"/>
            </a:xfrm>
            <a:custGeom>
              <a:avLst/>
              <a:gdLst>
                <a:gd name="T0" fmla="*/ 309548631 w 165"/>
                <a:gd name="T1" fmla="*/ 0 h 232"/>
                <a:gd name="T2" fmla="*/ 363029971 w 165"/>
                <a:gd name="T3" fmla="*/ 24547155 h 232"/>
                <a:gd name="T4" fmla="*/ 386832786 w 165"/>
                <a:gd name="T5" fmla="*/ 79781492 h 232"/>
                <a:gd name="T6" fmla="*/ 386832786 w 165"/>
                <a:gd name="T7" fmla="*/ 564828430 h 232"/>
                <a:gd name="T8" fmla="*/ 358797870 w 165"/>
                <a:gd name="T9" fmla="*/ 564828430 h 232"/>
                <a:gd name="T10" fmla="*/ 358797870 w 165"/>
                <a:gd name="T11" fmla="*/ 79781492 h 232"/>
                <a:gd name="T12" fmla="*/ 344252405 w 165"/>
                <a:gd name="T13" fmla="*/ 46120372 h 232"/>
                <a:gd name="T14" fmla="*/ 309548631 w 165"/>
                <a:gd name="T15" fmla="*/ 31976658 h 232"/>
                <a:gd name="T16" fmla="*/ 77129169 w 165"/>
                <a:gd name="T17" fmla="*/ 31976658 h 232"/>
                <a:gd name="T18" fmla="*/ 42581549 w 165"/>
                <a:gd name="T19" fmla="*/ 46120372 h 232"/>
                <a:gd name="T20" fmla="*/ 27493911 w 165"/>
                <a:gd name="T21" fmla="*/ 79781492 h 232"/>
                <a:gd name="T22" fmla="*/ 27493911 w 165"/>
                <a:gd name="T23" fmla="*/ 564828430 h 232"/>
                <a:gd name="T24" fmla="*/ 0 w 165"/>
                <a:gd name="T25" fmla="*/ 564828430 h 232"/>
                <a:gd name="T26" fmla="*/ 0 w 165"/>
                <a:gd name="T27" fmla="*/ 79781492 h 232"/>
                <a:gd name="T28" fmla="*/ 20815816 w 165"/>
                <a:gd name="T29" fmla="*/ 24547155 h 232"/>
                <a:gd name="T30" fmla="*/ 77129169 w 165"/>
                <a:gd name="T31" fmla="*/ 0 h 232"/>
                <a:gd name="T32" fmla="*/ 309548631 w 165"/>
                <a:gd name="T33" fmla="*/ 0 h 232"/>
                <a:gd name="T34" fmla="*/ 182772758 w 165"/>
                <a:gd name="T35" fmla="*/ 51413739 h 232"/>
                <a:gd name="T36" fmla="*/ 182772758 w 165"/>
                <a:gd name="T37" fmla="*/ 263208180 h 232"/>
                <a:gd name="T38" fmla="*/ 154391061 w 165"/>
                <a:gd name="T39" fmla="*/ 263208180 h 232"/>
                <a:gd name="T40" fmla="*/ 154391061 w 165"/>
                <a:gd name="T41" fmla="*/ 79781492 h 232"/>
                <a:gd name="T42" fmla="*/ 77129169 w 165"/>
                <a:gd name="T43" fmla="*/ 79781492 h 232"/>
                <a:gd name="T44" fmla="*/ 77129169 w 165"/>
                <a:gd name="T45" fmla="*/ 564828430 h 232"/>
                <a:gd name="T46" fmla="*/ 46283478 w 165"/>
                <a:gd name="T47" fmla="*/ 564828430 h 232"/>
                <a:gd name="T48" fmla="*/ 46283478 w 165"/>
                <a:gd name="T49" fmla="*/ 79781492 h 232"/>
                <a:gd name="T50" fmla="*/ 56311393 w 165"/>
                <a:gd name="T51" fmla="*/ 60526659 h 232"/>
                <a:gd name="T52" fmla="*/ 77129169 w 165"/>
                <a:gd name="T53" fmla="*/ 51413739 h 232"/>
                <a:gd name="T54" fmla="*/ 182772758 w 165"/>
                <a:gd name="T55" fmla="*/ 51413739 h 232"/>
                <a:gd name="T56" fmla="*/ 309548631 w 165"/>
                <a:gd name="T57" fmla="*/ 51413739 h 232"/>
                <a:gd name="T58" fmla="*/ 329989272 w 165"/>
                <a:gd name="T59" fmla="*/ 60526659 h 232"/>
                <a:gd name="T60" fmla="*/ 337199511 w 165"/>
                <a:gd name="T61" fmla="*/ 79781492 h 232"/>
                <a:gd name="T62" fmla="*/ 337199511 w 165"/>
                <a:gd name="T63" fmla="*/ 564828430 h 232"/>
                <a:gd name="T64" fmla="*/ 309548631 w 165"/>
                <a:gd name="T65" fmla="*/ 564828430 h 232"/>
                <a:gd name="T66" fmla="*/ 309548631 w 165"/>
                <a:gd name="T67" fmla="*/ 79781492 h 232"/>
                <a:gd name="T68" fmla="*/ 232402284 w 165"/>
                <a:gd name="T69" fmla="*/ 79781492 h 232"/>
                <a:gd name="T70" fmla="*/ 232402284 w 165"/>
                <a:gd name="T71" fmla="*/ 263208180 h 232"/>
                <a:gd name="T72" fmla="*/ 203534936 w 165"/>
                <a:gd name="T73" fmla="*/ 263208180 h 232"/>
                <a:gd name="T74" fmla="*/ 203534936 w 165"/>
                <a:gd name="T75" fmla="*/ 51413739 h 232"/>
                <a:gd name="T76" fmla="*/ 309548631 w 165"/>
                <a:gd name="T77" fmla="*/ 51413739 h 23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65" h="232">
                  <a:moveTo>
                    <a:pt x="132" y="0"/>
                  </a:moveTo>
                  <a:cubicBezTo>
                    <a:pt x="141" y="0"/>
                    <a:pt x="149" y="4"/>
                    <a:pt x="155" y="10"/>
                  </a:cubicBezTo>
                  <a:cubicBezTo>
                    <a:pt x="162" y="16"/>
                    <a:pt x="165" y="24"/>
                    <a:pt x="165" y="33"/>
                  </a:cubicBezTo>
                  <a:cubicBezTo>
                    <a:pt x="165" y="232"/>
                    <a:pt x="165" y="232"/>
                    <a:pt x="165" y="232"/>
                  </a:cubicBezTo>
                  <a:cubicBezTo>
                    <a:pt x="153" y="232"/>
                    <a:pt x="153" y="232"/>
                    <a:pt x="153" y="232"/>
                  </a:cubicBezTo>
                  <a:cubicBezTo>
                    <a:pt x="153" y="33"/>
                    <a:pt x="153" y="33"/>
                    <a:pt x="153" y="33"/>
                  </a:cubicBezTo>
                  <a:cubicBezTo>
                    <a:pt x="153" y="28"/>
                    <a:pt x="151" y="23"/>
                    <a:pt x="147" y="19"/>
                  </a:cubicBezTo>
                  <a:cubicBezTo>
                    <a:pt x="143" y="15"/>
                    <a:pt x="138" y="13"/>
                    <a:pt x="132" y="13"/>
                  </a:cubicBezTo>
                  <a:cubicBezTo>
                    <a:pt x="33" y="13"/>
                    <a:pt x="33" y="13"/>
                    <a:pt x="33" y="13"/>
                  </a:cubicBezTo>
                  <a:cubicBezTo>
                    <a:pt x="27" y="13"/>
                    <a:pt x="22" y="15"/>
                    <a:pt x="18" y="19"/>
                  </a:cubicBezTo>
                  <a:cubicBezTo>
                    <a:pt x="14" y="23"/>
                    <a:pt x="12" y="28"/>
                    <a:pt x="12" y="33"/>
                  </a:cubicBezTo>
                  <a:cubicBezTo>
                    <a:pt x="12" y="232"/>
                    <a:pt x="12" y="232"/>
                    <a:pt x="12" y="232"/>
                  </a:cubicBezTo>
                  <a:cubicBezTo>
                    <a:pt x="0" y="232"/>
                    <a:pt x="0" y="232"/>
                    <a:pt x="0" y="232"/>
                  </a:cubicBezTo>
                  <a:cubicBezTo>
                    <a:pt x="0" y="33"/>
                    <a:pt x="0" y="33"/>
                    <a:pt x="0" y="33"/>
                  </a:cubicBezTo>
                  <a:cubicBezTo>
                    <a:pt x="0" y="24"/>
                    <a:pt x="3" y="16"/>
                    <a:pt x="9" y="10"/>
                  </a:cubicBezTo>
                  <a:cubicBezTo>
                    <a:pt x="16" y="4"/>
                    <a:pt x="24" y="0"/>
                    <a:pt x="33" y="0"/>
                  </a:cubicBezTo>
                  <a:lnTo>
                    <a:pt x="132" y="0"/>
                  </a:lnTo>
                  <a:close/>
                  <a:moveTo>
                    <a:pt x="78" y="21"/>
                  </a:moveTo>
                  <a:cubicBezTo>
                    <a:pt x="78" y="108"/>
                    <a:pt x="78" y="108"/>
                    <a:pt x="78" y="108"/>
                  </a:cubicBezTo>
                  <a:cubicBezTo>
                    <a:pt x="66" y="108"/>
                    <a:pt x="66" y="108"/>
                    <a:pt x="66" y="108"/>
                  </a:cubicBezTo>
                  <a:cubicBezTo>
                    <a:pt x="66" y="33"/>
                    <a:pt x="66" y="33"/>
                    <a:pt x="66" y="33"/>
                  </a:cubicBezTo>
                  <a:cubicBezTo>
                    <a:pt x="33" y="33"/>
                    <a:pt x="33" y="33"/>
                    <a:pt x="33" y="33"/>
                  </a:cubicBezTo>
                  <a:cubicBezTo>
                    <a:pt x="33" y="232"/>
                    <a:pt x="33" y="232"/>
                    <a:pt x="33" y="232"/>
                  </a:cubicBezTo>
                  <a:cubicBezTo>
                    <a:pt x="20" y="232"/>
                    <a:pt x="20" y="232"/>
                    <a:pt x="20" y="232"/>
                  </a:cubicBezTo>
                  <a:cubicBezTo>
                    <a:pt x="20" y="33"/>
                    <a:pt x="20" y="33"/>
                    <a:pt x="20" y="33"/>
                  </a:cubicBezTo>
                  <a:cubicBezTo>
                    <a:pt x="20" y="30"/>
                    <a:pt x="21" y="27"/>
                    <a:pt x="24" y="25"/>
                  </a:cubicBezTo>
                  <a:cubicBezTo>
                    <a:pt x="26" y="22"/>
                    <a:pt x="29" y="21"/>
                    <a:pt x="33" y="21"/>
                  </a:cubicBezTo>
                  <a:lnTo>
                    <a:pt x="78" y="21"/>
                  </a:lnTo>
                  <a:close/>
                  <a:moveTo>
                    <a:pt x="132" y="21"/>
                  </a:moveTo>
                  <a:cubicBezTo>
                    <a:pt x="135" y="21"/>
                    <a:pt x="138" y="22"/>
                    <a:pt x="141" y="25"/>
                  </a:cubicBezTo>
                  <a:cubicBezTo>
                    <a:pt x="143" y="27"/>
                    <a:pt x="144" y="30"/>
                    <a:pt x="144" y="33"/>
                  </a:cubicBezTo>
                  <a:cubicBezTo>
                    <a:pt x="144" y="232"/>
                    <a:pt x="144" y="232"/>
                    <a:pt x="144" y="232"/>
                  </a:cubicBezTo>
                  <a:cubicBezTo>
                    <a:pt x="132" y="232"/>
                    <a:pt x="132" y="232"/>
                    <a:pt x="132" y="232"/>
                  </a:cubicBezTo>
                  <a:cubicBezTo>
                    <a:pt x="132" y="33"/>
                    <a:pt x="132" y="33"/>
                    <a:pt x="132" y="33"/>
                  </a:cubicBezTo>
                  <a:cubicBezTo>
                    <a:pt x="99" y="33"/>
                    <a:pt x="99" y="33"/>
                    <a:pt x="99" y="33"/>
                  </a:cubicBezTo>
                  <a:cubicBezTo>
                    <a:pt x="99" y="108"/>
                    <a:pt x="99" y="108"/>
                    <a:pt x="99" y="108"/>
                  </a:cubicBezTo>
                  <a:cubicBezTo>
                    <a:pt x="87" y="108"/>
                    <a:pt x="87" y="108"/>
                    <a:pt x="87" y="108"/>
                  </a:cubicBezTo>
                  <a:cubicBezTo>
                    <a:pt x="87" y="21"/>
                    <a:pt x="87" y="21"/>
                    <a:pt x="87" y="21"/>
                  </a:cubicBezTo>
                  <a:lnTo>
                    <a:pt x="132" y="21"/>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4">
              <a:extLst>
                <a:ext uri="{FF2B5EF4-FFF2-40B4-BE49-F238E27FC236}">
                  <a16:creationId xmlns:a16="http://schemas.microsoft.com/office/drawing/2014/main" id="{63412454-D64F-94EB-5225-2A0F41EA91B9}"/>
                </a:ext>
              </a:extLst>
            </p:cNvPr>
            <p:cNvSpPr>
              <a:spLocks noEditPoints="1"/>
            </p:cNvSpPr>
            <p:nvPr userDrawn="1"/>
          </p:nvSpPr>
          <p:spPr bwMode="auto">
            <a:xfrm>
              <a:off x="5412" y="2552"/>
              <a:ext cx="313" cy="551"/>
            </a:xfrm>
            <a:custGeom>
              <a:avLst/>
              <a:gdLst>
                <a:gd name="T0" fmla="*/ 234667157 w 132"/>
                <a:gd name="T1" fmla="*/ 0 h 232"/>
                <a:gd name="T2" fmla="*/ 291517195 w 132"/>
                <a:gd name="T3" fmla="*/ 24547155 h 232"/>
                <a:gd name="T4" fmla="*/ 312488786 w 132"/>
                <a:gd name="T5" fmla="*/ 79781492 h 232"/>
                <a:gd name="T6" fmla="*/ 312488786 w 132"/>
                <a:gd name="T7" fmla="*/ 202009418 h 232"/>
                <a:gd name="T8" fmla="*/ 291517195 w 132"/>
                <a:gd name="T9" fmla="*/ 258572736 h 232"/>
                <a:gd name="T10" fmla="*/ 234667157 w 132"/>
                <a:gd name="T11" fmla="*/ 283050061 h 232"/>
                <a:gd name="T12" fmla="*/ 77977488 w 132"/>
                <a:gd name="T13" fmla="*/ 283050061 h 232"/>
                <a:gd name="T14" fmla="*/ 77977488 w 132"/>
                <a:gd name="T15" fmla="*/ 564828430 h 232"/>
                <a:gd name="T16" fmla="*/ 46760663 w 132"/>
                <a:gd name="T17" fmla="*/ 564828430 h 232"/>
                <a:gd name="T18" fmla="*/ 46760663 w 132"/>
                <a:gd name="T19" fmla="*/ 253283286 h 232"/>
                <a:gd name="T20" fmla="*/ 234667157 w 132"/>
                <a:gd name="T21" fmla="*/ 253283286 h 232"/>
                <a:gd name="T22" fmla="*/ 269717845 w 132"/>
                <a:gd name="T23" fmla="*/ 238499835 h 232"/>
                <a:gd name="T24" fmla="*/ 284788810 w 132"/>
                <a:gd name="T25" fmla="*/ 202009418 h 232"/>
                <a:gd name="T26" fmla="*/ 284788810 w 132"/>
                <a:gd name="T27" fmla="*/ 79781492 h 232"/>
                <a:gd name="T28" fmla="*/ 269717845 w 132"/>
                <a:gd name="T29" fmla="*/ 46120372 h 232"/>
                <a:gd name="T30" fmla="*/ 234667157 w 132"/>
                <a:gd name="T31" fmla="*/ 31976658 h 232"/>
                <a:gd name="T32" fmla="*/ 115836743 w 132"/>
                <a:gd name="T33" fmla="*/ 31976658 h 232"/>
                <a:gd name="T34" fmla="*/ 54699961 w 132"/>
                <a:gd name="T35" fmla="*/ 58299493 h 232"/>
                <a:gd name="T36" fmla="*/ 27860863 w 132"/>
                <a:gd name="T37" fmla="*/ 122107630 h 232"/>
                <a:gd name="T38" fmla="*/ 27860863 w 132"/>
                <a:gd name="T39" fmla="*/ 564828430 h 232"/>
                <a:gd name="T40" fmla="*/ 0 w 132"/>
                <a:gd name="T41" fmla="*/ 564828430 h 232"/>
                <a:gd name="T42" fmla="*/ 0 w 132"/>
                <a:gd name="T43" fmla="*/ 122107630 h 232"/>
                <a:gd name="T44" fmla="*/ 32885075 w 132"/>
                <a:gd name="T45" fmla="*/ 37103839 h 232"/>
                <a:gd name="T46" fmla="*/ 115836743 w 132"/>
                <a:gd name="T47" fmla="*/ 0 h 232"/>
                <a:gd name="T48" fmla="*/ 234667157 w 132"/>
                <a:gd name="T49" fmla="*/ 0 h 232"/>
                <a:gd name="T50" fmla="*/ 262918698 w 132"/>
                <a:gd name="T51" fmla="*/ 202009418 h 232"/>
                <a:gd name="T52" fmla="*/ 255645496 w 132"/>
                <a:gd name="T53" fmla="*/ 224358826 h 232"/>
                <a:gd name="T54" fmla="*/ 234667157 w 132"/>
                <a:gd name="T55" fmla="*/ 233836064 h 232"/>
                <a:gd name="T56" fmla="*/ 46760663 w 132"/>
                <a:gd name="T57" fmla="*/ 233836064 h 232"/>
                <a:gd name="T58" fmla="*/ 46760663 w 132"/>
                <a:gd name="T59" fmla="*/ 122107630 h 232"/>
                <a:gd name="T60" fmla="*/ 69064519 w 132"/>
                <a:gd name="T61" fmla="*/ 70832843 h 232"/>
                <a:gd name="T62" fmla="*/ 115836743 w 132"/>
                <a:gd name="T63" fmla="*/ 51413739 h 232"/>
                <a:gd name="T64" fmla="*/ 234667157 w 132"/>
                <a:gd name="T65" fmla="*/ 51413739 h 232"/>
                <a:gd name="T66" fmla="*/ 255645496 w 132"/>
                <a:gd name="T67" fmla="*/ 60526659 h 232"/>
                <a:gd name="T68" fmla="*/ 262918698 w 132"/>
                <a:gd name="T69" fmla="*/ 79781492 h 232"/>
                <a:gd name="T70" fmla="*/ 262918698 w 132"/>
                <a:gd name="T71" fmla="*/ 202009418 h 232"/>
                <a:gd name="T72" fmla="*/ 77977488 w 132"/>
                <a:gd name="T73" fmla="*/ 202009418 h 232"/>
                <a:gd name="T74" fmla="*/ 234667157 w 132"/>
                <a:gd name="T75" fmla="*/ 202009418 h 232"/>
                <a:gd name="T76" fmla="*/ 234667157 w 132"/>
                <a:gd name="T77" fmla="*/ 79781492 h 232"/>
                <a:gd name="T78" fmla="*/ 115836743 w 132"/>
                <a:gd name="T79" fmla="*/ 79781492 h 232"/>
                <a:gd name="T80" fmla="*/ 89678239 w 132"/>
                <a:gd name="T81" fmla="*/ 92335711 h 232"/>
                <a:gd name="T82" fmla="*/ 77977488 w 132"/>
                <a:gd name="T83" fmla="*/ 122107630 h 232"/>
                <a:gd name="T84" fmla="*/ 77977488 w 132"/>
                <a:gd name="T85" fmla="*/ 202009418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99" y="0"/>
                  </a:moveTo>
                  <a:cubicBezTo>
                    <a:pt x="108" y="0"/>
                    <a:pt x="116" y="4"/>
                    <a:pt x="123" y="10"/>
                  </a:cubicBezTo>
                  <a:cubicBezTo>
                    <a:pt x="129" y="16"/>
                    <a:pt x="132" y="24"/>
                    <a:pt x="132" y="33"/>
                  </a:cubicBezTo>
                  <a:cubicBezTo>
                    <a:pt x="132" y="83"/>
                    <a:pt x="132" y="83"/>
                    <a:pt x="132" y="83"/>
                  </a:cubicBezTo>
                  <a:cubicBezTo>
                    <a:pt x="132" y="92"/>
                    <a:pt x="129" y="100"/>
                    <a:pt x="123" y="106"/>
                  </a:cubicBezTo>
                  <a:cubicBezTo>
                    <a:pt x="116" y="113"/>
                    <a:pt x="108" y="116"/>
                    <a:pt x="99" y="116"/>
                  </a:cubicBezTo>
                  <a:cubicBezTo>
                    <a:pt x="33" y="116"/>
                    <a:pt x="33" y="116"/>
                    <a:pt x="33" y="116"/>
                  </a:cubicBezTo>
                  <a:cubicBezTo>
                    <a:pt x="33" y="232"/>
                    <a:pt x="33" y="232"/>
                    <a:pt x="33" y="232"/>
                  </a:cubicBezTo>
                  <a:cubicBezTo>
                    <a:pt x="20" y="232"/>
                    <a:pt x="20" y="232"/>
                    <a:pt x="20" y="232"/>
                  </a:cubicBezTo>
                  <a:cubicBezTo>
                    <a:pt x="20" y="104"/>
                    <a:pt x="20" y="104"/>
                    <a:pt x="20" y="104"/>
                  </a:cubicBezTo>
                  <a:cubicBezTo>
                    <a:pt x="99" y="104"/>
                    <a:pt x="99" y="104"/>
                    <a:pt x="99" y="104"/>
                  </a:cubicBezTo>
                  <a:cubicBezTo>
                    <a:pt x="105" y="104"/>
                    <a:pt x="110" y="102"/>
                    <a:pt x="114" y="98"/>
                  </a:cubicBezTo>
                  <a:cubicBezTo>
                    <a:pt x="118" y="94"/>
                    <a:pt x="120" y="89"/>
                    <a:pt x="120" y="83"/>
                  </a:cubicBezTo>
                  <a:cubicBezTo>
                    <a:pt x="120" y="33"/>
                    <a:pt x="120" y="33"/>
                    <a:pt x="120" y="33"/>
                  </a:cubicBezTo>
                  <a:cubicBezTo>
                    <a:pt x="120" y="28"/>
                    <a:pt x="118" y="23"/>
                    <a:pt x="114" y="19"/>
                  </a:cubicBezTo>
                  <a:cubicBezTo>
                    <a:pt x="110" y="15"/>
                    <a:pt x="105" y="13"/>
                    <a:pt x="99" y="13"/>
                  </a:cubicBezTo>
                  <a:cubicBezTo>
                    <a:pt x="49" y="13"/>
                    <a:pt x="49" y="13"/>
                    <a:pt x="49" y="13"/>
                  </a:cubicBezTo>
                  <a:cubicBezTo>
                    <a:pt x="39" y="13"/>
                    <a:pt x="30" y="16"/>
                    <a:pt x="23" y="24"/>
                  </a:cubicBezTo>
                  <a:cubicBezTo>
                    <a:pt x="16" y="31"/>
                    <a:pt x="12" y="40"/>
                    <a:pt x="12" y="50"/>
                  </a:cubicBezTo>
                  <a:cubicBezTo>
                    <a:pt x="12" y="232"/>
                    <a:pt x="12" y="232"/>
                    <a:pt x="12" y="232"/>
                  </a:cubicBezTo>
                  <a:cubicBezTo>
                    <a:pt x="0" y="232"/>
                    <a:pt x="0" y="232"/>
                    <a:pt x="0" y="232"/>
                  </a:cubicBezTo>
                  <a:cubicBezTo>
                    <a:pt x="0" y="50"/>
                    <a:pt x="0" y="50"/>
                    <a:pt x="0" y="50"/>
                  </a:cubicBezTo>
                  <a:cubicBezTo>
                    <a:pt x="0" y="36"/>
                    <a:pt x="5" y="25"/>
                    <a:pt x="14" y="15"/>
                  </a:cubicBezTo>
                  <a:cubicBezTo>
                    <a:pt x="24" y="5"/>
                    <a:pt x="36" y="0"/>
                    <a:pt x="49" y="0"/>
                  </a:cubicBezTo>
                  <a:lnTo>
                    <a:pt x="99" y="0"/>
                  </a:lnTo>
                  <a:close/>
                  <a:moveTo>
                    <a:pt x="111" y="83"/>
                  </a:moveTo>
                  <a:cubicBezTo>
                    <a:pt x="111" y="87"/>
                    <a:pt x="110" y="89"/>
                    <a:pt x="108" y="92"/>
                  </a:cubicBezTo>
                  <a:cubicBezTo>
                    <a:pt x="105" y="94"/>
                    <a:pt x="102" y="96"/>
                    <a:pt x="99" y="96"/>
                  </a:cubicBezTo>
                  <a:cubicBezTo>
                    <a:pt x="20" y="96"/>
                    <a:pt x="20" y="96"/>
                    <a:pt x="20" y="96"/>
                  </a:cubicBezTo>
                  <a:cubicBezTo>
                    <a:pt x="20" y="50"/>
                    <a:pt x="20" y="50"/>
                    <a:pt x="20" y="50"/>
                  </a:cubicBezTo>
                  <a:cubicBezTo>
                    <a:pt x="20" y="42"/>
                    <a:pt x="23" y="35"/>
                    <a:pt x="29" y="29"/>
                  </a:cubicBezTo>
                  <a:cubicBezTo>
                    <a:pt x="35" y="24"/>
                    <a:pt x="41" y="21"/>
                    <a:pt x="49" y="21"/>
                  </a:cubicBezTo>
                  <a:cubicBezTo>
                    <a:pt x="99" y="21"/>
                    <a:pt x="99" y="21"/>
                    <a:pt x="99" y="21"/>
                  </a:cubicBezTo>
                  <a:cubicBezTo>
                    <a:pt x="102" y="21"/>
                    <a:pt x="105" y="22"/>
                    <a:pt x="108" y="25"/>
                  </a:cubicBezTo>
                  <a:cubicBezTo>
                    <a:pt x="110" y="27"/>
                    <a:pt x="111" y="30"/>
                    <a:pt x="111" y="33"/>
                  </a:cubicBezTo>
                  <a:lnTo>
                    <a:pt x="111" y="83"/>
                  </a:lnTo>
                  <a:close/>
                  <a:moveTo>
                    <a:pt x="33" y="83"/>
                  </a:moveTo>
                  <a:cubicBezTo>
                    <a:pt x="99" y="83"/>
                    <a:pt x="99" y="83"/>
                    <a:pt x="99" y="83"/>
                  </a:cubicBezTo>
                  <a:cubicBezTo>
                    <a:pt x="99" y="33"/>
                    <a:pt x="99" y="33"/>
                    <a:pt x="99" y="33"/>
                  </a:cubicBezTo>
                  <a:cubicBezTo>
                    <a:pt x="49" y="33"/>
                    <a:pt x="49" y="33"/>
                    <a:pt x="49" y="33"/>
                  </a:cubicBezTo>
                  <a:cubicBezTo>
                    <a:pt x="45" y="33"/>
                    <a:pt x="41" y="35"/>
                    <a:pt x="38" y="38"/>
                  </a:cubicBezTo>
                  <a:cubicBezTo>
                    <a:pt x="34" y="42"/>
                    <a:pt x="33" y="45"/>
                    <a:pt x="33" y="50"/>
                  </a:cubicBezTo>
                  <a:lnTo>
                    <a:pt x="33" y="83"/>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5" name="Freeform 15">
              <a:extLst>
                <a:ext uri="{FF2B5EF4-FFF2-40B4-BE49-F238E27FC236}">
                  <a16:creationId xmlns:a16="http://schemas.microsoft.com/office/drawing/2014/main" id="{2C12B9B0-DFD5-AE77-0C41-B8728FF66595}"/>
                </a:ext>
              </a:extLst>
            </p:cNvPr>
            <p:cNvSpPr>
              <a:spLocks noEditPoints="1"/>
            </p:cNvSpPr>
            <p:nvPr userDrawn="1"/>
          </p:nvSpPr>
          <p:spPr bwMode="auto">
            <a:xfrm>
              <a:off x="5774" y="2552"/>
              <a:ext cx="312" cy="551"/>
            </a:xfrm>
            <a:custGeom>
              <a:avLst/>
              <a:gdLst>
                <a:gd name="T0" fmla="*/ 26510905 w 132"/>
                <a:gd name="T1" fmla="*/ 442759715 h 232"/>
                <a:gd name="T2" fmla="*/ 51443210 w 132"/>
                <a:gd name="T3" fmla="*/ 508305993 h 232"/>
                <a:gd name="T4" fmla="*/ 110103249 w 132"/>
                <a:gd name="T5" fmla="*/ 535913430 h 232"/>
                <a:gd name="T6" fmla="*/ 295891719 w 132"/>
                <a:gd name="T7" fmla="*/ 535913430 h 232"/>
                <a:gd name="T8" fmla="*/ 295891719 w 132"/>
                <a:gd name="T9" fmla="*/ 564828430 h 232"/>
                <a:gd name="T10" fmla="*/ 110103249 w 132"/>
                <a:gd name="T11" fmla="*/ 564828430 h 232"/>
                <a:gd name="T12" fmla="*/ 31262608 w 132"/>
                <a:gd name="T13" fmla="*/ 527724589 h 232"/>
                <a:gd name="T14" fmla="*/ 0 w 132"/>
                <a:gd name="T15" fmla="*/ 442759715 h 232"/>
                <a:gd name="T16" fmla="*/ 0 w 132"/>
                <a:gd name="T17" fmla="*/ 0 h 232"/>
                <a:gd name="T18" fmla="*/ 26510905 w 132"/>
                <a:gd name="T19" fmla="*/ 0 h 232"/>
                <a:gd name="T20" fmla="*/ 26510905 w 132"/>
                <a:gd name="T21" fmla="*/ 442759715 h 232"/>
                <a:gd name="T22" fmla="*/ 295891719 w 132"/>
                <a:gd name="T23" fmla="*/ 484506888 h 232"/>
                <a:gd name="T24" fmla="*/ 295891719 w 132"/>
                <a:gd name="T25" fmla="*/ 513431020 h 232"/>
                <a:gd name="T26" fmla="*/ 110103249 w 132"/>
                <a:gd name="T27" fmla="*/ 513431020 h 232"/>
                <a:gd name="T28" fmla="*/ 65404189 w 132"/>
                <a:gd name="T29" fmla="*/ 494012295 h 232"/>
                <a:gd name="T30" fmla="*/ 44482705 w 132"/>
                <a:gd name="T31" fmla="*/ 442759715 h 232"/>
                <a:gd name="T32" fmla="*/ 44482705 w 132"/>
                <a:gd name="T33" fmla="*/ 0 h 232"/>
                <a:gd name="T34" fmla="*/ 73893437 w 132"/>
                <a:gd name="T35" fmla="*/ 0 h 232"/>
                <a:gd name="T36" fmla="*/ 73893437 w 132"/>
                <a:gd name="T37" fmla="*/ 442759715 h 232"/>
                <a:gd name="T38" fmla="*/ 85443339 w 132"/>
                <a:gd name="T39" fmla="*/ 472485538 h 232"/>
                <a:gd name="T40" fmla="*/ 110103249 w 132"/>
                <a:gd name="T41" fmla="*/ 484506888 h 232"/>
                <a:gd name="T42" fmla="*/ 295891719 w 132"/>
                <a:gd name="T43" fmla="*/ 484506888 h 2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2" h="232">
                  <a:moveTo>
                    <a:pt x="12" y="182"/>
                  </a:moveTo>
                  <a:cubicBezTo>
                    <a:pt x="12" y="193"/>
                    <a:pt x="16" y="201"/>
                    <a:pt x="23" y="209"/>
                  </a:cubicBezTo>
                  <a:cubicBezTo>
                    <a:pt x="30" y="216"/>
                    <a:pt x="39" y="220"/>
                    <a:pt x="49" y="220"/>
                  </a:cubicBezTo>
                  <a:cubicBezTo>
                    <a:pt x="132" y="220"/>
                    <a:pt x="132" y="220"/>
                    <a:pt x="132" y="220"/>
                  </a:cubicBezTo>
                  <a:cubicBezTo>
                    <a:pt x="132" y="232"/>
                    <a:pt x="132" y="232"/>
                    <a:pt x="132" y="232"/>
                  </a:cubicBezTo>
                  <a:cubicBezTo>
                    <a:pt x="49" y="232"/>
                    <a:pt x="49" y="232"/>
                    <a:pt x="49" y="232"/>
                  </a:cubicBezTo>
                  <a:cubicBezTo>
                    <a:pt x="36" y="232"/>
                    <a:pt x="24" y="227"/>
                    <a:pt x="14" y="217"/>
                  </a:cubicBezTo>
                  <a:cubicBezTo>
                    <a:pt x="4" y="208"/>
                    <a:pt x="0" y="196"/>
                    <a:pt x="0" y="182"/>
                  </a:cubicBezTo>
                  <a:cubicBezTo>
                    <a:pt x="0" y="0"/>
                    <a:pt x="0" y="0"/>
                    <a:pt x="0" y="0"/>
                  </a:cubicBezTo>
                  <a:cubicBezTo>
                    <a:pt x="12" y="0"/>
                    <a:pt x="12" y="0"/>
                    <a:pt x="12" y="0"/>
                  </a:cubicBezTo>
                  <a:lnTo>
                    <a:pt x="12" y="182"/>
                  </a:lnTo>
                  <a:close/>
                  <a:moveTo>
                    <a:pt x="132" y="199"/>
                  </a:moveTo>
                  <a:cubicBezTo>
                    <a:pt x="132" y="211"/>
                    <a:pt x="132" y="211"/>
                    <a:pt x="132" y="211"/>
                  </a:cubicBezTo>
                  <a:cubicBezTo>
                    <a:pt x="49" y="211"/>
                    <a:pt x="49" y="211"/>
                    <a:pt x="49" y="211"/>
                  </a:cubicBezTo>
                  <a:cubicBezTo>
                    <a:pt x="41" y="211"/>
                    <a:pt x="34" y="209"/>
                    <a:pt x="29" y="203"/>
                  </a:cubicBezTo>
                  <a:cubicBezTo>
                    <a:pt x="23" y="197"/>
                    <a:pt x="20" y="190"/>
                    <a:pt x="20" y="182"/>
                  </a:cubicBezTo>
                  <a:cubicBezTo>
                    <a:pt x="20" y="0"/>
                    <a:pt x="20" y="0"/>
                    <a:pt x="20" y="0"/>
                  </a:cubicBezTo>
                  <a:cubicBezTo>
                    <a:pt x="33" y="0"/>
                    <a:pt x="33" y="0"/>
                    <a:pt x="33" y="0"/>
                  </a:cubicBezTo>
                  <a:cubicBezTo>
                    <a:pt x="33" y="182"/>
                    <a:pt x="33" y="182"/>
                    <a:pt x="33" y="182"/>
                  </a:cubicBezTo>
                  <a:cubicBezTo>
                    <a:pt x="33" y="187"/>
                    <a:pt x="34" y="191"/>
                    <a:pt x="38" y="194"/>
                  </a:cubicBezTo>
                  <a:cubicBezTo>
                    <a:pt x="41" y="197"/>
                    <a:pt x="45" y="199"/>
                    <a:pt x="49" y="199"/>
                  </a:cubicBezTo>
                  <a:lnTo>
                    <a:pt x="132" y="199"/>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6" name="Freeform 16">
              <a:extLst>
                <a:ext uri="{FF2B5EF4-FFF2-40B4-BE49-F238E27FC236}">
                  <a16:creationId xmlns:a16="http://schemas.microsoft.com/office/drawing/2014/main" id="{C88A3BB2-EAEC-2C5F-9CCF-EF8C9B84015E}"/>
                </a:ext>
              </a:extLst>
            </p:cNvPr>
            <p:cNvSpPr>
              <a:spLocks noEditPoints="1"/>
            </p:cNvSpPr>
            <p:nvPr userDrawn="1"/>
          </p:nvSpPr>
          <p:spPr bwMode="auto">
            <a:xfrm>
              <a:off x="6120" y="2552"/>
              <a:ext cx="331" cy="551"/>
            </a:xfrm>
            <a:custGeom>
              <a:avLst/>
              <a:gdLst>
                <a:gd name="T0" fmla="*/ 315628455 w 140"/>
                <a:gd name="T1" fmla="*/ 0 h 232"/>
                <a:gd name="T2" fmla="*/ 315628455 w 140"/>
                <a:gd name="T3" fmla="*/ 564828430 h 232"/>
                <a:gd name="T4" fmla="*/ 288722604 w 140"/>
                <a:gd name="T5" fmla="*/ 564828430 h 232"/>
                <a:gd name="T6" fmla="*/ 288722604 w 140"/>
                <a:gd name="T7" fmla="*/ 31976658 h 232"/>
                <a:gd name="T8" fmla="*/ 110489077 w 140"/>
                <a:gd name="T9" fmla="*/ 31976658 h 232"/>
                <a:gd name="T10" fmla="*/ 51651254 w 140"/>
                <a:gd name="T11" fmla="*/ 58299493 h 232"/>
                <a:gd name="T12" fmla="*/ 26606139 w 140"/>
                <a:gd name="T13" fmla="*/ 122107630 h 232"/>
                <a:gd name="T14" fmla="*/ 26606139 w 140"/>
                <a:gd name="T15" fmla="*/ 564828430 h 232"/>
                <a:gd name="T16" fmla="*/ 0 w 140"/>
                <a:gd name="T17" fmla="*/ 564828430 h 232"/>
                <a:gd name="T18" fmla="*/ 0 w 140"/>
                <a:gd name="T19" fmla="*/ 122107630 h 232"/>
                <a:gd name="T20" fmla="*/ 31354195 w 140"/>
                <a:gd name="T21" fmla="*/ 37103839 h 232"/>
                <a:gd name="T22" fmla="*/ 110489077 w 140"/>
                <a:gd name="T23" fmla="*/ 0 h 232"/>
                <a:gd name="T24" fmla="*/ 315628455 w 140"/>
                <a:gd name="T25" fmla="*/ 0 h 232"/>
                <a:gd name="T26" fmla="*/ 44631525 w 140"/>
                <a:gd name="T27" fmla="*/ 122107630 h 232"/>
                <a:gd name="T28" fmla="*/ 65649001 w 140"/>
                <a:gd name="T29" fmla="*/ 70832843 h 232"/>
                <a:gd name="T30" fmla="*/ 110489077 w 140"/>
                <a:gd name="T31" fmla="*/ 51413739 h 232"/>
                <a:gd name="T32" fmla="*/ 270477527 w 140"/>
                <a:gd name="T33" fmla="*/ 51413739 h 232"/>
                <a:gd name="T34" fmla="*/ 270477527 w 140"/>
                <a:gd name="T35" fmla="*/ 233836064 h 232"/>
                <a:gd name="T36" fmla="*/ 44631525 w 140"/>
                <a:gd name="T37" fmla="*/ 233836064 h 232"/>
                <a:gd name="T38" fmla="*/ 44631525 w 140"/>
                <a:gd name="T39" fmla="*/ 122107630 h 232"/>
                <a:gd name="T40" fmla="*/ 270477527 w 140"/>
                <a:gd name="T41" fmla="*/ 253283286 h 232"/>
                <a:gd name="T42" fmla="*/ 270477527 w 140"/>
                <a:gd name="T43" fmla="*/ 564828430 h 232"/>
                <a:gd name="T44" fmla="*/ 241121972 w 140"/>
                <a:gd name="T45" fmla="*/ 564828430 h 232"/>
                <a:gd name="T46" fmla="*/ 241121972 w 140"/>
                <a:gd name="T47" fmla="*/ 283050061 h 232"/>
                <a:gd name="T48" fmla="*/ 74130275 w 140"/>
                <a:gd name="T49" fmla="*/ 283050061 h 232"/>
                <a:gd name="T50" fmla="*/ 74130275 w 140"/>
                <a:gd name="T51" fmla="*/ 564828430 h 232"/>
                <a:gd name="T52" fmla="*/ 44631525 w 140"/>
                <a:gd name="T53" fmla="*/ 564828430 h 232"/>
                <a:gd name="T54" fmla="*/ 44631525 w 140"/>
                <a:gd name="T55" fmla="*/ 253283286 h 232"/>
                <a:gd name="T56" fmla="*/ 270477527 w 140"/>
                <a:gd name="T57" fmla="*/ 253283286 h 232"/>
                <a:gd name="T58" fmla="*/ 241121972 w 140"/>
                <a:gd name="T59" fmla="*/ 79781492 h 232"/>
                <a:gd name="T60" fmla="*/ 110489077 w 140"/>
                <a:gd name="T61" fmla="*/ 79781492 h 232"/>
                <a:gd name="T62" fmla="*/ 85974132 w 140"/>
                <a:gd name="T63" fmla="*/ 92335711 h 232"/>
                <a:gd name="T64" fmla="*/ 74130275 w 140"/>
                <a:gd name="T65" fmla="*/ 122107630 h 232"/>
                <a:gd name="T66" fmla="*/ 74130275 w 140"/>
                <a:gd name="T67" fmla="*/ 202009418 h 232"/>
                <a:gd name="T68" fmla="*/ 241121972 w 140"/>
                <a:gd name="T69" fmla="*/ 202009418 h 232"/>
                <a:gd name="T70" fmla="*/ 241121972 w 140"/>
                <a:gd name="T71" fmla="*/ 79781492 h 23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40" h="232">
                  <a:moveTo>
                    <a:pt x="140" y="0"/>
                  </a:moveTo>
                  <a:cubicBezTo>
                    <a:pt x="140" y="232"/>
                    <a:pt x="140" y="232"/>
                    <a:pt x="140" y="232"/>
                  </a:cubicBezTo>
                  <a:cubicBezTo>
                    <a:pt x="128" y="232"/>
                    <a:pt x="128" y="232"/>
                    <a:pt x="128" y="232"/>
                  </a:cubicBezTo>
                  <a:cubicBezTo>
                    <a:pt x="128" y="13"/>
                    <a:pt x="128" y="13"/>
                    <a:pt x="128" y="13"/>
                  </a:cubicBezTo>
                  <a:cubicBezTo>
                    <a:pt x="49" y="13"/>
                    <a:pt x="49" y="13"/>
                    <a:pt x="49" y="13"/>
                  </a:cubicBezTo>
                  <a:cubicBezTo>
                    <a:pt x="39" y="13"/>
                    <a:pt x="30" y="16"/>
                    <a:pt x="23" y="24"/>
                  </a:cubicBezTo>
                  <a:cubicBezTo>
                    <a:pt x="16" y="31"/>
                    <a:pt x="12" y="40"/>
                    <a:pt x="12" y="50"/>
                  </a:cubicBezTo>
                  <a:cubicBezTo>
                    <a:pt x="12" y="232"/>
                    <a:pt x="12" y="232"/>
                    <a:pt x="12" y="232"/>
                  </a:cubicBezTo>
                  <a:cubicBezTo>
                    <a:pt x="0" y="232"/>
                    <a:pt x="0" y="232"/>
                    <a:pt x="0" y="232"/>
                  </a:cubicBezTo>
                  <a:cubicBezTo>
                    <a:pt x="0" y="50"/>
                    <a:pt x="0" y="50"/>
                    <a:pt x="0" y="50"/>
                  </a:cubicBezTo>
                  <a:cubicBezTo>
                    <a:pt x="0" y="36"/>
                    <a:pt x="5" y="25"/>
                    <a:pt x="14" y="15"/>
                  </a:cubicBezTo>
                  <a:cubicBezTo>
                    <a:pt x="24" y="5"/>
                    <a:pt x="36" y="0"/>
                    <a:pt x="49" y="0"/>
                  </a:cubicBezTo>
                  <a:lnTo>
                    <a:pt x="140" y="0"/>
                  </a:lnTo>
                  <a:close/>
                  <a:moveTo>
                    <a:pt x="20" y="50"/>
                  </a:moveTo>
                  <a:cubicBezTo>
                    <a:pt x="20" y="42"/>
                    <a:pt x="23" y="35"/>
                    <a:pt x="29" y="29"/>
                  </a:cubicBezTo>
                  <a:cubicBezTo>
                    <a:pt x="35" y="24"/>
                    <a:pt x="41" y="21"/>
                    <a:pt x="49" y="21"/>
                  </a:cubicBezTo>
                  <a:cubicBezTo>
                    <a:pt x="120" y="21"/>
                    <a:pt x="120" y="21"/>
                    <a:pt x="120" y="21"/>
                  </a:cubicBezTo>
                  <a:cubicBezTo>
                    <a:pt x="120" y="96"/>
                    <a:pt x="120" y="96"/>
                    <a:pt x="120" y="96"/>
                  </a:cubicBezTo>
                  <a:cubicBezTo>
                    <a:pt x="20" y="96"/>
                    <a:pt x="20" y="96"/>
                    <a:pt x="20" y="96"/>
                  </a:cubicBezTo>
                  <a:lnTo>
                    <a:pt x="20" y="50"/>
                  </a:lnTo>
                  <a:close/>
                  <a:moveTo>
                    <a:pt x="120" y="104"/>
                  </a:moveTo>
                  <a:cubicBezTo>
                    <a:pt x="120" y="232"/>
                    <a:pt x="120" y="232"/>
                    <a:pt x="120" y="232"/>
                  </a:cubicBezTo>
                  <a:cubicBezTo>
                    <a:pt x="107" y="232"/>
                    <a:pt x="107" y="232"/>
                    <a:pt x="107" y="232"/>
                  </a:cubicBezTo>
                  <a:cubicBezTo>
                    <a:pt x="107" y="116"/>
                    <a:pt x="107" y="116"/>
                    <a:pt x="107" y="116"/>
                  </a:cubicBezTo>
                  <a:cubicBezTo>
                    <a:pt x="33" y="116"/>
                    <a:pt x="33" y="116"/>
                    <a:pt x="33" y="116"/>
                  </a:cubicBezTo>
                  <a:cubicBezTo>
                    <a:pt x="33" y="232"/>
                    <a:pt x="33" y="232"/>
                    <a:pt x="33" y="232"/>
                  </a:cubicBezTo>
                  <a:cubicBezTo>
                    <a:pt x="20" y="232"/>
                    <a:pt x="20" y="232"/>
                    <a:pt x="20" y="232"/>
                  </a:cubicBezTo>
                  <a:cubicBezTo>
                    <a:pt x="20" y="104"/>
                    <a:pt x="20" y="104"/>
                    <a:pt x="20" y="104"/>
                  </a:cubicBezTo>
                  <a:lnTo>
                    <a:pt x="120" y="104"/>
                  </a:lnTo>
                  <a:close/>
                  <a:moveTo>
                    <a:pt x="107" y="33"/>
                  </a:moveTo>
                  <a:cubicBezTo>
                    <a:pt x="49" y="33"/>
                    <a:pt x="49" y="33"/>
                    <a:pt x="49" y="33"/>
                  </a:cubicBezTo>
                  <a:cubicBezTo>
                    <a:pt x="45" y="33"/>
                    <a:pt x="41" y="35"/>
                    <a:pt x="38" y="38"/>
                  </a:cubicBezTo>
                  <a:cubicBezTo>
                    <a:pt x="34" y="42"/>
                    <a:pt x="33" y="45"/>
                    <a:pt x="33" y="50"/>
                  </a:cubicBezTo>
                  <a:cubicBezTo>
                    <a:pt x="33" y="83"/>
                    <a:pt x="33" y="83"/>
                    <a:pt x="33" y="83"/>
                  </a:cubicBezTo>
                  <a:cubicBezTo>
                    <a:pt x="107" y="83"/>
                    <a:pt x="107" y="83"/>
                    <a:pt x="107" y="83"/>
                  </a:cubicBezTo>
                  <a:lnTo>
                    <a:pt x="107" y="33"/>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 name="Freeform 17">
              <a:extLst>
                <a:ext uri="{FF2B5EF4-FFF2-40B4-BE49-F238E27FC236}">
                  <a16:creationId xmlns:a16="http://schemas.microsoft.com/office/drawing/2014/main" id="{956CC629-276B-3B39-4803-E04EC3154290}"/>
                </a:ext>
              </a:extLst>
            </p:cNvPr>
            <p:cNvSpPr>
              <a:spLocks noEditPoints="1"/>
            </p:cNvSpPr>
            <p:nvPr userDrawn="1"/>
          </p:nvSpPr>
          <p:spPr bwMode="auto">
            <a:xfrm>
              <a:off x="6517" y="2552"/>
              <a:ext cx="331" cy="551"/>
            </a:xfrm>
            <a:custGeom>
              <a:avLst/>
              <a:gdLst>
                <a:gd name="T0" fmla="*/ 0 w 331"/>
                <a:gd name="T1" fmla="*/ 0 h 551"/>
                <a:gd name="T2" fmla="*/ 331 w 331"/>
                <a:gd name="T3" fmla="*/ 0 h 551"/>
                <a:gd name="T4" fmla="*/ 331 w 331"/>
                <a:gd name="T5" fmla="*/ 31 h 551"/>
                <a:gd name="T6" fmla="*/ 0 w 331"/>
                <a:gd name="T7" fmla="*/ 31 h 551"/>
                <a:gd name="T8" fmla="*/ 0 w 331"/>
                <a:gd name="T9" fmla="*/ 0 h 551"/>
                <a:gd name="T10" fmla="*/ 156 w 331"/>
                <a:gd name="T11" fmla="*/ 50 h 551"/>
                <a:gd name="T12" fmla="*/ 156 w 331"/>
                <a:gd name="T13" fmla="*/ 551 h 551"/>
                <a:gd name="T14" fmla="*/ 128 w 331"/>
                <a:gd name="T15" fmla="*/ 551 h 551"/>
                <a:gd name="T16" fmla="*/ 128 w 331"/>
                <a:gd name="T17" fmla="*/ 79 h 551"/>
                <a:gd name="T18" fmla="*/ 0 w 331"/>
                <a:gd name="T19" fmla="*/ 79 h 551"/>
                <a:gd name="T20" fmla="*/ 0 w 331"/>
                <a:gd name="T21" fmla="*/ 50 h 551"/>
                <a:gd name="T22" fmla="*/ 156 w 331"/>
                <a:gd name="T23" fmla="*/ 50 h 551"/>
                <a:gd name="T24" fmla="*/ 331 w 331"/>
                <a:gd name="T25" fmla="*/ 50 h 551"/>
                <a:gd name="T26" fmla="*/ 331 w 331"/>
                <a:gd name="T27" fmla="*/ 79 h 551"/>
                <a:gd name="T28" fmla="*/ 206 w 331"/>
                <a:gd name="T29" fmla="*/ 79 h 551"/>
                <a:gd name="T30" fmla="*/ 206 w 331"/>
                <a:gd name="T31" fmla="*/ 551 h 551"/>
                <a:gd name="T32" fmla="*/ 175 w 331"/>
                <a:gd name="T33" fmla="*/ 551 h 551"/>
                <a:gd name="T34" fmla="*/ 175 w 331"/>
                <a:gd name="T35" fmla="*/ 50 h 551"/>
                <a:gd name="T36" fmla="*/ 331 w 331"/>
                <a:gd name="T37" fmla="*/ 50 h 5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31" h="551">
                  <a:moveTo>
                    <a:pt x="0" y="0"/>
                  </a:moveTo>
                  <a:lnTo>
                    <a:pt x="331" y="0"/>
                  </a:lnTo>
                  <a:lnTo>
                    <a:pt x="331" y="31"/>
                  </a:lnTo>
                  <a:lnTo>
                    <a:pt x="0" y="31"/>
                  </a:lnTo>
                  <a:lnTo>
                    <a:pt x="0" y="0"/>
                  </a:lnTo>
                  <a:close/>
                  <a:moveTo>
                    <a:pt x="156" y="50"/>
                  </a:moveTo>
                  <a:lnTo>
                    <a:pt x="156" y="551"/>
                  </a:lnTo>
                  <a:lnTo>
                    <a:pt x="128" y="551"/>
                  </a:lnTo>
                  <a:lnTo>
                    <a:pt x="128" y="79"/>
                  </a:lnTo>
                  <a:lnTo>
                    <a:pt x="0" y="79"/>
                  </a:lnTo>
                  <a:lnTo>
                    <a:pt x="0" y="50"/>
                  </a:lnTo>
                  <a:lnTo>
                    <a:pt x="156" y="50"/>
                  </a:lnTo>
                  <a:close/>
                  <a:moveTo>
                    <a:pt x="331" y="50"/>
                  </a:moveTo>
                  <a:lnTo>
                    <a:pt x="331" y="79"/>
                  </a:lnTo>
                  <a:lnTo>
                    <a:pt x="206" y="79"/>
                  </a:lnTo>
                  <a:lnTo>
                    <a:pt x="206" y="551"/>
                  </a:lnTo>
                  <a:lnTo>
                    <a:pt x="175" y="551"/>
                  </a:lnTo>
                  <a:lnTo>
                    <a:pt x="175" y="50"/>
                  </a:lnTo>
                  <a:lnTo>
                    <a:pt x="331" y="50"/>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8" name="Freeform 18">
              <a:extLst>
                <a:ext uri="{FF2B5EF4-FFF2-40B4-BE49-F238E27FC236}">
                  <a16:creationId xmlns:a16="http://schemas.microsoft.com/office/drawing/2014/main" id="{9C843896-9720-0757-AB08-36D3D999742D}"/>
                </a:ext>
              </a:extLst>
            </p:cNvPr>
            <p:cNvSpPr>
              <a:spLocks noEditPoints="1"/>
            </p:cNvSpPr>
            <p:nvPr userDrawn="1"/>
          </p:nvSpPr>
          <p:spPr bwMode="auto">
            <a:xfrm>
              <a:off x="6886" y="2552"/>
              <a:ext cx="312" cy="551"/>
            </a:xfrm>
            <a:custGeom>
              <a:avLst/>
              <a:gdLst>
                <a:gd name="T0" fmla="*/ 295891719 w 132"/>
                <a:gd name="T1" fmla="*/ 0 h 232"/>
                <a:gd name="T2" fmla="*/ 295891719 w 132"/>
                <a:gd name="T3" fmla="*/ 31976658 h 232"/>
                <a:gd name="T4" fmla="*/ 110103249 w 132"/>
                <a:gd name="T5" fmla="*/ 31976658 h 232"/>
                <a:gd name="T6" fmla="*/ 51443210 w 132"/>
                <a:gd name="T7" fmla="*/ 58299493 h 232"/>
                <a:gd name="T8" fmla="*/ 26510905 w 132"/>
                <a:gd name="T9" fmla="*/ 122107630 h 232"/>
                <a:gd name="T10" fmla="*/ 26510905 w 132"/>
                <a:gd name="T11" fmla="*/ 442759715 h 232"/>
                <a:gd name="T12" fmla="*/ 51443210 w 132"/>
                <a:gd name="T13" fmla="*/ 508305993 h 232"/>
                <a:gd name="T14" fmla="*/ 110103249 w 132"/>
                <a:gd name="T15" fmla="*/ 535913430 h 232"/>
                <a:gd name="T16" fmla="*/ 295891719 w 132"/>
                <a:gd name="T17" fmla="*/ 535913430 h 232"/>
                <a:gd name="T18" fmla="*/ 295891719 w 132"/>
                <a:gd name="T19" fmla="*/ 564828430 h 232"/>
                <a:gd name="T20" fmla="*/ 110103249 w 132"/>
                <a:gd name="T21" fmla="*/ 564828430 h 232"/>
                <a:gd name="T22" fmla="*/ 31262608 w 132"/>
                <a:gd name="T23" fmla="*/ 527724589 h 232"/>
                <a:gd name="T24" fmla="*/ 0 w 132"/>
                <a:gd name="T25" fmla="*/ 442759715 h 232"/>
                <a:gd name="T26" fmla="*/ 0 w 132"/>
                <a:gd name="T27" fmla="*/ 122107630 h 232"/>
                <a:gd name="T28" fmla="*/ 31262608 w 132"/>
                <a:gd name="T29" fmla="*/ 37103839 h 232"/>
                <a:gd name="T30" fmla="*/ 110103249 w 132"/>
                <a:gd name="T31" fmla="*/ 0 h 232"/>
                <a:gd name="T32" fmla="*/ 295891719 w 132"/>
                <a:gd name="T33" fmla="*/ 0 h 232"/>
                <a:gd name="T34" fmla="*/ 44482705 w 132"/>
                <a:gd name="T35" fmla="*/ 122107630 h 232"/>
                <a:gd name="T36" fmla="*/ 65404189 w 132"/>
                <a:gd name="T37" fmla="*/ 70832843 h 232"/>
                <a:gd name="T38" fmla="*/ 111981461 w 132"/>
                <a:gd name="T39" fmla="*/ 51413739 h 232"/>
                <a:gd name="T40" fmla="*/ 295891719 w 132"/>
                <a:gd name="T41" fmla="*/ 51413739 h 232"/>
                <a:gd name="T42" fmla="*/ 295891719 w 132"/>
                <a:gd name="T43" fmla="*/ 79781492 h 232"/>
                <a:gd name="T44" fmla="*/ 111981461 w 132"/>
                <a:gd name="T45" fmla="*/ 79781492 h 232"/>
                <a:gd name="T46" fmla="*/ 85443339 w 132"/>
                <a:gd name="T47" fmla="*/ 92335711 h 232"/>
                <a:gd name="T48" fmla="*/ 73893437 w 132"/>
                <a:gd name="T49" fmla="*/ 122107630 h 232"/>
                <a:gd name="T50" fmla="*/ 73893437 w 132"/>
                <a:gd name="T51" fmla="*/ 202009418 h 232"/>
                <a:gd name="T52" fmla="*/ 295891719 w 132"/>
                <a:gd name="T53" fmla="*/ 202009418 h 232"/>
                <a:gd name="T54" fmla="*/ 295891719 w 132"/>
                <a:gd name="T55" fmla="*/ 233836064 h 232"/>
                <a:gd name="T56" fmla="*/ 44482705 w 132"/>
                <a:gd name="T57" fmla="*/ 233836064 h 232"/>
                <a:gd name="T58" fmla="*/ 44482705 w 132"/>
                <a:gd name="T59" fmla="*/ 122107630 h 232"/>
                <a:gd name="T60" fmla="*/ 44482705 w 132"/>
                <a:gd name="T61" fmla="*/ 253283286 h 232"/>
                <a:gd name="T62" fmla="*/ 295891719 w 132"/>
                <a:gd name="T63" fmla="*/ 253283286 h 232"/>
                <a:gd name="T64" fmla="*/ 295891719 w 132"/>
                <a:gd name="T65" fmla="*/ 283050061 h 232"/>
                <a:gd name="T66" fmla="*/ 73893437 w 132"/>
                <a:gd name="T67" fmla="*/ 283050061 h 232"/>
                <a:gd name="T68" fmla="*/ 73893437 w 132"/>
                <a:gd name="T69" fmla="*/ 442759715 h 232"/>
                <a:gd name="T70" fmla="*/ 85443339 w 132"/>
                <a:gd name="T71" fmla="*/ 472485538 h 232"/>
                <a:gd name="T72" fmla="*/ 111981461 w 132"/>
                <a:gd name="T73" fmla="*/ 484506888 h 232"/>
                <a:gd name="T74" fmla="*/ 295891719 w 132"/>
                <a:gd name="T75" fmla="*/ 484506888 h 232"/>
                <a:gd name="T76" fmla="*/ 295891719 w 132"/>
                <a:gd name="T77" fmla="*/ 513431020 h 232"/>
                <a:gd name="T78" fmla="*/ 111981461 w 132"/>
                <a:gd name="T79" fmla="*/ 513431020 h 232"/>
                <a:gd name="T80" fmla="*/ 65404189 w 132"/>
                <a:gd name="T81" fmla="*/ 494012295 h 232"/>
                <a:gd name="T82" fmla="*/ 44482705 w 132"/>
                <a:gd name="T83" fmla="*/ 442759715 h 232"/>
                <a:gd name="T84" fmla="*/ 44482705 w 132"/>
                <a:gd name="T85" fmla="*/ 253283286 h 2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232">
                  <a:moveTo>
                    <a:pt x="132" y="0"/>
                  </a:moveTo>
                  <a:cubicBezTo>
                    <a:pt x="132" y="13"/>
                    <a:pt x="132" y="13"/>
                    <a:pt x="132" y="13"/>
                  </a:cubicBezTo>
                  <a:cubicBezTo>
                    <a:pt x="49" y="13"/>
                    <a:pt x="49" y="13"/>
                    <a:pt x="49" y="13"/>
                  </a:cubicBezTo>
                  <a:cubicBezTo>
                    <a:pt x="39" y="13"/>
                    <a:pt x="30" y="16"/>
                    <a:pt x="23" y="24"/>
                  </a:cubicBezTo>
                  <a:cubicBezTo>
                    <a:pt x="16" y="31"/>
                    <a:pt x="12" y="40"/>
                    <a:pt x="12" y="50"/>
                  </a:cubicBezTo>
                  <a:cubicBezTo>
                    <a:pt x="12" y="182"/>
                    <a:pt x="12" y="182"/>
                    <a:pt x="12" y="182"/>
                  </a:cubicBezTo>
                  <a:cubicBezTo>
                    <a:pt x="12" y="193"/>
                    <a:pt x="16" y="201"/>
                    <a:pt x="23" y="209"/>
                  </a:cubicBezTo>
                  <a:cubicBezTo>
                    <a:pt x="30" y="216"/>
                    <a:pt x="39" y="220"/>
                    <a:pt x="49" y="220"/>
                  </a:cubicBezTo>
                  <a:cubicBezTo>
                    <a:pt x="132" y="220"/>
                    <a:pt x="132" y="220"/>
                    <a:pt x="132" y="220"/>
                  </a:cubicBezTo>
                  <a:cubicBezTo>
                    <a:pt x="132" y="232"/>
                    <a:pt x="132" y="232"/>
                    <a:pt x="132" y="232"/>
                  </a:cubicBezTo>
                  <a:cubicBezTo>
                    <a:pt x="49" y="232"/>
                    <a:pt x="49" y="232"/>
                    <a:pt x="49" y="232"/>
                  </a:cubicBezTo>
                  <a:cubicBezTo>
                    <a:pt x="36" y="232"/>
                    <a:pt x="24" y="227"/>
                    <a:pt x="14" y="217"/>
                  </a:cubicBezTo>
                  <a:cubicBezTo>
                    <a:pt x="5" y="208"/>
                    <a:pt x="0" y="196"/>
                    <a:pt x="0" y="182"/>
                  </a:cubicBezTo>
                  <a:cubicBezTo>
                    <a:pt x="0" y="50"/>
                    <a:pt x="0" y="50"/>
                    <a:pt x="0" y="50"/>
                  </a:cubicBezTo>
                  <a:cubicBezTo>
                    <a:pt x="0" y="36"/>
                    <a:pt x="5" y="25"/>
                    <a:pt x="14" y="15"/>
                  </a:cubicBezTo>
                  <a:cubicBezTo>
                    <a:pt x="24" y="5"/>
                    <a:pt x="36" y="0"/>
                    <a:pt x="49" y="0"/>
                  </a:cubicBezTo>
                  <a:lnTo>
                    <a:pt x="132" y="0"/>
                  </a:lnTo>
                  <a:close/>
                  <a:moveTo>
                    <a:pt x="20" y="50"/>
                  </a:moveTo>
                  <a:cubicBezTo>
                    <a:pt x="20" y="42"/>
                    <a:pt x="23" y="35"/>
                    <a:pt x="29" y="29"/>
                  </a:cubicBezTo>
                  <a:cubicBezTo>
                    <a:pt x="35" y="24"/>
                    <a:pt x="42" y="21"/>
                    <a:pt x="50" y="21"/>
                  </a:cubicBezTo>
                  <a:cubicBezTo>
                    <a:pt x="132" y="21"/>
                    <a:pt x="132" y="21"/>
                    <a:pt x="132" y="21"/>
                  </a:cubicBezTo>
                  <a:cubicBezTo>
                    <a:pt x="132" y="33"/>
                    <a:pt x="132" y="33"/>
                    <a:pt x="132" y="33"/>
                  </a:cubicBezTo>
                  <a:cubicBezTo>
                    <a:pt x="50" y="33"/>
                    <a:pt x="50" y="33"/>
                    <a:pt x="50" y="33"/>
                  </a:cubicBezTo>
                  <a:cubicBezTo>
                    <a:pt x="45" y="33"/>
                    <a:pt x="41" y="35"/>
                    <a:pt x="38" y="38"/>
                  </a:cubicBezTo>
                  <a:cubicBezTo>
                    <a:pt x="35" y="42"/>
                    <a:pt x="33" y="45"/>
                    <a:pt x="33" y="50"/>
                  </a:cubicBezTo>
                  <a:cubicBezTo>
                    <a:pt x="33" y="83"/>
                    <a:pt x="33" y="83"/>
                    <a:pt x="33" y="83"/>
                  </a:cubicBezTo>
                  <a:cubicBezTo>
                    <a:pt x="132" y="83"/>
                    <a:pt x="132" y="83"/>
                    <a:pt x="132" y="83"/>
                  </a:cubicBezTo>
                  <a:cubicBezTo>
                    <a:pt x="132" y="96"/>
                    <a:pt x="132" y="96"/>
                    <a:pt x="132" y="96"/>
                  </a:cubicBezTo>
                  <a:cubicBezTo>
                    <a:pt x="20" y="96"/>
                    <a:pt x="20" y="96"/>
                    <a:pt x="20" y="96"/>
                  </a:cubicBezTo>
                  <a:lnTo>
                    <a:pt x="20" y="50"/>
                  </a:lnTo>
                  <a:close/>
                  <a:moveTo>
                    <a:pt x="20" y="104"/>
                  </a:moveTo>
                  <a:cubicBezTo>
                    <a:pt x="132" y="104"/>
                    <a:pt x="132" y="104"/>
                    <a:pt x="132" y="104"/>
                  </a:cubicBezTo>
                  <a:cubicBezTo>
                    <a:pt x="132" y="116"/>
                    <a:pt x="132" y="116"/>
                    <a:pt x="132" y="116"/>
                  </a:cubicBezTo>
                  <a:cubicBezTo>
                    <a:pt x="33" y="116"/>
                    <a:pt x="33" y="116"/>
                    <a:pt x="33" y="116"/>
                  </a:cubicBezTo>
                  <a:cubicBezTo>
                    <a:pt x="33" y="182"/>
                    <a:pt x="33" y="182"/>
                    <a:pt x="33" y="182"/>
                  </a:cubicBezTo>
                  <a:cubicBezTo>
                    <a:pt x="33" y="187"/>
                    <a:pt x="35" y="191"/>
                    <a:pt x="38" y="194"/>
                  </a:cubicBezTo>
                  <a:cubicBezTo>
                    <a:pt x="41" y="197"/>
                    <a:pt x="45" y="199"/>
                    <a:pt x="50" y="199"/>
                  </a:cubicBezTo>
                  <a:cubicBezTo>
                    <a:pt x="132" y="199"/>
                    <a:pt x="132" y="199"/>
                    <a:pt x="132" y="199"/>
                  </a:cubicBezTo>
                  <a:cubicBezTo>
                    <a:pt x="132" y="211"/>
                    <a:pt x="132" y="211"/>
                    <a:pt x="132" y="211"/>
                  </a:cubicBezTo>
                  <a:cubicBezTo>
                    <a:pt x="50" y="211"/>
                    <a:pt x="50" y="211"/>
                    <a:pt x="50" y="211"/>
                  </a:cubicBezTo>
                  <a:cubicBezTo>
                    <a:pt x="42" y="211"/>
                    <a:pt x="35" y="209"/>
                    <a:pt x="29" y="203"/>
                  </a:cubicBezTo>
                  <a:cubicBezTo>
                    <a:pt x="23" y="197"/>
                    <a:pt x="20" y="190"/>
                    <a:pt x="20" y="182"/>
                  </a:cubicBezTo>
                  <a:lnTo>
                    <a:pt x="20" y="104"/>
                  </a:lnTo>
                  <a:close/>
                </a:path>
              </a:pathLst>
            </a:custGeom>
            <a:solidFill>
              <a:srgbClr val="F29B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9" name="TextBox 23">
            <a:extLst>
              <a:ext uri="{FF2B5EF4-FFF2-40B4-BE49-F238E27FC236}">
                <a16:creationId xmlns:a16="http://schemas.microsoft.com/office/drawing/2014/main" id="{9D78C22F-5AF6-196D-E87E-B37A43E6A9A3}"/>
              </a:ext>
            </a:extLst>
          </p:cNvPr>
          <p:cNvSpPr txBox="1">
            <a:spLocks noChangeArrowheads="1"/>
          </p:cNvSpPr>
          <p:nvPr/>
        </p:nvSpPr>
        <p:spPr bwMode="auto">
          <a:xfrm>
            <a:off x="11345863" y="6402388"/>
            <a:ext cx="354012" cy="261937"/>
          </a:xfrm>
          <a:prstGeom prst="rect">
            <a:avLst/>
          </a:prstGeom>
          <a:noFill/>
          <a:ln>
            <a:noFill/>
          </a:ln>
        </p:spPr>
        <p:txBody>
          <a:bodyPr wrap="none">
            <a:spAutoFit/>
          </a:bodyPr>
          <a:lstStyle>
            <a:lvl1pPr>
              <a:defRPr>
                <a:solidFill>
                  <a:schemeClr val="tx1"/>
                </a:solidFill>
                <a:latin typeface="Lato Light" panose="020F0502020204030203" pitchFamily="34" charset="0"/>
              </a:defRPr>
            </a:lvl1pPr>
            <a:lvl2pPr marL="742950" indent="-285750">
              <a:defRPr>
                <a:solidFill>
                  <a:schemeClr val="tx1"/>
                </a:solidFill>
                <a:latin typeface="Lato Light" panose="020F0502020204030203" pitchFamily="34" charset="0"/>
              </a:defRPr>
            </a:lvl2pPr>
            <a:lvl3pPr marL="1143000" indent="-228600">
              <a:defRPr>
                <a:solidFill>
                  <a:schemeClr val="tx1"/>
                </a:solidFill>
                <a:latin typeface="Lato Light" panose="020F0502020204030203" pitchFamily="34" charset="0"/>
              </a:defRPr>
            </a:lvl3pPr>
            <a:lvl4pPr marL="1600200" indent="-228600">
              <a:defRPr>
                <a:solidFill>
                  <a:schemeClr val="tx1"/>
                </a:solidFill>
                <a:latin typeface="Lato Light" panose="020F0502020204030203" pitchFamily="34" charset="0"/>
              </a:defRPr>
            </a:lvl4pPr>
            <a:lvl5pPr marL="2057400" indent="-228600">
              <a:defRPr>
                <a:solidFill>
                  <a:schemeClr val="tx1"/>
                </a:solidFill>
                <a:latin typeface="Lato Light" panose="020F0502020204030203" pitchFamily="34" charset="0"/>
              </a:defRPr>
            </a:lvl5pPr>
            <a:lvl6pPr marL="2514600" indent="-228600" eaLnBrk="0" fontAlgn="base" hangingPunct="0">
              <a:spcBef>
                <a:spcPct val="0"/>
              </a:spcBef>
              <a:spcAft>
                <a:spcPct val="0"/>
              </a:spcAft>
              <a:defRPr>
                <a:solidFill>
                  <a:schemeClr val="tx1"/>
                </a:solidFill>
                <a:latin typeface="Lato Light" panose="020F0502020204030203" pitchFamily="34" charset="0"/>
              </a:defRPr>
            </a:lvl6pPr>
            <a:lvl7pPr marL="2971800" indent="-228600" eaLnBrk="0" fontAlgn="base" hangingPunct="0">
              <a:spcBef>
                <a:spcPct val="0"/>
              </a:spcBef>
              <a:spcAft>
                <a:spcPct val="0"/>
              </a:spcAft>
              <a:defRPr>
                <a:solidFill>
                  <a:schemeClr val="tx1"/>
                </a:solidFill>
                <a:latin typeface="Lato Light" panose="020F0502020204030203" pitchFamily="34" charset="0"/>
              </a:defRPr>
            </a:lvl7pPr>
            <a:lvl8pPr marL="3429000" indent="-228600" eaLnBrk="0" fontAlgn="base" hangingPunct="0">
              <a:spcBef>
                <a:spcPct val="0"/>
              </a:spcBef>
              <a:spcAft>
                <a:spcPct val="0"/>
              </a:spcAft>
              <a:defRPr>
                <a:solidFill>
                  <a:schemeClr val="tx1"/>
                </a:solidFill>
                <a:latin typeface="Lato Light" panose="020F0502020204030203" pitchFamily="34" charset="0"/>
              </a:defRPr>
            </a:lvl8pPr>
            <a:lvl9pPr marL="3886200" indent="-228600" eaLnBrk="0" fontAlgn="base" hangingPunct="0">
              <a:spcBef>
                <a:spcPct val="0"/>
              </a:spcBef>
              <a:spcAft>
                <a:spcPct val="0"/>
              </a:spcAft>
              <a:defRPr>
                <a:solidFill>
                  <a:schemeClr val="tx1"/>
                </a:solidFill>
                <a:latin typeface="Lato Light" panose="020F0502020204030203" pitchFamily="34" charset="0"/>
              </a:defRPr>
            </a:lvl9pPr>
          </a:lstStyle>
          <a:p>
            <a:pPr algn="ctr" eaLnBrk="1" hangingPunct="1">
              <a:defRPr/>
            </a:pPr>
            <a:fld id="{C58F7399-83E8-452E-84F2-46FF16CE2881}" type="slidenum">
              <a:rPr lang="en-US" altLang="tr-TR" sz="1100" smtClean="0">
                <a:solidFill>
                  <a:schemeClr val="tx2"/>
                </a:solidFill>
              </a:rPr>
              <a:pPr algn="ctr" eaLnBrk="1" hangingPunct="1">
                <a:defRPr/>
              </a:pPr>
              <a:t>‹#›</a:t>
            </a:fld>
            <a:endParaRPr lang="en-US" altLang="tr-TR" sz="1100">
              <a:solidFill>
                <a:schemeClr val="tx2"/>
              </a:solidFill>
            </a:endParaRPr>
          </a:p>
        </p:txBody>
      </p:sp>
      <p:sp>
        <p:nvSpPr>
          <p:cNvPr id="7" name="Picture Placeholder 3"/>
          <p:cNvSpPr>
            <a:spLocks noGrp="1"/>
          </p:cNvSpPr>
          <p:nvPr>
            <p:ph type="pic" sz="quarter" idx="18"/>
          </p:nvPr>
        </p:nvSpPr>
        <p:spPr>
          <a:xfrm>
            <a:off x="727710" y="1797085"/>
            <a:ext cx="10736580" cy="2833250"/>
          </a:xfrm>
        </p:spPr>
        <p:txBody>
          <a:bodyPr rtlCol="0">
            <a:normAutofit/>
          </a:bodyPr>
          <a:lstStyle>
            <a:lvl1pPr>
              <a:defRPr sz="1600">
                <a:solidFill>
                  <a:schemeClr val="accent2"/>
                </a:solidFill>
              </a:defRPr>
            </a:lvl1pPr>
          </a:lstStyle>
          <a:p>
            <a:pPr lvl="0"/>
            <a:r>
              <a:rPr lang="tr-TR" noProof="0"/>
              <a:t>Resim eklemek için simgeyi tıklatın</a:t>
            </a:r>
            <a:endParaRPr lang="id-ID" noProof="0"/>
          </a:p>
        </p:txBody>
      </p:sp>
    </p:spTree>
    <p:extLst>
      <p:ext uri="{BB962C8B-B14F-4D97-AF65-F5344CB8AC3E}">
        <p14:creationId xmlns:p14="http://schemas.microsoft.com/office/powerpoint/2010/main" val="40841963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rotWithShape="1">
          <a:gsLst>
            <a:gs pos="0">
              <a:srgbClr val="FFFFFF"/>
            </a:gs>
            <a:gs pos="42000">
              <a:srgbClr val="FFFFFF"/>
            </a:gs>
            <a:gs pos="100000">
              <a:srgbClr val="F2F2F2"/>
            </a:gs>
          </a:gsLst>
          <a:lin ang="5400000"/>
        </a:gra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BC53D8C2-7F33-BAF4-8152-CEB42855CA97}"/>
              </a:ext>
            </a:extLst>
          </p:cNvPr>
          <p:cNvSpPr>
            <a:spLocks noGrp="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tr-TR" altLang="tr-TR"/>
              <a:t>Asıl başlık stili için tıklatın</a:t>
            </a:r>
            <a:endParaRPr lang="en-US" altLang="tr-TR"/>
          </a:p>
        </p:txBody>
      </p:sp>
      <p:sp>
        <p:nvSpPr>
          <p:cNvPr id="1027" name="Text Placeholder 2">
            <a:extLst>
              <a:ext uri="{FF2B5EF4-FFF2-40B4-BE49-F238E27FC236}">
                <a16:creationId xmlns:a16="http://schemas.microsoft.com/office/drawing/2014/main" id="{95FFFD97-035C-FBA9-1124-78D44658F321}"/>
              </a:ext>
            </a:extLst>
          </p:cNvPr>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tr-TR" altLang="tr-TR"/>
              <a:t>Asıl metin stillerini düzenle</a:t>
            </a:r>
          </a:p>
          <a:p>
            <a:pPr lvl="1"/>
            <a:r>
              <a:rPr lang="tr-TR" altLang="tr-TR"/>
              <a:t>İkinci düzey</a:t>
            </a:r>
          </a:p>
          <a:p>
            <a:pPr lvl="2"/>
            <a:r>
              <a:rPr lang="tr-TR" altLang="tr-TR"/>
              <a:t>Üçüncü düzey</a:t>
            </a:r>
          </a:p>
          <a:p>
            <a:pPr lvl="3"/>
            <a:r>
              <a:rPr lang="tr-TR" altLang="tr-TR"/>
              <a:t>Dördüncü düzey</a:t>
            </a:r>
          </a:p>
          <a:p>
            <a:pPr lvl="4"/>
            <a:r>
              <a:rPr lang="tr-TR" altLang="tr-TR"/>
              <a:t>Beşinci düzey</a:t>
            </a:r>
            <a:endParaRPr lang="en-US" altLang="tr-TR"/>
          </a:p>
        </p:txBody>
      </p:sp>
      <p:sp>
        <p:nvSpPr>
          <p:cNvPr id="4" name="Date Placeholder 3">
            <a:extLst>
              <a:ext uri="{FF2B5EF4-FFF2-40B4-BE49-F238E27FC236}">
                <a16:creationId xmlns:a16="http://schemas.microsoft.com/office/drawing/2014/main" id="{48A1870A-13CE-152F-5DBC-C748C62BB57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a:defRPr/>
            </a:pPr>
            <a:endParaRPr lang="en-US"/>
          </a:p>
        </p:txBody>
      </p:sp>
      <p:sp>
        <p:nvSpPr>
          <p:cNvPr id="5" name="Footer Placeholder 4">
            <a:extLst>
              <a:ext uri="{FF2B5EF4-FFF2-40B4-BE49-F238E27FC236}">
                <a16:creationId xmlns:a16="http://schemas.microsoft.com/office/drawing/2014/main" id="{AE655FBE-E3BC-7B9E-B4CA-85D49C3E65D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n-US"/>
          </a:p>
        </p:txBody>
      </p:sp>
      <p:sp>
        <p:nvSpPr>
          <p:cNvPr id="6" name="Slide Number Placeholder 5">
            <a:extLst>
              <a:ext uri="{FF2B5EF4-FFF2-40B4-BE49-F238E27FC236}">
                <a16:creationId xmlns:a16="http://schemas.microsoft.com/office/drawing/2014/main" id="{9D133F23-C70A-9BCA-02CA-3EA4697B1A8C}"/>
              </a:ext>
            </a:extLst>
          </p:cNvPr>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A44ACA76-16BD-4F58-AC08-307B8E68CBDA}" type="slidenum">
              <a:rPr lang="en-US" altLang="tr-TR"/>
              <a:pPr>
                <a:defRPr/>
              </a:pPr>
              <a:t>‹#›</a:t>
            </a:fld>
            <a:endParaRPr lang="en-US" altLang="tr-TR"/>
          </a:p>
        </p:txBody>
      </p: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84" r:id="rId6"/>
    <p:sldLayoutId id="2147484485" r:id="rId7"/>
    <p:sldLayoutId id="2147484486" r:id="rId8"/>
    <p:sldLayoutId id="2147484487" r:id="rId9"/>
    <p:sldLayoutId id="2147484488" r:id="rId10"/>
    <p:sldLayoutId id="2147484489" r:id="rId11"/>
    <p:sldLayoutId id="2147484490" r:id="rId12"/>
    <p:sldLayoutId id="2147484491" r:id="rId13"/>
    <p:sldLayoutId id="2147484492" r:id="rId14"/>
    <p:sldLayoutId id="2147484493" r:id="rId15"/>
    <p:sldLayoutId id="2147484494" r:id="rId16"/>
    <p:sldLayoutId id="2147484495" r:id="rId17"/>
    <p:sldLayoutId id="2147484496" r:id="rId18"/>
    <p:sldLayoutId id="2147484497" r:id="rId19"/>
    <p:sldLayoutId id="2147484498" r:id="rId20"/>
    <p:sldLayoutId id="2147484499" r:id="rId21"/>
    <p:sldLayoutId id="2147484479" r:id="rId22"/>
    <p:sldLayoutId id="2147484480" r:id="rId23"/>
    <p:sldLayoutId id="2147484481" r:id="rId24"/>
    <p:sldLayoutId id="2147484482" r:id="rId25"/>
    <p:sldLayoutId id="2147484483" r:id="rId26"/>
    <p:sldLayoutId id="2147484500" r:id="rId27"/>
    <p:sldLayoutId id="2147484501" r:id="rId28"/>
  </p:sldLayoutIdLst>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hf hdr="0" ftr="0" dt="0"/>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Lato Regular"/>
        </a:defRPr>
      </a:lvl2pPr>
      <a:lvl3pPr algn="l" rtl="0" eaLnBrk="0" fontAlgn="base" hangingPunct="0">
        <a:lnSpc>
          <a:spcPct val="90000"/>
        </a:lnSpc>
        <a:spcBef>
          <a:spcPct val="0"/>
        </a:spcBef>
        <a:spcAft>
          <a:spcPct val="0"/>
        </a:spcAft>
        <a:defRPr sz="4400">
          <a:solidFill>
            <a:schemeClr val="tx1"/>
          </a:solidFill>
          <a:latin typeface="Lato Regular"/>
        </a:defRPr>
      </a:lvl3pPr>
      <a:lvl4pPr algn="l" rtl="0" eaLnBrk="0" fontAlgn="base" hangingPunct="0">
        <a:lnSpc>
          <a:spcPct val="90000"/>
        </a:lnSpc>
        <a:spcBef>
          <a:spcPct val="0"/>
        </a:spcBef>
        <a:spcAft>
          <a:spcPct val="0"/>
        </a:spcAft>
        <a:defRPr sz="4400">
          <a:solidFill>
            <a:schemeClr val="tx1"/>
          </a:solidFill>
          <a:latin typeface="Lato Regular"/>
        </a:defRPr>
      </a:lvl4pPr>
      <a:lvl5pPr algn="l" rtl="0" eaLnBrk="0" fontAlgn="base" hangingPunct="0">
        <a:lnSpc>
          <a:spcPct val="90000"/>
        </a:lnSpc>
        <a:spcBef>
          <a:spcPct val="0"/>
        </a:spcBef>
        <a:spcAft>
          <a:spcPct val="0"/>
        </a:spcAft>
        <a:defRPr sz="4400">
          <a:solidFill>
            <a:schemeClr val="tx1"/>
          </a:solidFill>
          <a:latin typeface="Lato Regular"/>
        </a:defRPr>
      </a:lvl5pPr>
      <a:lvl6pPr marL="457200" algn="l" rtl="0" fontAlgn="base">
        <a:lnSpc>
          <a:spcPct val="90000"/>
        </a:lnSpc>
        <a:spcBef>
          <a:spcPct val="0"/>
        </a:spcBef>
        <a:spcAft>
          <a:spcPct val="0"/>
        </a:spcAft>
        <a:defRPr sz="4400">
          <a:solidFill>
            <a:schemeClr val="tx1"/>
          </a:solidFill>
          <a:latin typeface="Lato Regular"/>
        </a:defRPr>
      </a:lvl6pPr>
      <a:lvl7pPr marL="914400" algn="l" rtl="0" fontAlgn="base">
        <a:lnSpc>
          <a:spcPct val="90000"/>
        </a:lnSpc>
        <a:spcBef>
          <a:spcPct val="0"/>
        </a:spcBef>
        <a:spcAft>
          <a:spcPct val="0"/>
        </a:spcAft>
        <a:defRPr sz="4400">
          <a:solidFill>
            <a:schemeClr val="tx1"/>
          </a:solidFill>
          <a:latin typeface="Lato Regular"/>
        </a:defRPr>
      </a:lvl7pPr>
      <a:lvl8pPr marL="1371600" algn="l" rtl="0" fontAlgn="base">
        <a:lnSpc>
          <a:spcPct val="90000"/>
        </a:lnSpc>
        <a:spcBef>
          <a:spcPct val="0"/>
        </a:spcBef>
        <a:spcAft>
          <a:spcPct val="0"/>
        </a:spcAft>
        <a:defRPr sz="4400">
          <a:solidFill>
            <a:schemeClr val="tx1"/>
          </a:solidFill>
          <a:latin typeface="Lato Regular"/>
        </a:defRPr>
      </a:lvl8pPr>
      <a:lvl9pPr marL="1828800" algn="l" rtl="0" fontAlgn="base">
        <a:lnSpc>
          <a:spcPct val="90000"/>
        </a:lnSpc>
        <a:spcBef>
          <a:spcPct val="0"/>
        </a:spcBef>
        <a:spcAft>
          <a:spcPct val="0"/>
        </a:spcAft>
        <a:defRPr sz="4400">
          <a:solidFill>
            <a:schemeClr val="tx1"/>
          </a:solidFill>
          <a:latin typeface="Lato Regular"/>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audio" Target="../media/media1.m4a"/><Relationship Id="rId1" Type="http://schemas.microsoft.com/office/2007/relationships/media" Target="../media/media1.m4a"/><Relationship Id="rId5" Type="http://schemas.openxmlformats.org/officeDocument/2006/relationships/image" Target="../media/image2.png"/><Relationship Id="rId4" Type="http://schemas.openxmlformats.org/officeDocument/2006/relationships/image" Target="../media/image1.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wmf"/><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2.xml"/><Relationship Id="rId1" Type="http://schemas.openxmlformats.org/officeDocument/2006/relationships/tags" Target="../tags/tag1.xml"/></Relationships>
</file>

<file path=ppt/slides/_rels/slide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Resim 10" descr="metin içeren bir resim&#10;&#10;Açıklama otomatik olarak oluşturuldu">
            <a:extLst>
              <a:ext uri="{FF2B5EF4-FFF2-40B4-BE49-F238E27FC236}">
                <a16:creationId xmlns:a16="http://schemas.microsoft.com/office/drawing/2014/main" id="{402EE581-E784-4E75-A03A-80465CC115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videoplayback">
            <a:hlinkClick r:id="" action="ppaction://media"/>
            <a:extLst>
              <a:ext uri="{FF2B5EF4-FFF2-40B4-BE49-F238E27FC236}">
                <a16:creationId xmlns:a16="http://schemas.microsoft.com/office/drawing/2014/main" id="{90FD8229-C5EF-627A-BA14-2F34535B0863}"/>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883586" y="5262572"/>
            <a:ext cx="730250" cy="730250"/>
          </a:xfrm>
          <a:prstGeom prst="rect">
            <a:avLst/>
          </a:prstGeom>
        </p:spPr>
      </p:pic>
    </p:spTree>
    <p:extLst>
      <p:ext uri="{BB962C8B-B14F-4D97-AF65-F5344CB8AC3E}">
        <p14:creationId xmlns:p14="http://schemas.microsoft.com/office/powerpoint/2010/main" val="217882493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250" advTm="5000">
        <p15:prstTrans prst="curtains"/>
      </p:transition>
    </mc:Choice>
    <mc:Fallback xmlns="">
      <p:transition spd="slow" advTm="5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numSld="999" showWhenStopped="0">
                <p:cTn id="7" repeatCount="indefinite" fill="hold" display="0">
                  <p:stCondLst>
                    <p:cond delay="indefinite"/>
                  </p:stCondLst>
                  <p:endCondLst>
                    <p:cond evt="onStopAudio" delay="0">
                      <p:tgtEl>
                        <p:sldTgt/>
                      </p:tgtEl>
                    </p:cond>
                  </p:endCondLst>
                </p:cTn>
                <p:tgtEl>
                  <p:spTgt spid="3"/>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ayt Numarası Yer Tutucusu 1">
            <a:extLst>
              <a:ext uri="{FF2B5EF4-FFF2-40B4-BE49-F238E27FC236}">
                <a16:creationId xmlns:a16="http://schemas.microsoft.com/office/drawing/2014/main" id="{F48A5115-ED80-4228-4987-A090BD1F6DF3}"/>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nSpc>
                <a:spcPct val="100000"/>
              </a:lnSpc>
              <a:spcBef>
                <a:spcPct val="0"/>
              </a:spcBef>
              <a:buFontTx/>
              <a:buNone/>
            </a:pPr>
            <a:fld id="{20820D7C-8811-402E-B2B0-AF20B330DE52}" type="slidenum">
              <a:rPr lang="en-US" altLang="tr-TR" sz="1200" smtClean="0">
                <a:solidFill>
                  <a:srgbClr val="898989"/>
                </a:solidFill>
              </a:rPr>
              <a:pPr>
                <a:lnSpc>
                  <a:spcPct val="100000"/>
                </a:lnSpc>
                <a:spcBef>
                  <a:spcPct val="0"/>
                </a:spcBef>
                <a:buFontTx/>
                <a:buNone/>
              </a:pPr>
              <a:t>10</a:t>
            </a:fld>
            <a:endParaRPr lang="en-US" altLang="tr-TR" sz="1200">
              <a:solidFill>
                <a:srgbClr val="898989"/>
              </a:solidFill>
            </a:endParaRPr>
          </a:p>
        </p:txBody>
      </p:sp>
      <p:sp>
        <p:nvSpPr>
          <p:cNvPr id="31747" name="Rectangle 46">
            <a:extLst>
              <a:ext uri="{FF2B5EF4-FFF2-40B4-BE49-F238E27FC236}">
                <a16:creationId xmlns:a16="http://schemas.microsoft.com/office/drawing/2014/main" id="{5248A5D8-8D99-3899-E5C4-885DE7586393}"/>
              </a:ext>
            </a:extLst>
          </p:cNvPr>
          <p:cNvSpPr>
            <a:spLocks noChangeArrowheads="1"/>
          </p:cNvSpPr>
          <p:nvPr/>
        </p:nvSpPr>
        <p:spPr bwMode="auto">
          <a:xfrm>
            <a:off x="2244725" y="865188"/>
            <a:ext cx="992188"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just" eaLnBrk="1" hangingPunct="1">
              <a:lnSpc>
                <a:spcPct val="100000"/>
              </a:lnSpc>
              <a:spcBef>
                <a:spcPct val="0"/>
              </a:spcBef>
              <a:buClr>
                <a:srgbClr val="E24848"/>
              </a:buClr>
              <a:buFontTx/>
              <a:buNone/>
            </a:pPr>
            <a:r>
              <a:rPr lang="tr-TR" altLang="tr-TR" sz="3600" b="1" noProof="1">
                <a:latin typeface="Open Sans"/>
                <a:ea typeface="Open Sans"/>
                <a:cs typeface="Open Sans"/>
              </a:rPr>
              <a:t>129</a:t>
            </a:r>
            <a:endParaRPr lang="tr-TR" altLang="tr-TR" sz="3600" b="1" noProof="1">
              <a:latin typeface="Open Sans" panose="020B0606030504020204" pitchFamily="34" charset="0"/>
              <a:cs typeface="Open Sans" panose="020B0606030504020204" pitchFamily="34" charset="0"/>
            </a:endParaRPr>
          </a:p>
        </p:txBody>
      </p:sp>
      <p:sp>
        <p:nvSpPr>
          <p:cNvPr id="31748" name="Content Placeholder 2">
            <a:extLst>
              <a:ext uri="{FF2B5EF4-FFF2-40B4-BE49-F238E27FC236}">
                <a16:creationId xmlns:a16="http://schemas.microsoft.com/office/drawing/2014/main" id="{9D8EC17F-5BE3-273E-455B-02FD6A74E3C2}"/>
              </a:ext>
            </a:extLst>
          </p:cNvPr>
          <p:cNvSpPr txBox="1">
            <a:spLocks noChangeArrowheads="1"/>
          </p:cNvSpPr>
          <p:nvPr/>
        </p:nvSpPr>
        <p:spPr bwMode="auto">
          <a:xfrm>
            <a:off x="912813" y="1589088"/>
            <a:ext cx="1930400" cy="48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ctr" eaLnBrk="1" hangingPunct="1">
              <a:lnSpc>
                <a:spcPct val="100000"/>
              </a:lnSpc>
              <a:spcBef>
                <a:spcPct val="0"/>
              </a:spcBef>
              <a:buFontTx/>
              <a:buNone/>
            </a:pPr>
            <a:r>
              <a:rPr lang="tr-TR" altLang="tr-TR" sz="1600" b="1">
                <a:solidFill>
                  <a:srgbClr val="404040"/>
                </a:solidFill>
                <a:latin typeface="Open Sans" panose="020B0606030504020204" pitchFamily="34" charset="0"/>
                <a:cs typeface="Open Sans" panose="020B0606030504020204" pitchFamily="34" charset="0"/>
              </a:rPr>
              <a:t>Kadrolu Toplam </a:t>
            </a:r>
          </a:p>
          <a:p>
            <a:pPr algn="ctr" eaLnBrk="1" hangingPunct="1">
              <a:lnSpc>
                <a:spcPct val="100000"/>
              </a:lnSpc>
              <a:spcBef>
                <a:spcPct val="0"/>
              </a:spcBef>
              <a:buFontTx/>
              <a:buNone/>
            </a:pPr>
            <a:r>
              <a:rPr lang="tr-TR" altLang="tr-TR" sz="1600" b="1">
                <a:solidFill>
                  <a:srgbClr val="404040"/>
                </a:solidFill>
                <a:latin typeface="Open Sans" panose="020B0606030504020204" pitchFamily="34" charset="0"/>
                <a:cs typeface="Open Sans" panose="020B0606030504020204" pitchFamily="34" charset="0"/>
              </a:rPr>
              <a:t>Personel Sayısı</a:t>
            </a:r>
            <a:endParaRPr lang="en-US" altLang="tr-TR" sz="1600" b="1">
              <a:solidFill>
                <a:srgbClr val="262626"/>
              </a:solidFill>
              <a:latin typeface="Open Sans" panose="020B0606030504020204" pitchFamily="34" charset="0"/>
              <a:cs typeface="Open Sans" panose="020B0606030504020204" pitchFamily="34" charset="0"/>
            </a:endParaRPr>
          </a:p>
        </p:txBody>
      </p:sp>
      <p:grpSp>
        <p:nvGrpSpPr>
          <p:cNvPr id="31749" name="Grup 24">
            <a:extLst>
              <a:ext uri="{FF2B5EF4-FFF2-40B4-BE49-F238E27FC236}">
                <a16:creationId xmlns:a16="http://schemas.microsoft.com/office/drawing/2014/main" id="{7D0FC4F6-3C21-CC57-BEFA-28A70F8B89E2}"/>
              </a:ext>
            </a:extLst>
          </p:cNvPr>
          <p:cNvGrpSpPr>
            <a:grpSpLocks/>
          </p:cNvGrpSpPr>
          <p:nvPr/>
        </p:nvGrpSpPr>
        <p:grpSpPr bwMode="auto">
          <a:xfrm>
            <a:off x="992188" y="996950"/>
            <a:ext cx="1831975" cy="546100"/>
            <a:chOff x="6819900" y="1426914"/>
            <a:chExt cx="1831465" cy="545825"/>
          </a:xfrm>
        </p:grpSpPr>
        <p:cxnSp>
          <p:nvCxnSpPr>
            <p:cNvPr id="11" name="Straight Connector 61">
              <a:extLst>
                <a:ext uri="{FF2B5EF4-FFF2-40B4-BE49-F238E27FC236}">
                  <a16:creationId xmlns:a16="http://schemas.microsoft.com/office/drawing/2014/main" id="{4E6E3F35-D4A9-F979-63BF-9160915A6E83}"/>
                </a:ext>
              </a:extLst>
            </p:cNvPr>
            <p:cNvCxnSpPr/>
            <p:nvPr/>
          </p:nvCxnSpPr>
          <p:spPr>
            <a:xfrm>
              <a:off x="6819900" y="1885471"/>
              <a:ext cx="1831465" cy="47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 name="Right Triangle 62">
              <a:extLst>
                <a:ext uri="{FF2B5EF4-FFF2-40B4-BE49-F238E27FC236}">
                  <a16:creationId xmlns:a16="http://schemas.microsoft.com/office/drawing/2014/main" id="{52FACF24-49C1-E776-C27B-7BB7C1ED9B5D}"/>
                </a:ext>
              </a:extLst>
            </p:cNvPr>
            <p:cNvSpPr/>
            <p:nvPr/>
          </p:nvSpPr>
          <p:spPr>
            <a:xfrm rot="13500000" flipV="1">
              <a:off x="7546773" y="1802963"/>
              <a:ext cx="168228" cy="169776"/>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1846" name="AutoShape 17">
              <a:extLst>
                <a:ext uri="{FF2B5EF4-FFF2-40B4-BE49-F238E27FC236}">
                  <a16:creationId xmlns:a16="http://schemas.microsoft.com/office/drawing/2014/main" id="{59DE1556-A5EB-C615-48EA-6C01705F24B6}"/>
                </a:ext>
              </a:extLst>
            </p:cNvPr>
            <p:cNvSpPr>
              <a:spLocks/>
            </p:cNvSpPr>
            <p:nvPr/>
          </p:nvSpPr>
          <p:spPr bwMode="auto">
            <a:xfrm>
              <a:off x="7271259" y="1426914"/>
              <a:ext cx="719063" cy="40734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0 h 21600"/>
                <a:gd name="T12" fmla="*/ 2147483646 w 21600"/>
                <a:gd name="T13" fmla="*/ 0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0 w 21600"/>
                <a:gd name="T27" fmla="*/ 2147483646 h 21600"/>
                <a:gd name="T28" fmla="*/ 0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0 h 21600"/>
                <a:gd name="T52" fmla="*/ 2147483646 w 21600"/>
                <a:gd name="T53" fmla="*/ 0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0 h 21600"/>
                <a:gd name="T88" fmla="*/ 2147483646 w 21600"/>
                <a:gd name="T89" fmla="*/ 0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1600" h="21600">
                  <a:moveTo>
                    <a:pt x="6383" y="11316"/>
                  </a:moveTo>
                  <a:cubicBezTo>
                    <a:pt x="6352" y="11293"/>
                    <a:pt x="6334" y="11238"/>
                    <a:pt x="6334" y="11175"/>
                  </a:cubicBezTo>
                  <a:lnTo>
                    <a:pt x="6334" y="7852"/>
                  </a:lnTo>
                  <a:cubicBezTo>
                    <a:pt x="6569" y="7570"/>
                    <a:pt x="6728" y="7101"/>
                    <a:pt x="6728" y="6553"/>
                  </a:cubicBezTo>
                  <a:lnTo>
                    <a:pt x="6728" y="3104"/>
                  </a:lnTo>
                  <a:cubicBezTo>
                    <a:pt x="6728" y="1391"/>
                    <a:pt x="5939" y="0"/>
                    <a:pt x="4969" y="0"/>
                  </a:cubicBezTo>
                  <a:lnTo>
                    <a:pt x="4544" y="0"/>
                  </a:lnTo>
                  <a:cubicBezTo>
                    <a:pt x="3573" y="0"/>
                    <a:pt x="2783" y="1391"/>
                    <a:pt x="2783" y="3104"/>
                  </a:cubicBezTo>
                  <a:lnTo>
                    <a:pt x="2783" y="6553"/>
                  </a:lnTo>
                  <a:cubicBezTo>
                    <a:pt x="2783" y="7093"/>
                    <a:pt x="2938" y="7570"/>
                    <a:pt x="3178" y="7852"/>
                  </a:cubicBezTo>
                  <a:lnTo>
                    <a:pt x="3178" y="11175"/>
                  </a:lnTo>
                  <a:cubicBezTo>
                    <a:pt x="3178" y="11238"/>
                    <a:pt x="3161" y="11284"/>
                    <a:pt x="3129" y="11316"/>
                  </a:cubicBezTo>
                  <a:cubicBezTo>
                    <a:pt x="2863" y="11542"/>
                    <a:pt x="1555" y="12708"/>
                    <a:pt x="345" y="14468"/>
                  </a:cubicBezTo>
                  <a:cubicBezTo>
                    <a:pt x="128" y="14788"/>
                    <a:pt x="0" y="15257"/>
                    <a:pt x="0" y="15758"/>
                  </a:cubicBezTo>
                  <a:lnTo>
                    <a:pt x="0" y="18120"/>
                  </a:lnTo>
                  <a:lnTo>
                    <a:pt x="4300" y="18120"/>
                  </a:lnTo>
                  <a:cubicBezTo>
                    <a:pt x="4384" y="17322"/>
                    <a:pt x="4628" y="16595"/>
                    <a:pt x="4991" y="16071"/>
                  </a:cubicBezTo>
                  <a:cubicBezTo>
                    <a:pt x="6024" y="14569"/>
                    <a:pt x="7119" y="13412"/>
                    <a:pt x="7810" y="12739"/>
                  </a:cubicBezTo>
                  <a:cubicBezTo>
                    <a:pt x="7114" y="11957"/>
                    <a:pt x="6547" y="11457"/>
                    <a:pt x="6383" y="11316"/>
                  </a:cubicBezTo>
                  <a:close/>
                  <a:moveTo>
                    <a:pt x="21241" y="14468"/>
                  </a:moveTo>
                  <a:cubicBezTo>
                    <a:pt x="20030" y="12708"/>
                    <a:pt x="18723" y="11542"/>
                    <a:pt x="18457" y="11316"/>
                  </a:cubicBezTo>
                  <a:cubicBezTo>
                    <a:pt x="18426" y="11293"/>
                    <a:pt x="18408" y="11238"/>
                    <a:pt x="18408" y="11175"/>
                  </a:cubicBezTo>
                  <a:lnTo>
                    <a:pt x="18408" y="7852"/>
                  </a:lnTo>
                  <a:cubicBezTo>
                    <a:pt x="18643" y="7570"/>
                    <a:pt x="18802" y="7101"/>
                    <a:pt x="18802" y="6553"/>
                  </a:cubicBezTo>
                  <a:lnTo>
                    <a:pt x="18802" y="3104"/>
                  </a:lnTo>
                  <a:cubicBezTo>
                    <a:pt x="18802" y="1391"/>
                    <a:pt x="18014" y="0"/>
                    <a:pt x="17043" y="0"/>
                  </a:cubicBezTo>
                  <a:lnTo>
                    <a:pt x="16626" y="0"/>
                  </a:lnTo>
                  <a:cubicBezTo>
                    <a:pt x="15655" y="0"/>
                    <a:pt x="14867" y="1391"/>
                    <a:pt x="14867" y="3104"/>
                  </a:cubicBezTo>
                  <a:lnTo>
                    <a:pt x="14867" y="6553"/>
                  </a:lnTo>
                  <a:cubicBezTo>
                    <a:pt x="14867" y="7093"/>
                    <a:pt x="15022" y="7570"/>
                    <a:pt x="15261" y="7852"/>
                  </a:cubicBezTo>
                  <a:lnTo>
                    <a:pt x="15261" y="11175"/>
                  </a:lnTo>
                  <a:cubicBezTo>
                    <a:pt x="15261" y="11238"/>
                    <a:pt x="15244" y="11284"/>
                    <a:pt x="15212" y="11316"/>
                  </a:cubicBezTo>
                  <a:cubicBezTo>
                    <a:pt x="15048" y="11457"/>
                    <a:pt x="14481" y="11957"/>
                    <a:pt x="13790" y="12739"/>
                  </a:cubicBezTo>
                  <a:cubicBezTo>
                    <a:pt x="14481" y="13412"/>
                    <a:pt x="15576" y="14569"/>
                    <a:pt x="16609" y="16071"/>
                  </a:cubicBezTo>
                  <a:cubicBezTo>
                    <a:pt x="16972" y="16595"/>
                    <a:pt x="17211" y="17322"/>
                    <a:pt x="17300" y="18120"/>
                  </a:cubicBezTo>
                  <a:lnTo>
                    <a:pt x="21600" y="18120"/>
                  </a:lnTo>
                  <a:lnTo>
                    <a:pt x="21600" y="15758"/>
                  </a:lnTo>
                  <a:cubicBezTo>
                    <a:pt x="21587" y="15257"/>
                    <a:pt x="21462" y="14780"/>
                    <a:pt x="21241" y="14468"/>
                  </a:cubicBezTo>
                  <a:close/>
                  <a:moveTo>
                    <a:pt x="12730" y="13490"/>
                  </a:moveTo>
                  <a:cubicBezTo>
                    <a:pt x="12695" y="13458"/>
                    <a:pt x="12673" y="13396"/>
                    <a:pt x="12673" y="13325"/>
                  </a:cubicBezTo>
                  <a:lnTo>
                    <a:pt x="12673" y="9361"/>
                  </a:lnTo>
                  <a:cubicBezTo>
                    <a:pt x="12956" y="9025"/>
                    <a:pt x="13143" y="8462"/>
                    <a:pt x="13143" y="7820"/>
                  </a:cubicBezTo>
                  <a:lnTo>
                    <a:pt x="13143" y="3707"/>
                  </a:lnTo>
                  <a:cubicBezTo>
                    <a:pt x="13143" y="1658"/>
                    <a:pt x="12203" y="0"/>
                    <a:pt x="11042" y="0"/>
                  </a:cubicBezTo>
                  <a:lnTo>
                    <a:pt x="10540" y="0"/>
                  </a:lnTo>
                  <a:cubicBezTo>
                    <a:pt x="9379" y="0"/>
                    <a:pt x="8440" y="1658"/>
                    <a:pt x="8440" y="3707"/>
                  </a:cubicBezTo>
                  <a:lnTo>
                    <a:pt x="8440" y="7820"/>
                  </a:lnTo>
                  <a:cubicBezTo>
                    <a:pt x="8440" y="8462"/>
                    <a:pt x="8626" y="9032"/>
                    <a:pt x="8909" y="9361"/>
                  </a:cubicBezTo>
                  <a:lnTo>
                    <a:pt x="8909" y="13325"/>
                  </a:lnTo>
                  <a:cubicBezTo>
                    <a:pt x="8909" y="13396"/>
                    <a:pt x="8887" y="13458"/>
                    <a:pt x="8851" y="13490"/>
                  </a:cubicBezTo>
                  <a:cubicBezTo>
                    <a:pt x="8532" y="13764"/>
                    <a:pt x="6977" y="15155"/>
                    <a:pt x="5532" y="17243"/>
                  </a:cubicBezTo>
                  <a:cubicBezTo>
                    <a:pt x="5270" y="17619"/>
                    <a:pt x="5119" y="18190"/>
                    <a:pt x="5119" y="18785"/>
                  </a:cubicBezTo>
                  <a:lnTo>
                    <a:pt x="5119" y="21600"/>
                  </a:lnTo>
                  <a:lnTo>
                    <a:pt x="16462" y="21600"/>
                  </a:lnTo>
                  <a:lnTo>
                    <a:pt x="16462" y="18785"/>
                  </a:lnTo>
                  <a:cubicBezTo>
                    <a:pt x="16462" y="18190"/>
                    <a:pt x="16311" y="17619"/>
                    <a:pt x="16050" y="17243"/>
                  </a:cubicBezTo>
                  <a:cubicBezTo>
                    <a:pt x="14605" y="15148"/>
                    <a:pt x="13049" y="13764"/>
                    <a:pt x="12730" y="13490"/>
                  </a:cubicBezTo>
                  <a:close/>
                  <a:moveTo>
                    <a:pt x="12730" y="13490"/>
                  </a:move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GB"/>
            </a:p>
          </p:txBody>
        </p:sp>
      </p:grpSp>
      <p:sp>
        <p:nvSpPr>
          <p:cNvPr id="31750" name="Rectangle 46">
            <a:extLst>
              <a:ext uri="{FF2B5EF4-FFF2-40B4-BE49-F238E27FC236}">
                <a16:creationId xmlns:a16="http://schemas.microsoft.com/office/drawing/2014/main" id="{0A710117-A945-3EE7-0198-FE31C4FBE611}"/>
              </a:ext>
            </a:extLst>
          </p:cNvPr>
          <p:cNvSpPr>
            <a:spLocks noChangeArrowheads="1"/>
          </p:cNvSpPr>
          <p:nvPr/>
        </p:nvSpPr>
        <p:spPr bwMode="auto">
          <a:xfrm>
            <a:off x="2446338" y="2339975"/>
            <a:ext cx="760412"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just" eaLnBrk="1" hangingPunct="1">
              <a:lnSpc>
                <a:spcPct val="100000"/>
              </a:lnSpc>
              <a:spcBef>
                <a:spcPct val="0"/>
              </a:spcBef>
              <a:buClr>
                <a:srgbClr val="E24848"/>
              </a:buClr>
              <a:buFontTx/>
              <a:buNone/>
            </a:pPr>
            <a:r>
              <a:rPr lang="tr-TR" altLang="tr-TR" sz="3600" b="1" dirty="0">
                <a:latin typeface="Open Sans" panose="020B0606030504020204" pitchFamily="34" charset="0"/>
                <a:cs typeface="Open Sans" panose="020B0606030504020204" pitchFamily="34" charset="0"/>
              </a:rPr>
              <a:t>11</a:t>
            </a:r>
            <a:endParaRPr lang="tr-TR" altLang="tr-TR" sz="3600" b="1" noProof="1">
              <a:latin typeface="Open Sans" panose="020B0606030504020204" pitchFamily="34" charset="0"/>
              <a:cs typeface="Open Sans" panose="020B0606030504020204" pitchFamily="34" charset="0"/>
            </a:endParaRPr>
          </a:p>
        </p:txBody>
      </p:sp>
      <p:sp>
        <p:nvSpPr>
          <p:cNvPr id="31751" name="Content Placeholder 2">
            <a:extLst>
              <a:ext uri="{FF2B5EF4-FFF2-40B4-BE49-F238E27FC236}">
                <a16:creationId xmlns:a16="http://schemas.microsoft.com/office/drawing/2014/main" id="{C30F9039-9E23-08AB-33FB-19488E4B6330}"/>
              </a:ext>
            </a:extLst>
          </p:cNvPr>
          <p:cNvSpPr txBox="1">
            <a:spLocks noChangeArrowheads="1"/>
          </p:cNvSpPr>
          <p:nvPr/>
        </p:nvSpPr>
        <p:spPr bwMode="auto">
          <a:xfrm>
            <a:off x="808038" y="3065463"/>
            <a:ext cx="2249487"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ctr" eaLnBrk="1" hangingPunct="1">
              <a:lnSpc>
                <a:spcPct val="100000"/>
              </a:lnSpc>
              <a:spcBef>
                <a:spcPct val="0"/>
              </a:spcBef>
              <a:buFontTx/>
              <a:buNone/>
            </a:pPr>
            <a:r>
              <a:rPr lang="tr-TR" altLang="tr-TR" sz="1600" b="1">
                <a:solidFill>
                  <a:srgbClr val="404040"/>
                </a:solidFill>
                <a:latin typeface="Open Sans" panose="020B0606030504020204" pitchFamily="34" charset="0"/>
                <a:cs typeface="Open Sans" panose="020B0606030504020204" pitchFamily="34" charset="0"/>
              </a:rPr>
              <a:t>Kadrolu Operasyon Personel Sayısı</a:t>
            </a:r>
            <a:endParaRPr lang="en-US" altLang="tr-TR" sz="1600" b="1">
              <a:solidFill>
                <a:srgbClr val="262626"/>
              </a:solidFill>
              <a:latin typeface="Open Sans" panose="020B0606030504020204" pitchFamily="34" charset="0"/>
              <a:cs typeface="Open Sans" panose="020B0606030504020204" pitchFamily="34" charset="0"/>
            </a:endParaRPr>
          </a:p>
        </p:txBody>
      </p:sp>
      <p:grpSp>
        <p:nvGrpSpPr>
          <p:cNvPr id="31752" name="Grup 47">
            <a:extLst>
              <a:ext uri="{FF2B5EF4-FFF2-40B4-BE49-F238E27FC236}">
                <a16:creationId xmlns:a16="http://schemas.microsoft.com/office/drawing/2014/main" id="{C3B95743-1C45-BE92-7948-FE3387152AF7}"/>
              </a:ext>
            </a:extLst>
          </p:cNvPr>
          <p:cNvGrpSpPr>
            <a:grpSpLocks/>
          </p:cNvGrpSpPr>
          <p:nvPr/>
        </p:nvGrpSpPr>
        <p:grpSpPr bwMode="auto">
          <a:xfrm>
            <a:off x="992188" y="2473325"/>
            <a:ext cx="1831975" cy="544513"/>
            <a:chOff x="6819900" y="1426914"/>
            <a:chExt cx="1831465" cy="545825"/>
          </a:xfrm>
        </p:grpSpPr>
        <p:cxnSp>
          <p:nvCxnSpPr>
            <p:cNvPr id="49" name="Straight Connector 61">
              <a:extLst>
                <a:ext uri="{FF2B5EF4-FFF2-40B4-BE49-F238E27FC236}">
                  <a16:creationId xmlns:a16="http://schemas.microsoft.com/office/drawing/2014/main" id="{6D1930EB-8D38-2E92-921C-7F98E8070910}"/>
                </a:ext>
              </a:extLst>
            </p:cNvPr>
            <p:cNvCxnSpPr/>
            <p:nvPr/>
          </p:nvCxnSpPr>
          <p:spPr>
            <a:xfrm>
              <a:off x="6819900" y="1885216"/>
              <a:ext cx="1831465" cy="4774"/>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0" name="Right Triangle 62">
              <a:extLst>
                <a:ext uri="{FF2B5EF4-FFF2-40B4-BE49-F238E27FC236}">
                  <a16:creationId xmlns:a16="http://schemas.microsoft.com/office/drawing/2014/main" id="{B47E90C8-4F77-E57B-B356-88840F792047}"/>
                </a:ext>
              </a:extLst>
            </p:cNvPr>
            <p:cNvSpPr/>
            <p:nvPr/>
          </p:nvSpPr>
          <p:spPr>
            <a:xfrm rot="13500000" flipV="1">
              <a:off x="7546773" y="1804059"/>
              <a:ext cx="168228" cy="16868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1843" name="AutoShape 17">
              <a:extLst>
                <a:ext uri="{FF2B5EF4-FFF2-40B4-BE49-F238E27FC236}">
                  <a16:creationId xmlns:a16="http://schemas.microsoft.com/office/drawing/2014/main" id="{2A3D47BC-6F2D-987C-739C-8892C1DEA978}"/>
                </a:ext>
              </a:extLst>
            </p:cNvPr>
            <p:cNvSpPr>
              <a:spLocks/>
            </p:cNvSpPr>
            <p:nvPr/>
          </p:nvSpPr>
          <p:spPr bwMode="auto">
            <a:xfrm>
              <a:off x="7271259" y="1426914"/>
              <a:ext cx="719063" cy="40734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0 h 21600"/>
                <a:gd name="T12" fmla="*/ 2147483646 w 21600"/>
                <a:gd name="T13" fmla="*/ 0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0 w 21600"/>
                <a:gd name="T27" fmla="*/ 2147483646 h 21600"/>
                <a:gd name="T28" fmla="*/ 0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0 h 21600"/>
                <a:gd name="T52" fmla="*/ 2147483646 w 21600"/>
                <a:gd name="T53" fmla="*/ 0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0 h 21600"/>
                <a:gd name="T88" fmla="*/ 2147483646 w 21600"/>
                <a:gd name="T89" fmla="*/ 0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1600" h="21600">
                  <a:moveTo>
                    <a:pt x="6383" y="11316"/>
                  </a:moveTo>
                  <a:cubicBezTo>
                    <a:pt x="6352" y="11293"/>
                    <a:pt x="6334" y="11238"/>
                    <a:pt x="6334" y="11175"/>
                  </a:cubicBezTo>
                  <a:lnTo>
                    <a:pt x="6334" y="7852"/>
                  </a:lnTo>
                  <a:cubicBezTo>
                    <a:pt x="6569" y="7570"/>
                    <a:pt x="6728" y="7101"/>
                    <a:pt x="6728" y="6553"/>
                  </a:cubicBezTo>
                  <a:lnTo>
                    <a:pt x="6728" y="3104"/>
                  </a:lnTo>
                  <a:cubicBezTo>
                    <a:pt x="6728" y="1391"/>
                    <a:pt x="5939" y="0"/>
                    <a:pt x="4969" y="0"/>
                  </a:cubicBezTo>
                  <a:lnTo>
                    <a:pt x="4544" y="0"/>
                  </a:lnTo>
                  <a:cubicBezTo>
                    <a:pt x="3573" y="0"/>
                    <a:pt x="2783" y="1391"/>
                    <a:pt x="2783" y="3104"/>
                  </a:cubicBezTo>
                  <a:lnTo>
                    <a:pt x="2783" y="6553"/>
                  </a:lnTo>
                  <a:cubicBezTo>
                    <a:pt x="2783" y="7093"/>
                    <a:pt x="2938" y="7570"/>
                    <a:pt x="3178" y="7852"/>
                  </a:cubicBezTo>
                  <a:lnTo>
                    <a:pt x="3178" y="11175"/>
                  </a:lnTo>
                  <a:cubicBezTo>
                    <a:pt x="3178" y="11238"/>
                    <a:pt x="3161" y="11284"/>
                    <a:pt x="3129" y="11316"/>
                  </a:cubicBezTo>
                  <a:cubicBezTo>
                    <a:pt x="2863" y="11542"/>
                    <a:pt x="1555" y="12708"/>
                    <a:pt x="345" y="14468"/>
                  </a:cubicBezTo>
                  <a:cubicBezTo>
                    <a:pt x="128" y="14788"/>
                    <a:pt x="0" y="15257"/>
                    <a:pt x="0" y="15758"/>
                  </a:cubicBezTo>
                  <a:lnTo>
                    <a:pt x="0" y="18120"/>
                  </a:lnTo>
                  <a:lnTo>
                    <a:pt x="4300" y="18120"/>
                  </a:lnTo>
                  <a:cubicBezTo>
                    <a:pt x="4384" y="17322"/>
                    <a:pt x="4628" y="16595"/>
                    <a:pt x="4991" y="16071"/>
                  </a:cubicBezTo>
                  <a:cubicBezTo>
                    <a:pt x="6024" y="14569"/>
                    <a:pt x="7119" y="13412"/>
                    <a:pt x="7810" y="12739"/>
                  </a:cubicBezTo>
                  <a:cubicBezTo>
                    <a:pt x="7114" y="11957"/>
                    <a:pt x="6547" y="11457"/>
                    <a:pt x="6383" y="11316"/>
                  </a:cubicBezTo>
                  <a:close/>
                  <a:moveTo>
                    <a:pt x="21241" y="14468"/>
                  </a:moveTo>
                  <a:cubicBezTo>
                    <a:pt x="20030" y="12708"/>
                    <a:pt x="18723" y="11542"/>
                    <a:pt x="18457" y="11316"/>
                  </a:cubicBezTo>
                  <a:cubicBezTo>
                    <a:pt x="18426" y="11293"/>
                    <a:pt x="18408" y="11238"/>
                    <a:pt x="18408" y="11175"/>
                  </a:cubicBezTo>
                  <a:lnTo>
                    <a:pt x="18408" y="7852"/>
                  </a:lnTo>
                  <a:cubicBezTo>
                    <a:pt x="18643" y="7570"/>
                    <a:pt x="18802" y="7101"/>
                    <a:pt x="18802" y="6553"/>
                  </a:cubicBezTo>
                  <a:lnTo>
                    <a:pt x="18802" y="3104"/>
                  </a:lnTo>
                  <a:cubicBezTo>
                    <a:pt x="18802" y="1391"/>
                    <a:pt x="18014" y="0"/>
                    <a:pt x="17043" y="0"/>
                  </a:cubicBezTo>
                  <a:lnTo>
                    <a:pt x="16626" y="0"/>
                  </a:lnTo>
                  <a:cubicBezTo>
                    <a:pt x="15655" y="0"/>
                    <a:pt x="14867" y="1391"/>
                    <a:pt x="14867" y="3104"/>
                  </a:cubicBezTo>
                  <a:lnTo>
                    <a:pt x="14867" y="6553"/>
                  </a:lnTo>
                  <a:cubicBezTo>
                    <a:pt x="14867" y="7093"/>
                    <a:pt x="15022" y="7570"/>
                    <a:pt x="15261" y="7852"/>
                  </a:cubicBezTo>
                  <a:lnTo>
                    <a:pt x="15261" y="11175"/>
                  </a:lnTo>
                  <a:cubicBezTo>
                    <a:pt x="15261" y="11238"/>
                    <a:pt x="15244" y="11284"/>
                    <a:pt x="15212" y="11316"/>
                  </a:cubicBezTo>
                  <a:cubicBezTo>
                    <a:pt x="15048" y="11457"/>
                    <a:pt x="14481" y="11957"/>
                    <a:pt x="13790" y="12739"/>
                  </a:cubicBezTo>
                  <a:cubicBezTo>
                    <a:pt x="14481" y="13412"/>
                    <a:pt x="15576" y="14569"/>
                    <a:pt x="16609" y="16071"/>
                  </a:cubicBezTo>
                  <a:cubicBezTo>
                    <a:pt x="16972" y="16595"/>
                    <a:pt x="17211" y="17322"/>
                    <a:pt x="17300" y="18120"/>
                  </a:cubicBezTo>
                  <a:lnTo>
                    <a:pt x="21600" y="18120"/>
                  </a:lnTo>
                  <a:lnTo>
                    <a:pt x="21600" y="15758"/>
                  </a:lnTo>
                  <a:cubicBezTo>
                    <a:pt x="21587" y="15257"/>
                    <a:pt x="21462" y="14780"/>
                    <a:pt x="21241" y="14468"/>
                  </a:cubicBezTo>
                  <a:close/>
                  <a:moveTo>
                    <a:pt x="12730" y="13490"/>
                  </a:moveTo>
                  <a:cubicBezTo>
                    <a:pt x="12695" y="13458"/>
                    <a:pt x="12673" y="13396"/>
                    <a:pt x="12673" y="13325"/>
                  </a:cubicBezTo>
                  <a:lnTo>
                    <a:pt x="12673" y="9361"/>
                  </a:lnTo>
                  <a:cubicBezTo>
                    <a:pt x="12956" y="9025"/>
                    <a:pt x="13143" y="8462"/>
                    <a:pt x="13143" y="7820"/>
                  </a:cubicBezTo>
                  <a:lnTo>
                    <a:pt x="13143" y="3707"/>
                  </a:lnTo>
                  <a:cubicBezTo>
                    <a:pt x="13143" y="1658"/>
                    <a:pt x="12203" y="0"/>
                    <a:pt x="11042" y="0"/>
                  </a:cubicBezTo>
                  <a:lnTo>
                    <a:pt x="10540" y="0"/>
                  </a:lnTo>
                  <a:cubicBezTo>
                    <a:pt x="9379" y="0"/>
                    <a:pt x="8440" y="1658"/>
                    <a:pt x="8440" y="3707"/>
                  </a:cubicBezTo>
                  <a:lnTo>
                    <a:pt x="8440" y="7820"/>
                  </a:lnTo>
                  <a:cubicBezTo>
                    <a:pt x="8440" y="8462"/>
                    <a:pt x="8626" y="9032"/>
                    <a:pt x="8909" y="9361"/>
                  </a:cubicBezTo>
                  <a:lnTo>
                    <a:pt x="8909" y="13325"/>
                  </a:lnTo>
                  <a:cubicBezTo>
                    <a:pt x="8909" y="13396"/>
                    <a:pt x="8887" y="13458"/>
                    <a:pt x="8851" y="13490"/>
                  </a:cubicBezTo>
                  <a:cubicBezTo>
                    <a:pt x="8532" y="13764"/>
                    <a:pt x="6977" y="15155"/>
                    <a:pt x="5532" y="17243"/>
                  </a:cubicBezTo>
                  <a:cubicBezTo>
                    <a:pt x="5270" y="17619"/>
                    <a:pt x="5119" y="18190"/>
                    <a:pt x="5119" y="18785"/>
                  </a:cubicBezTo>
                  <a:lnTo>
                    <a:pt x="5119" y="21600"/>
                  </a:lnTo>
                  <a:lnTo>
                    <a:pt x="16462" y="21600"/>
                  </a:lnTo>
                  <a:lnTo>
                    <a:pt x="16462" y="18785"/>
                  </a:lnTo>
                  <a:cubicBezTo>
                    <a:pt x="16462" y="18190"/>
                    <a:pt x="16311" y="17619"/>
                    <a:pt x="16050" y="17243"/>
                  </a:cubicBezTo>
                  <a:cubicBezTo>
                    <a:pt x="14605" y="15148"/>
                    <a:pt x="13049" y="13764"/>
                    <a:pt x="12730" y="13490"/>
                  </a:cubicBezTo>
                  <a:close/>
                  <a:moveTo>
                    <a:pt x="12730" y="13490"/>
                  </a:move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GB"/>
            </a:p>
          </p:txBody>
        </p:sp>
      </p:grpSp>
      <p:sp>
        <p:nvSpPr>
          <p:cNvPr id="31753" name="Rectangle 46">
            <a:extLst>
              <a:ext uri="{FF2B5EF4-FFF2-40B4-BE49-F238E27FC236}">
                <a16:creationId xmlns:a16="http://schemas.microsoft.com/office/drawing/2014/main" id="{598AA564-FDA1-D209-2F87-01420A35A2F7}"/>
              </a:ext>
            </a:extLst>
          </p:cNvPr>
          <p:cNvSpPr>
            <a:spLocks noChangeArrowheads="1"/>
          </p:cNvSpPr>
          <p:nvPr/>
        </p:nvSpPr>
        <p:spPr bwMode="auto">
          <a:xfrm>
            <a:off x="2444750" y="3825875"/>
            <a:ext cx="760413"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just" eaLnBrk="1" hangingPunct="1">
              <a:lnSpc>
                <a:spcPct val="100000"/>
              </a:lnSpc>
              <a:spcBef>
                <a:spcPct val="0"/>
              </a:spcBef>
              <a:buClr>
                <a:srgbClr val="E24848"/>
              </a:buClr>
              <a:buFontTx/>
              <a:buNone/>
            </a:pPr>
            <a:r>
              <a:rPr lang="tr-TR" altLang="tr-TR" sz="3600" b="1" noProof="1">
                <a:latin typeface="Open Sans"/>
                <a:ea typeface="Open Sans"/>
                <a:cs typeface="Open Sans"/>
              </a:rPr>
              <a:t>76</a:t>
            </a:r>
            <a:endParaRPr lang="tr-TR" altLang="tr-TR" sz="3600" b="1" noProof="1">
              <a:latin typeface="Open Sans" panose="020B0606030504020204" pitchFamily="34" charset="0"/>
              <a:cs typeface="Open Sans" panose="020B0606030504020204" pitchFamily="34" charset="0"/>
            </a:endParaRPr>
          </a:p>
        </p:txBody>
      </p:sp>
      <p:sp>
        <p:nvSpPr>
          <p:cNvPr id="31754" name="Content Placeholder 2">
            <a:extLst>
              <a:ext uri="{FF2B5EF4-FFF2-40B4-BE49-F238E27FC236}">
                <a16:creationId xmlns:a16="http://schemas.microsoft.com/office/drawing/2014/main" id="{48EEDDB9-69B3-4B57-664E-0F6960CD02A5}"/>
              </a:ext>
            </a:extLst>
          </p:cNvPr>
          <p:cNvSpPr txBox="1">
            <a:spLocks noChangeArrowheads="1"/>
          </p:cNvSpPr>
          <p:nvPr/>
        </p:nvSpPr>
        <p:spPr bwMode="auto">
          <a:xfrm>
            <a:off x="519113" y="4551363"/>
            <a:ext cx="2624137" cy="66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ctr" eaLnBrk="1" hangingPunct="1">
              <a:lnSpc>
                <a:spcPct val="100000"/>
              </a:lnSpc>
              <a:spcBef>
                <a:spcPct val="0"/>
              </a:spcBef>
              <a:buFontTx/>
              <a:buNone/>
            </a:pPr>
            <a:r>
              <a:rPr lang="tr-TR" altLang="tr-TR" sz="1600" b="1">
                <a:solidFill>
                  <a:srgbClr val="404040"/>
                </a:solidFill>
                <a:latin typeface="Open Sans" panose="020B0606030504020204" pitchFamily="34" charset="0"/>
                <a:cs typeface="Open Sans" panose="020B0606030504020204" pitchFamily="34" charset="0"/>
              </a:rPr>
              <a:t>Sahada Çalışan Kadrolu SPK Lisanslı Uzman</a:t>
            </a:r>
            <a:endParaRPr lang="en-US" altLang="tr-TR" sz="1600" b="1">
              <a:solidFill>
                <a:srgbClr val="262626"/>
              </a:solidFill>
              <a:latin typeface="Open Sans" panose="020B0606030504020204" pitchFamily="34" charset="0"/>
              <a:cs typeface="Open Sans" panose="020B0606030504020204" pitchFamily="34" charset="0"/>
            </a:endParaRPr>
          </a:p>
        </p:txBody>
      </p:sp>
      <p:grpSp>
        <p:nvGrpSpPr>
          <p:cNvPr id="31755" name="Grup 53">
            <a:extLst>
              <a:ext uri="{FF2B5EF4-FFF2-40B4-BE49-F238E27FC236}">
                <a16:creationId xmlns:a16="http://schemas.microsoft.com/office/drawing/2014/main" id="{DE3B5C71-EE30-5150-1AEA-1DAC0DE9F608}"/>
              </a:ext>
            </a:extLst>
          </p:cNvPr>
          <p:cNvGrpSpPr>
            <a:grpSpLocks/>
          </p:cNvGrpSpPr>
          <p:nvPr/>
        </p:nvGrpSpPr>
        <p:grpSpPr bwMode="auto">
          <a:xfrm>
            <a:off x="992188" y="3933825"/>
            <a:ext cx="1831975" cy="544513"/>
            <a:chOff x="6819900" y="1426914"/>
            <a:chExt cx="1831465" cy="545825"/>
          </a:xfrm>
        </p:grpSpPr>
        <p:cxnSp>
          <p:nvCxnSpPr>
            <p:cNvPr id="55" name="Straight Connector 61">
              <a:extLst>
                <a:ext uri="{FF2B5EF4-FFF2-40B4-BE49-F238E27FC236}">
                  <a16:creationId xmlns:a16="http://schemas.microsoft.com/office/drawing/2014/main" id="{F3A79EFF-F307-C58E-5B56-78492BB377F5}"/>
                </a:ext>
              </a:extLst>
            </p:cNvPr>
            <p:cNvCxnSpPr/>
            <p:nvPr/>
          </p:nvCxnSpPr>
          <p:spPr>
            <a:xfrm>
              <a:off x="6819900" y="1885216"/>
              <a:ext cx="1831465" cy="4774"/>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6" name="Right Triangle 62">
              <a:extLst>
                <a:ext uri="{FF2B5EF4-FFF2-40B4-BE49-F238E27FC236}">
                  <a16:creationId xmlns:a16="http://schemas.microsoft.com/office/drawing/2014/main" id="{ECC6765F-D5B5-4236-9A2E-FE340772F5A6}"/>
                </a:ext>
              </a:extLst>
            </p:cNvPr>
            <p:cNvSpPr/>
            <p:nvPr/>
          </p:nvSpPr>
          <p:spPr>
            <a:xfrm rot="13500000" flipV="1">
              <a:off x="7546773" y="1804059"/>
              <a:ext cx="168228" cy="16868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1840" name="AutoShape 17">
              <a:extLst>
                <a:ext uri="{FF2B5EF4-FFF2-40B4-BE49-F238E27FC236}">
                  <a16:creationId xmlns:a16="http://schemas.microsoft.com/office/drawing/2014/main" id="{1A765C9D-353A-E62B-3BAB-29166FBE76DE}"/>
                </a:ext>
              </a:extLst>
            </p:cNvPr>
            <p:cNvSpPr>
              <a:spLocks/>
            </p:cNvSpPr>
            <p:nvPr/>
          </p:nvSpPr>
          <p:spPr bwMode="auto">
            <a:xfrm>
              <a:off x="7271259" y="1426914"/>
              <a:ext cx="719063" cy="40734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0 h 21600"/>
                <a:gd name="T12" fmla="*/ 2147483646 w 21600"/>
                <a:gd name="T13" fmla="*/ 0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0 w 21600"/>
                <a:gd name="T27" fmla="*/ 2147483646 h 21600"/>
                <a:gd name="T28" fmla="*/ 0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0 h 21600"/>
                <a:gd name="T52" fmla="*/ 2147483646 w 21600"/>
                <a:gd name="T53" fmla="*/ 0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0 h 21600"/>
                <a:gd name="T88" fmla="*/ 2147483646 w 21600"/>
                <a:gd name="T89" fmla="*/ 0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1600" h="21600">
                  <a:moveTo>
                    <a:pt x="6383" y="11316"/>
                  </a:moveTo>
                  <a:cubicBezTo>
                    <a:pt x="6352" y="11293"/>
                    <a:pt x="6334" y="11238"/>
                    <a:pt x="6334" y="11175"/>
                  </a:cubicBezTo>
                  <a:lnTo>
                    <a:pt x="6334" y="7852"/>
                  </a:lnTo>
                  <a:cubicBezTo>
                    <a:pt x="6569" y="7570"/>
                    <a:pt x="6728" y="7101"/>
                    <a:pt x="6728" y="6553"/>
                  </a:cubicBezTo>
                  <a:lnTo>
                    <a:pt x="6728" y="3104"/>
                  </a:lnTo>
                  <a:cubicBezTo>
                    <a:pt x="6728" y="1391"/>
                    <a:pt x="5939" y="0"/>
                    <a:pt x="4969" y="0"/>
                  </a:cubicBezTo>
                  <a:lnTo>
                    <a:pt x="4544" y="0"/>
                  </a:lnTo>
                  <a:cubicBezTo>
                    <a:pt x="3573" y="0"/>
                    <a:pt x="2783" y="1391"/>
                    <a:pt x="2783" y="3104"/>
                  </a:cubicBezTo>
                  <a:lnTo>
                    <a:pt x="2783" y="6553"/>
                  </a:lnTo>
                  <a:cubicBezTo>
                    <a:pt x="2783" y="7093"/>
                    <a:pt x="2938" y="7570"/>
                    <a:pt x="3178" y="7852"/>
                  </a:cubicBezTo>
                  <a:lnTo>
                    <a:pt x="3178" y="11175"/>
                  </a:lnTo>
                  <a:cubicBezTo>
                    <a:pt x="3178" y="11238"/>
                    <a:pt x="3161" y="11284"/>
                    <a:pt x="3129" y="11316"/>
                  </a:cubicBezTo>
                  <a:cubicBezTo>
                    <a:pt x="2863" y="11542"/>
                    <a:pt x="1555" y="12708"/>
                    <a:pt x="345" y="14468"/>
                  </a:cubicBezTo>
                  <a:cubicBezTo>
                    <a:pt x="128" y="14788"/>
                    <a:pt x="0" y="15257"/>
                    <a:pt x="0" y="15758"/>
                  </a:cubicBezTo>
                  <a:lnTo>
                    <a:pt x="0" y="18120"/>
                  </a:lnTo>
                  <a:lnTo>
                    <a:pt x="4300" y="18120"/>
                  </a:lnTo>
                  <a:cubicBezTo>
                    <a:pt x="4384" y="17322"/>
                    <a:pt x="4628" y="16595"/>
                    <a:pt x="4991" y="16071"/>
                  </a:cubicBezTo>
                  <a:cubicBezTo>
                    <a:pt x="6024" y="14569"/>
                    <a:pt x="7119" y="13412"/>
                    <a:pt x="7810" y="12739"/>
                  </a:cubicBezTo>
                  <a:cubicBezTo>
                    <a:pt x="7114" y="11957"/>
                    <a:pt x="6547" y="11457"/>
                    <a:pt x="6383" y="11316"/>
                  </a:cubicBezTo>
                  <a:close/>
                  <a:moveTo>
                    <a:pt x="21241" y="14468"/>
                  </a:moveTo>
                  <a:cubicBezTo>
                    <a:pt x="20030" y="12708"/>
                    <a:pt x="18723" y="11542"/>
                    <a:pt x="18457" y="11316"/>
                  </a:cubicBezTo>
                  <a:cubicBezTo>
                    <a:pt x="18426" y="11293"/>
                    <a:pt x="18408" y="11238"/>
                    <a:pt x="18408" y="11175"/>
                  </a:cubicBezTo>
                  <a:lnTo>
                    <a:pt x="18408" y="7852"/>
                  </a:lnTo>
                  <a:cubicBezTo>
                    <a:pt x="18643" y="7570"/>
                    <a:pt x="18802" y="7101"/>
                    <a:pt x="18802" y="6553"/>
                  </a:cubicBezTo>
                  <a:lnTo>
                    <a:pt x="18802" y="3104"/>
                  </a:lnTo>
                  <a:cubicBezTo>
                    <a:pt x="18802" y="1391"/>
                    <a:pt x="18014" y="0"/>
                    <a:pt x="17043" y="0"/>
                  </a:cubicBezTo>
                  <a:lnTo>
                    <a:pt x="16626" y="0"/>
                  </a:lnTo>
                  <a:cubicBezTo>
                    <a:pt x="15655" y="0"/>
                    <a:pt x="14867" y="1391"/>
                    <a:pt x="14867" y="3104"/>
                  </a:cubicBezTo>
                  <a:lnTo>
                    <a:pt x="14867" y="6553"/>
                  </a:lnTo>
                  <a:cubicBezTo>
                    <a:pt x="14867" y="7093"/>
                    <a:pt x="15022" y="7570"/>
                    <a:pt x="15261" y="7852"/>
                  </a:cubicBezTo>
                  <a:lnTo>
                    <a:pt x="15261" y="11175"/>
                  </a:lnTo>
                  <a:cubicBezTo>
                    <a:pt x="15261" y="11238"/>
                    <a:pt x="15244" y="11284"/>
                    <a:pt x="15212" y="11316"/>
                  </a:cubicBezTo>
                  <a:cubicBezTo>
                    <a:pt x="15048" y="11457"/>
                    <a:pt x="14481" y="11957"/>
                    <a:pt x="13790" y="12739"/>
                  </a:cubicBezTo>
                  <a:cubicBezTo>
                    <a:pt x="14481" y="13412"/>
                    <a:pt x="15576" y="14569"/>
                    <a:pt x="16609" y="16071"/>
                  </a:cubicBezTo>
                  <a:cubicBezTo>
                    <a:pt x="16972" y="16595"/>
                    <a:pt x="17211" y="17322"/>
                    <a:pt x="17300" y="18120"/>
                  </a:cubicBezTo>
                  <a:lnTo>
                    <a:pt x="21600" y="18120"/>
                  </a:lnTo>
                  <a:lnTo>
                    <a:pt x="21600" y="15758"/>
                  </a:lnTo>
                  <a:cubicBezTo>
                    <a:pt x="21587" y="15257"/>
                    <a:pt x="21462" y="14780"/>
                    <a:pt x="21241" y="14468"/>
                  </a:cubicBezTo>
                  <a:close/>
                  <a:moveTo>
                    <a:pt x="12730" y="13490"/>
                  </a:moveTo>
                  <a:cubicBezTo>
                    <a:pt x="12695" y="13458"/>
                    <a:pt x="12673" y="13396"/>
                    <a:pt x="12673" y="13325"/>
                  </a:cubicBezTo>
                  <a:lnTo>
                    <a:pt x="12673" y="9361"/>
                  </a:lnTo>
                  <a:cubicBezTo>
                    <a:pt x="12956" y="9025"/>
                    <a:pt x="13143" y="8462"/>
                    <a:pt x="13143" y="7820"/>
                  </a:cubicBezTo>
                  <a:lnTo>
                    <a:pt x="13143" y="3707"/>
                  </a:lnTo>
                  <a:cubicBezTo>
                    <a:pt x="13143" y="1658"/>
                    <a:pt x="12203" y="0"/>
                    <a:pt x="11042" y="0"/>
                  </a:cubicBezTo>
                  <a:lnTo>
                    <a:pt x="10540" y="0"/>
                  </a:lnTo>
                  <a:cubicBezTo>
                    <a:pt x="9379" y="0"/>
                    <a:pt x="8440" y="1658"/>
                    <a:pt x="8440" y="3707"/>
                  </a:cubicBezTo>
                  <a:lnTo>
                    <a:pt x="8440" y="7820"/>
                  </a:lnTo>
                  <a:cubicBezTo>
                    <a:pt x="8440" y="8462"/>
                    <a:pt x="8626" y="9032"/>
                    <a:pt x="8909" y="9361"/>
                  </a:cubicBezTo>
                  <a:lnTo>
                    <a:pt x="8909" y="13325"/>
                  </a:lnTo>
                  <a:cubicBezTo>
                    <a:pt x="8909" y="13396"/>
                    <a:pt x="8887" y="13458"/>
                    <a:pt x="8851" y="13490"/>
                  </a:cubicBezTo>
                  <a:cubicBezTo>
                    <a:pt x="8532" y="13764"/>
                    <a:pt x="6977" y="15155"/>
                    <a:pt x="5532" y="17243"/>
                  </a:cubicBezTo>
                  <a:cubicBezTo>
                    <a:pt x="5270" y="17619"/>
                    <a:pt x="5119" y="18190"/>
                    <a:pt x="5119" y="18785"/>
                  </a:cubicBezTo>
                  <a:lnTo>
                    <a:pt x="5119" y="21600"/>
                  </a:lnTo>
                  <a:lnTo>
                    <a:pt x="16462" y="21600"/>
                  </a:lnTo>
                  <a:lnTo>
                    <a:pt x="16462" y="18785"/>
                  </a:lnTo>
                  <a:cubicBezTo>
                    <a:pt x="16462" y="18190"/>
                    <a:pt x="16311" y="17619"/>
                    <a:pt x="16050" y="17243"/>
                  </a:cubicBezTo>
                  <a:cubicBezTo>
                    <a:pt x="14605" y="15148"/>
                    <a:pt x="13049" y="13764"/>
                    <a:pt x="12730" y="13490"/>
                  </a:cubicBezTo>
                  <a:close/>
                  <a:moveTo>
                    <a:pt x="12730" y="13490"/>
                  </a:move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GB"/>
            </a:p>
          </p:txBody>
        </p:sp>
      </p:grpSp>
      <p:sp>
        <p:nvSpPr>
          <p:cNvPr id="31756" name="Rectangle 46">
            <a:extLst>
              <a:ext uri="{FF2B5EF4-FFF2-40B4-BE49-F238E27FC236}">
                <a16:creationId xmlns:a16="http://schemas.microsoft.com/office/drawing/2014/main" id="{120DFFB1-8597-26E7-A433-0D60FD8155C3}"/>
              </a:ext>
            </a:extLst>
          </p:cNvPr>
          <p:cNvSpPr>
            <a:spLocks noChangeArrowheads="1"/>
          </p:cNvSpPr>
          <p:nvPr/>
        </p:nvSpPr>
        <p:spPr bwMode="auto">
          <a:xfrm>
            <a:off x="5146675" y="2339975"/>
            <a:ext cx="4762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just" eaLnBrk="1" hangingPunct="1">
              <a:lnSpc>
                <a:spcPct val="100000"/>
              </a:lnSpc>
              <a:spcBef>
                <a:spcPct val="0"/>
              </a:spcBef>
              <a:buClr>
                <a:srgbClr val="E24848"/>
              </a:buClr>
              <a:buFontTx/>
              <a:buNone/>
            </a:pPr>
            <a:r>
              <a:rPr lang="tr-TR" altLang="tr-TR" sz="3600" b="1" noProof="1">
                <a:latin typeface="Open Sans" panose="020B0606030504020204" pitchFamily="34" charset="0"/>
                <a:cs typeface="Open Sans" panose="020B0606030504020204" pitchFamily="34" charset="0"/>
              </a:rPr>
              <a:t>4</a:t>
            </a:r>
          </a:p>
        </p:txBody>
      </p:sp>
      <p:sp>
        <p:nvSpPr>
          <p:cNvPr id="71" name="Content Placeholder 2">
            <a:extLst>
              <a:ext uri="{FF2B5EF4-FFF2-40B4-BE49-F238E27FC236}">
                <a16:creationId xmlns:a16="http://schemas.microsoft.com/office/drawing/2014/main" id="{EBE01CD3-7729-9F5E-E3BE-6A16B8669F1E}"/>
              </a:ext>
            </a:extLst>
          </p:cNvPr>
          <p:cNvSpPr txBox="1">
            <a:spLocks/>
          </p:cNvSpPr>
          <p:nvPr/>
        </p:nvSpPr>
        <p:spPr>
          <a:xfrm>
            <a:off x="3556000" y="3065463"/>
            <a:ext cx="1928813" cy="481012"/>
          </a:xfrm>
          <a:prstGeom prst="rect">
            <a:avLst/>
          </a:prstGeom>
          <a:noFill/>
          <a:ln>
            <a:noFill/>
          </a:ln>
        </p:spPr>
        <p:txBody>
          <a:bodyPr anchor="ctr"/>
          <a:lstStyle>
            <a:defPPr>
              <a:defRPr lang="en-US"/>
            </a:defPPr>
            <a:lvl1pPr>
              <a:defRPr sz="2000" b="1">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ctr" eaLnBrk="1" fontAlgn="auto" hangingPunct="1">
              <a:spcBef>
                <a:spcPts val="0"/>
              </a:spcBef>
              <a:spcAft>
                <a:spcPts val="0"/>
              </a:spcAft>
              <a:defRPr/>
            </a:pPr>
            <a:r>
              <a:rPr lang="tr-TR" sz="1600">
                <a:latin typeface="Open Sans" pitchFamily="34" charset="0"/>
                <a:ea typeface="Open Sans" pitchFamily="34" charset="0"/>
                <a:cs typeface="Open Sans" pitchFamily="34" charset="0"/>
              </a:rPr>
              <a:t>Kadrolu Muhasebe </a:t>
            </a:r>
            <a:endParaRPr lang="en-US" sz="1600">
              <a:solidFill>
                <a:schemeClr val="tx1">
                  <a:lumMod val="85000"/>
                  <a:lumOff val="15000"/>
                </a:schemeClr>
              </a:solidFill>
              <a:latin typeface="Open Sans" pitchFamily="34" charset="0"/>
              <a:ea typeface="Open Sans" pitchFamily="34" charset="0"/>
              <a:cs typeface="Open Sans" pitchFamily="34" charset="0"/>
            </a:endParaRPr>
          </a:p>
        </p:txBody>
      </p:sp>
      <p:grpSp>
        <p:nvGrpSpPr>
          <p:cNvPr id="31758" name="Grup 71">
            <a:extLst>
              <a:ext uri="{FF2B5EF4-FFF2-40B4-BE49-F238E27FC236}">
                <a16:creationId xmlns:a16="http://schemas.microsoft.com/office/drawing/2014/main" id="{B1649DBA-E67E-0682-2C04-99BC441182E4}"/>
              </a:ext>
            </a:extLst>
          </p:cNvPr>
          <p:cNvGrpSpPr>
            <a:grpSpLocks/>
          </p:cNvGrpSpPr>
          <p:nvPr/>
        </p:nvGrpSpPr>
        <p:grpSpPr bwMode="auto">
          <a:xfrm>
            <a:off x="3652838" y="2473325"/>
            <a:ext cx="1831975" cy="544513"/>
            <a:chOff x="6819900" y="1426914"/>
            <a:chExt cx="1831465" cy="545825"/>
          </a:xfrm>
        </p:grpSpPr>
        <p:cxnSp>
          <p:nvCxnSpPr>
            <p:cNvPr id="73" name="Straight Connector 61">
              <a:extLst>
                <a:ext uri="{FF2B5EF4-FFF2-40B4-BE49-F238E27FC236}">
                  <a16:creationId xmlns:a16="http://schemas.microsoft.com/office/drawing/2014/main" id="{94C3A316-1889-5CF9-F24D-E5031D535D32}"/>
                </a:ext>
              </a:extLst>
            </p:cNvPr>
            <p:cNvCxnSpPr/>
            <p:nvPr/>
          </p:nvCxnSpPr>
          <p:spPr>
            <a:xfrm>
              <a:off x="6819900" y="1885216"/>
              <a:ext cx="1831465" cy="4774"/>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4" name="Right Triangle 62">
              <a:extLst>
                <a:ext uri="{FF2B5EF4-FFF2-40B4-BE49-F238E27FC236}">
                  <a16:creationId xmlns:a16="http://schemas.microsoft.com/office/drawing/2014/main" id="{583BC1D7-6647-DA85-3793-4D306639E4F9}"/>
                </a:ext>
              </a:extLst>
            </p:cNvPr>
            <p:cNvSpPr/>
            <p:nvPr/>
          </p:nvSpPr>
          <p:spPr>
            <a:xfrm rot="13500000" flipV="1">
              <a:off x="7546773" y="1804059"/>
              <a:ext cx="168228" cy="16868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1837" name="AutoShape 17">
              <a:extLst>
                <a:ext uri="{FF2B5EF4-FFF2-40B4-BE49-F238E27FC236}">
                  <a16:creationId xmlns:a16="http://schemas.microsoft.com/office/drawing/2014/main" id="{7447F51A-D709-A87B-D7A8-0170109184E5}"/>
                </a:ext>
              </a:extLst>
            </p:cNvPr>
            <p:cNvSpPr>
              <a:spLocks/>
            </p:cNvSpPr>
            <p:nvPr/>
          </p:nvSpPr>
          <p:spPr bwMode="auto">
            <a:xfrm>
              <a:off x="7271259" y="1426914"/>
              <a:ext cx="719063" cy="40734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0 h 21600"/>
                <a:gd name="T12" fmla="*/ 2147483646 w 21600"/>
                <a:gd name="T13" fmla="*/ 0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0 w 21600"/>
                <a:gd name="T27" fmla="*/ 2147483646 h 21600"/>
                <a:gd name="T28" fmla="*/ 0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0 h 21600"/>
                <a:gd name="T52" fmla="*/ 2147483646 w 21600"/>
                <a:gd name="T53" fmla="*/ 0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0 h 21600"/>
                <a:gd name="T88" fmla="*/ 2147483646 w 21600"/>
                <a:gd name="T89" fmla="*/ 0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1600" h="21600">
                  <a:moveTo>
                    <a:pt x="6383" y="11316"/>
                  </a:moveTo>
                  <a:cubicBezTo>
                    <a:pt x="6352" y="11293"/>
                    <a:pt x="6334" y="11238"/>
                    <a:pt x="6334" y="11175"/>
                  </a:cubicBezTo>
                  <a:lnTo>
                    <a:pt x="6334" y="7852"/>
                  </a:lnTo>
                  <a:cubicBezTo>
                    <a:pt x="6569" y="7570"/>
                    <a:pt x="6728" y="7101"/>
                    <a:pt x="6728" y="6553"/>
                  </a:cubicBezTo>
                  <a:lnTo>
                    <a:pt x="6728" y="3104"/>
                  </a:lnTo>
                  <a:cubicBezTo>
                    <a:pt x="6728" y="1391"/>
                    <a:pt x="5939" y="0"/>
                    <a:pt x="4969" y="0"/>
                  </a:cubicBezTo>
                  <a:lnTo>
                    <a:pt x="4544" y="0"/>
                  </a:lnTo>
                  <a:cubicBezTo>
                    <a:pt x="3573" y="0"/>
                    <a:pt x="2783" y="1391"/>
                    <a:pt x="2783" y="3104"/>
                  </a:cubicBezTo>
                  <a:lnTo>
                    <a:pt x="2783" y="6553"/>
                  </a:lnTo>
                  <a:cubicBezTo>
                    <a:pt x="2783" y="7093"/>
                    <a:pt x="2938" y="7570"/>
                    <a:pt x="3178" y="7852"/>
                  </a:cubicBezTo>
                  <a:lnTo>
                    <a:pt x="3178" y="11175"/>
                  </a:lnTo>
                  <a:cubicBezTo>
                    <a:pt x="3178" y="11238"/>
                    <a:pt x="3161" y="11284"/>
                    <a:pt x="3129" y="11316"/>
                  </a:cubicBezTo>
                  <a:cubicBezTo>
                    <a:pt x="2863" y="11542"/>
                    <a:pt x="1555" y="12708"/>
                    <a:pt x="345" y="14468"/>
                  </a:cubicBezTo>
                  <a:cubicBezTo>
                    <a:pt x="128" y="14788"/>
                    <a:pt x="0" y="15257"/>
                    <a:pt x="0" y="15758"/>
                  </a:cubicBezTo>
                  <a:lnTo>
                    <a:pt x="0" y="18120"/>
                  </a:lnTo>
                  <a:lnTo>
                    <a:pt x="4300" y="18120"/>
                  </a:lnTo>
                  <a:cubicBezTo>
                    <a:pt x="4384" y="17322"/>
                    <a:pt x="4628" y="16595"/>
                    <a:pt x="4991" y="16071"/>
                  </a:cubicBezTo>
                  <a:cubicBezTo>
                    <a:pt x="6024" y="14569"/>
                    <a:pt x="7119" y="13412"/>
                    <a:pt x="7810" y="12739"/>
                  </a:cubicBezTo>
                  <a:cubicBezTo>
                    <a:pt x="7114" y="11957"/>
                    <a:pt x="6547" y="11457"/>
                    <a:pt x="6383" y="11316"/>
                  </a:cubicBezTo>
                  <a:close/>
                  <a:moveTo>
                    <a:pt x="21241" y="14468"/>
                  </a:moveTo>
                  <a:cubicBezTo>
                    <a:pt x="20030" y="12708"/>
                    <a:pt x="18723" y="11542"/>
                    <a:pt x="18457" y="11316"/>
                  </a:cubicBezTo>
                  <a:cubicBezTo>
                    <a:pt x="18426" y="11293"/>
                    <a:pt x="18408" y="11238"/>
                    <a:pt x="18408" y="11175"/>
                  </a:cubicBezTo>
                  <a:lnTo>
                    <a:pt x="18408" y="7852"/>
                  </a:lnTo>
                  <a:cubicBezTo>
                    <a:pt x="18643" y="7570"/>
                    <a:pt x="18802" y="7101"/>
                    <a:pt x="18802" y="6553"/>
                  </a:cubicBezTo>
                  <a:lnTo>
                    <a:pt x="18802" y="3104"/>
                  </a:lnTo>
                  <a:cubicBezTo>
                    <a:pt x="18802" y="1391"/>
                    <a:pt x="18014" y="0"/>
                    <a:pt x="17043" y="0"/>
                  </a:cubicBezTo>
                  <a:lnTo>
                    <a:pt x="16626" y="0"/>
                  </a:lnTo>
                  <a:cubicBezTo>
                    <a:pt x="15655" y="0"/>
                    <a:pt x="14867" y="1391"/>
                    <a:pt x="14867" y="3104"/>
                  </a:cubicBezTo>
                  <a:lnTo>
                    <a:pt x="14867" y="6553"/>
                  </a:lnTo>
                  <a:cubicBezTo>
                    <a:pt x="14867" y="7093"/>
                    <a:pt x="15022" y="7570"/>
                    <a:pt x="15261" y="7852"/>
                  </a:cubicBezTo>
                  <a:lnTo>
                    <a:pt x="15261" y="11175"/>
                  </a:lnTo>
                  <a:cubicBezTo>
                    <a:pt x="15261" y="11238"/>
                    <a:pt x="15244" y="11284"/>
                    <a:pt x="15212" y="11316"/>
                  </a:cubicBezTo>
                  <a:cubicBezTo>
                    <a:pt x="15048" y="11457"/>
                    <a:pt x="14481" y="11957"/>
                    <a:pt x="13790" y="12739"/>
                  </a:cubicBezTo>
                  <a:cubicBezTo>
                    <a:pt x="14481" y="13412"/>
                    <a:pt x="15576" y="14569"/>
                    <a:pt x="16609" y="16071"/>
                  </a:cubicBezTo>
                  <a:cubicBezTo>
                    <a:pt x="16972" y="16595"/>
                    <a:pt x="17211" y="17322"/>
                    <a:pt x="17300" y="18120"/>
                  </a:cubicBezTo>
                  <a:lnTo>
                    <a:pt x="21600" y="18120"/>
                  </a:lnTo>
                  <a:lnTo>
                    <a:pt x="21600" y="15758"/>
                  </a:lnTo>
                  <a:cubicBezTo>
                    <a:pt x="21587" y="15257"/>
                    <a:pt x="21462" y="14780"/>
                    <a:pt x="21241" y="14468"/>
                  </a:cubicBezTo>
                  <a:close/>
                  <a:moveTo>
                    <a:pt x="12730" y="13490"/>
                  </a:moveTo>
                  <a:cubicBezTo>
                    <a:pt x="12695" y="13458"/>
                    <a:pt x="12673" y="13396"/>
                    <a:pt x="12673" y="13325"/>
                  </a:cubicBezTo>
                  <a:lnTo>
                    <a:pt x="12673" y="9361"/>
                  </a:lnTo>
                  <a:cubicBezTo>
                    <a:pt x="12956" y="9025"/>
                    <a:pt x="13143" y="8462"/>
                    <a:pt x="13143" y="7820"/>
                  </a:cubicBezTo>
                  <a:lnTo>
                    <a:pt x="13143" y="3707"/>
                  </a:lnTo>
                  <a:cubicBezTo>
                    <a:pt x="13143" y="1658"/>
                    <a:pt x="12203" y="0"/>
                    <a:pt x="11042" y="0"/>
                  </a:cubicBezTo>
                  <a:lnTo>
                    <a:pt x="10540" y="0"/>
                  </a:lnTo>
                  <a:cubicBezTo>
                    <a:pt x="9379" y="0"/>
                    <a:pt x="8440" y="1658"/>
                    <a:pt x="8440" y="3707"/>
                  </a:cubicBezTo>
                  <a:lnTo>
                    <a:pt x="8440" y="7820"/>
                  </a:lnTo>
                  <a:cubicBezTo>
                    <a:pt x="8440" y="8462"/>
                    <a:pt x="8626" y="9032"/>
                    <a:pt x="8909" y="9361"/>
                  </a:cubicBezTo>
                  <a:lnTo>
                    <a:pt x="8909" y="13325"/>
                  </a:lnTo>
                  <a:cubicBezTo>
                    <a:pt x="8909" y="13396"/>
                    <a:pt x="8887" y="13458"/>
                    <a:pt x="8851" y="13490"/>
                  </a:cubicBezTo>
                  <a:cubicBezTo>
                    <a:pt x="8532" y="13764"/>
                    <a:pt x="6977" y="15155"/>
                    <a:pt x="5532" y="17243"/>
                  </a:cubicBezTo>
                  <a:cubicBezTo>
                    <a:pt x="5270" y="17619"/>
                    <a:pt x="5119" y="18190"/>
                    <a:pt x="5119" y="18785"/>
                  </a:cubicBezTo>
                  <a:lnTo>
                    <a:pt x="5119" y="21600"/>
                  </a:lnTo>
                  <a:lnTo>
                    <a:pt x="16462" y="21600"/>
                  </a:lnTo>
                  <a:lnTo>
                    <a:pt x="16462" y="18785"/>
                  </a:lnTo>
                  <a:cubicBezTo>
                    <a:pt x="16462" y="18190"/>
                    <a:pt x="16311" y="17619"/>
                    <a:pt x="16050" y="17243"/>
                  </a:cubicBezTo>
                  <a:cubicBezTo>
                    <a:pt x="14605" y="15148"/>
                    <a:pt x="13049" y="13764"/>
                    <a:pt x="12730" y="13490"/>
                  </a:cubicBezTo>
                  <a:close/>
                  <a:moveTo>
                    <a:pt x="12730" y="13490"/>
                  </a:move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GB"/>
            </a:p>
          </p:txBody>
        </p:sp>
      </p:grpSp>
      <p:sp>
        <p:nvSpPr>
          <p:cNvPr id="31759" name="Rectangle 46">
            <a:extLst>
              <a:ext uri="{FF2B5EF4-FFF2-40B4-BE49-F238E27FC236}">
                <a16:creationId xmlns:a16="http://schemas.microsoft.com/office/drawing/2014/main" id="{F0AF850A-7A52-937F-5F39-C2CA73C9E15B}"/>
              </a:ext>
            </a:extLst>
          </p:cNvPr>
          <p:cNvSpPr>
            <a:spLocks noChangeArrowheads="1"/>
          </p:cNvSpPr>
          <p:nvPr/>
        </p:nvSpPr>
        <p:spPr bwMode="auto">
          <a:xfrm>
            <a:off x="5143500" y="865188"/>
            <a:ext cx="620713"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just" eaLnBrk="1" hangingPunct="1">
              <a:lnSpc>
                <a:spcPct val="100000"/>
              </a:lnSpc>
              <a:spcBef>
                <a:spcPct val="0"/>
              </a:spcBef>
              <a:buClr>
                <a:srgbClr val="E24848"/>
              </a:buClr>
              <a:buFontTx/>
              <a:buNone/>
            </a:pPr>
            <a:r>
              <a:rPr lang="tr-TR" altLang="tr-TR" sz="3600" b="1" dirty="0">
                <a:latin typeface="Open Sans" panose="020B0606030504020204" pitchFamily="34" charset="0"/>
                <a:cs typeface="Open Sans" panose="020B0606030504020204" pitchFamily="34" charset="0"/>
              </a:rPr>
              <a:t>6</a:t>
            </a:r>
            <a:endParaRPr lang="tr-TR" altLang="tr-TR" sz="3600" b="1" noProof="1">
              <a:latin typeface="Open Sans" panose="020B0606030504020204" pitchFamily="34" charset="0"/>
              <a:cs typeface="Open Sans" panose="020B0606030504020204" pitchFamily="34" charset="0"/>
            </a:endParaRPr>
          </a:p>
        </p:txBody>
      </p:sp>
      <p:sp>
        <p:nvSpPr>
          <p:cNvPr id="31760" name="Content Placeholder 2">
            <a:extLst>
              <a:ext uri="{FF2B5EF4-FFF2-40B4-BE49-F238E27FC236}">
                <a16:creationId xmlns:a16="http://schemas.microsoft.com/office/drawing/2014/main" id="{1A6FFA0C-487C-44D0-E32E-2B110EA7925A}"/>
              </a:ext>
            </a:extLst>
          </p:cNvPr>
          <p:cNvSpPr txBox="1">
            <a:spLocks noChangeArrowheads="1"/>
          </p:cNvSpPr>
          <p:nvPr/>
        </p:nvSpPr>
        <p:spPr bwMode="auto">
          <a:xfrm>
            <a:off x="3543300" y="1576388"/>
            <a:ext cx="1928813" cy="48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ctr" eaLnBrk="1" hangingPunct="1">
              <a:lnSpc>
                <a:spcPct val="100000"/>
              </a:lnSpc>
              <a:spcBef>
                <a:spcPct val="0"/>
              </a:spcBef>
              <a:buFontTx/>
              <a:buNone/>
            </a:pPr>
            <a:r>
              <a:rPr lang="tr-TR" altLang="tr-TR" sz="1600" b="1">
                <a:solidFill>
                  <a:srgbClr val="404040"/>
                </a:solidFill>
                <a:latin typeface="Open Sans" panose="020B0606030504020204" pitchFamily="34" charset="0"/>
                <a:cs typeface="Open Sans" panose="020B0606030504020204" pitchFamily="34" charset="0"/>
              </a:rPr>
              <a:t>Yönetici Sayısı</a:t>
            </a:r>
            <a:endParaRPr lang="en-US" altLang="tr-TR" sz="1600" b="1">
              <a:solidFill>
                <a:srgbClr val="262626"/>
              </a:solidFill>
              <a:latin typeface="Open Sans" panose="020B0606030504020204" pitchFamily="34" charset="0"/>
              <a:cs typeface="Open Sans" panose="020B0606030504020204" pitchFamily="34" charset="0"/>
            </a:endParaRPr>
          </a:p>
        </p:txBody>
      </p:sp>
      <p:grpSp>
        <p:nvGrpSpPr>
          <p:cNvPr id="31761" name="Grup 89">
            <a:extLst>
              <a:ext uri="{FF2B5EF4-FFF2-40B4-BE49-F238E27FC236}">
                <a16:creationId xmlns:a16="http://schemas.microsoft.com/office/drawing/2014/main" id="{1123AFEC-975A-387A-CCF6-BD3B0299E871}"/>
              </a:ext>
            </a:extLst>
          </p:cNvPr>
          <p:cNvGrpSpPr>
            <a:grpSpLocks/>
          </p:cNvGrpSpPr>
          <p:nvPr/>
        </p:nvGrpSpPr>
        <p:grpSpPr bwMode="auto">
          <a:xfrm>
            <a:off x="3659188" y="984250"/>
            <a:ext cx="1831975" cy="546100"/>
            <a:chOff x="6819900" y="1426914"/>
            <a:chExt cx="1831465" cy="545825"/>
          </a:xfrm>
        </p:grpSpPr>
        <p:cxnSp>
          <p:nvCxnSpPr>
            <p:cNvPr id="91" name="Straight Connector 61">
              <a:extLst>
                <a:ext uri="{FF2B5EF4-FFF2-40B4-BE49-F238E27FC236}">
                  <a16:creationId xmlns:a16="http://schemas.microsoft.com/office/drawing/2014/main" id="{356E9A5C-1AA0-0306-0EDE-A0E0E7EE3AB7}"/>
                </a:ext>
              </a:extLst>
            </p:cNvPr>
            <p:cNvCxnSpPr/>
            <p:nvPr/>
          </p:nvCxnSpPr>
          <p:spPr>
            <a:xfrm>
              <a:off x="6819900" y="1885471"/>
              <a:ext cx="1831465" cy="47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2" name="Right Triangle 62">
              <a:extLst>
                <a:ext uri="{FF2B5EF4-FFF2-40B4-BE49-F238E27FC236}">
                  <a16:creationId xmlns:a16="http://schemas.microsoft.com/office/drawing/2014/main" id="{D840777F-3599-2AE7-ED18-FABB603223B2}"/>
                </a:ext>
              </a:extLst>
            </p:cNvPr>
            <p:cNvSpPr/>
            <p:nvPr/>
          </p:nvSpPr>
          <p:spPr>
            <a:xfrm rot="13500000" flipV="1">
              <a:off x="7546773" y="1802963"/>
              <a:ext cx="168228" cy="169776"/>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1834" name="AutoShape 17">
              <a:extLst>
                <a:ext uri="{FF2B5EF4-FFF2-40B4-BE49-F238E27FC236}">
                  <a16:creationId xmlns:a16="http://schemas.microsoft.com/office/drawing/2014/main" id="{3B53544D-D2B2-BAAE-A243-63FEA3395F88}"/>
                </a:ext>
              </a:extLst>
            </p:cNvPr>
            <p:cNvSpPr>
              <a:spLocks/>
            </p:cNvSpPr>
            <p:nvPr/>
          </p:nvSpPr>
          <p:spPr bwMode="auto">
            <a:xfrm>
              <a:off x="7271259" y="1426914"/>
              <a:ext cx="719063" cy="40734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0 h 21600"/>
                <a:gd name="T12" fmla="*/ 2147483646 w 21600"/>
                <a:gd name="T13" fmla="*/ 0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0 w 21600"/>
                <a:gd name="T27" fmla="*/ 2147483646 h 21600"/>
                <a:gd name="T28" fmla="*/ 0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0 h 21600"/>
                <a:gd name="T52" fmla="*/ 2147483646 w 21600"/>
                <a:gd name="T53" fmla="*/ 0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0 h 21600"/>
                <a:gd name="T88" fmla="*/ 2147483646 w 21600"/>
                <a:gd name="T89" fmla="*/ 0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1600" h="21600">
                  <a:moveTo>
                    <a:pt x="6383" y="11316"/>
                  </a:moveTo>
                  <a:cubicBezTo>
                    <a:pt x="6352" y="11293"/>
                    <a:pt x="6334" y="11238"/>
                    <a:pt x="6334" y="11175"/>
                  </a:cubicBezTo>
                  <a:lnTo>
                    <a:pt x="6334" y="7852"/>
                  </a:lnTo>
                  <a:cubicBezTo>
                    <a:pt x="6569" y="7570"/>
                    <a:pt x="6728" y="7101"/>
                    <a:pt x="6728" y="6553"/>
                  </a:cubicBezTo>
                  <a:lnTo>
                    <a:pt x="6728" y="3104"/>
                  </a:lnTo>
                  <a:cubicBezTo>
                    <a:pt x="6728" y="1391"/>
                    <a:pt x="5939" y="0"/>
                    <a:pt x="4969" y="0"/>
                  </a:cubicBezTo>
                  <a:lnTo>
                    <a:pt x="4544" y="0"/>
                  </a:lnTo>
                  <a:cubicBezTo>
                    <a:pt x="3573" y="0"/>
                    <a:pt x="2783" y="1391"/>
                    <a:pt x="2783" y="3104"/>
                  </a:cubicBezTo>
                  <a:lnTo>
                    <a:pt x="2783" y="6553"/>
                  </a:lnTo>
                  <a:cubicBezTo>
                    <a:pt x="2783" y="7093"/>
                    <a:pt x="2938" y="7570"/>
                    <a:pt x="3178" y="7852"/>
                  </a:cubicBezTo>
                  <a:lnTo>
                    <a:pt x="3178" y="11175"/>
                  </a:lnTo>
                  <a:cubicBezTo>
                    <a:pt x="3178" y="11238"/>
                    <a:pt x="3161" y="11284"/>
                    <a:pt x="3129" y="11316"/>
                  </a:cubicBezTo>
                  <a:cubicBezTo>
                    <a:pt x="2863" y="11542"/>
                    <a:pt x="1555" y="12708"/>
                    <a:pt x="345" y="14468"/>
                  </a:cubicBezTo>
                  <a:cubicBezTo>
                    <a:pt x="128" y="14788"/>
                    <a:pt x="0" y="15257"/>
                    <a:pt x="0" y="15758"/>
                  </a:cubicBezTo>
                  <a:lnTo>
                    <a:pt x="0" y="18120"/>
                  </a:lnTo>
                  <a:lnTo>
                    <a:pt x="4300" y="18120"/>
                  </a:lnTo>
                  <a:cubicBezTo>
                    <a:pt x="4384" y="17322"/>
                    <a:pt x="4628" y="16595"/>
                    <a:pt x="4991" y="16071"/>
                  </a:cubicBezTo>
                  <a:cubicBezTo>
                    <a:pt x="6024" y="14569"/>
                    <a:pt x="7119" y="13412"/>
                    <a:pt x="7810" y="12739"/>
                  </a:cubicBezTo>
                  <a:cubicBezTo>
                    <a:pt x="7114" y="11957"/>
                    <a:pt x="6547" y="11457"/>
                    <a:pt x="6383" y="11316"/>
                  </a:cubicBezTo>
                  <a:close/>
                  <a:moveTo>
                    <a:pt x="21241" y="14468"/>
                  </a:moveTo>
                  <a:cubicBezTo>
                    <a:pt x="20030" y="12708"/>
                    <a:pt x="18723" y="11542"/>
                    <a:pt x="18457" y="11316"/>
                  </a:cubicBezTo>
                  <a:cubicBezTo>
                    <a:pt x="18426" y="11293"/>
                    <a:pt x="18408" y="11238"/>
                    <a:pt x="18408" y="11175"/>
                  </a:cubicBezTo>
                  <a:lnTo>
                    <a:pt x="18408" y="7852"/>
                  </a:lnTo>
                  <a:cubicBezTo>
                    <a:pt x="18643" y="7570"/>
                    <a:pt x="18802" y="7101"/>
                    <a:pt x="18802" y="6553"/>
                  </a:cubicBezTo>
                  <a:lnTo>
                    <a:pt x="18802" y="3104"/>
                  </a:lnTo>
                  <a:cubicBezTo>
                    <a:pt x="18802" y="1391"/>
                    <a:pt x="18014" y="0"/>
                    <a:pt x="17043" y="0"/>
                  </a:cubicBezTo>
                  <a:lnTo>
                    <a:pt x="16626" y="0"/>
                  </a:lnTo>
                  <a:cubicBezTo>
                    <a:pt x="15655" y="0"/>
                    <a:pt x="14867" y="1391"/>
                    <a:pt x="14867" y="3104"/>
                  </a:cubicBezTo>
                  <a:lnTo>
                    <a:pt x="14867" y="6553"/>
                  </a:lnTo>
                  <a:cubicBezTo>
                    <a:pt x="14867" y="7093"/>
                    <a:pt x="15022" y="7570"/>
                    <a:pt x="15261" y="7852"/>
                  </a:cubicBezTo>
                  <a:lnTo>
                    <a:pt x="15261" y="11175"/>
                  </a:lnTo>
                  <a:cubicBezTo>
                    <a:pt x="15261" y="11238"/>
                    <a:pt x="15244" y="11284"/>
                    <a:pt x="15212" y="11316"/>
                  </a:cubicBezTo>
                  <a:cubicBezTo>
                    <a:pt x="15048" y="11457"/>
                    <a:pt x="14481" y="11957"/>
                    <a:pt x="13790" y="12739"/>
                  </a:cubicBezTo>
                  <a:cubicBezTo>
                    <a:pt x="14481" y="13412"/>
                    <a:pt x="15576" y="14569"/>
                    <a:pt x="16609" y="16071"/>
                  </a:cubicBezTo>
                  <a:cubicBezTo>
                    <a:pt x="16972" y="16595"/>
                    <a:pt x="17211" y="17322"/>
                    <a:pt x="17300" y="18120"/>
                  </a:cubicBezTo>
                  <a:lnTo>
                    <a:pt x="21600" y="18120"/>
                  </a:lnTo>
                  <a:lnTo>
                    <a:pt x="21600" y="15758"/>
                  </a:lnTo>
                  <a:cubicBezTo>
                    <a:pt x="21587" y="15257"/>
                    <a:pt x="21462" y="14780"/>
                    <a:pt x="21241" y="14468"/>
                  </a:cubicBezTo>
                  <a:close/>
                  <a:moveTo>
                    <a:pt x="12730" y="13490"/>
                  </a:moveTo>
                  <a:cubicBezTo>
                    <a:pt x="12695" y="13458"/>
                    <a:pt x="12673" y="13396"/>
                    <a:pt x="12673" y="13325"/>
                  </a:cubicBezTo>
                  <a:lnTo>
                    <a:pt x="12673" y="9361"/>
                  </a:lnTo>
                  <a:cubicBezTo>
                    <a:pt x="12956" y="9025"/>
                    <a:pt x="13143" y="8462"/>
                    <a:pt x="13143" y="7820"/>
                  </a:cubicBezTo>
                  <a:lnTo>
                    <a:pt x="13143" y="3707"/>
                  </a:lnTo>
                  <a:cubicBezTo>
                    <a:pt x="13143" y="1658"/>
                    <a:pt x="12203" y="0"/>
                    <a:pt x="11042" y="0"/>
                  </a:cubicBezTo>
                  <a:lnTo>
                    <a:pt x="10540" y="0"/>
                  </a:lnTo>
                  <a:cubicBezTo>
                    <a:pt x="9379" y="0"/>
                    <a:pt x="8440" y="1658"/>
                    <a:pt x="8440" y="3707"/>
                  </a:cubicBezTo>
                  <a:lnTo>
                    <a:pt x="8440" y="7820"/>
                  </a:lnTo>
                  <a:cubicBezTo>
                    <a:pt x="8440" y="8462"/>
                    <a:pt x="8626" y="9032"/>
                    <a:pt x="8909" y="9361"/>
                  </a:cubicBezTo>
                  <a:lnTo>
                    <a:pt x="8909" y="13325"/>
                  </a:lnTo>
                  <a:cubicBezTo>
                    <a:pt x="8909" y="13396"/>
                    <a:pt x="8887" y="13458"/>
                    <a:pt x="8851" y="13490"/>
                  </a:cubicBezTo>
                  <a:cubicBezTo>
                    <a:pt x="8532" y="13764"/>
                    <a:pt x="6977" y="15155"/>
                    <a:pt x="5532" y="17243"/>
                  </a:cubicBezTo>
                  <a:cubicBezTo>
                    <a:pt x="5270" y="17619"/>
                    <a:pt x="5119" y="18190"/>
                    <a:pt x="5119" y="18785"/>
                  </a:cubicBezTo>
                  <a:lnTo>
                    <a:pt x="5119" y="21600"/>
                  </a:lnTo>
                  <a:lnTo>
                    <a:pt x="16462" y="21600"/>
                  </a:lnTo>
                  <a:lnTo>
                    <a:pt x="16462" y="18785"/>
                  </a:lnTo>
                  <a:cubicBezTo>
                    <a:pt x="16462" y="18190"/>
                    <a:pt x="16311" y="17619"/>
                    <a:pt x="16050" y="17243"/>
                  </a:cubicBezTo>
                  <a:cubicBezTo>
                    <a:pt x="14605" y="15148"/>
                    <a:pt x="13049" y="13764"/>
                    <a:pt x="12730" y="13490"/>
                  </a:cubicBezTo>
                  <a:close/>
                  <a:moveTo>
                    <a:pt x="12730" y="13490"/>
                  </a:move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GB"/>
            </a:p>
          </p:txBody>
        </p:sp>
      </p:grpSp>
      <p:sp>
        <p:nvSpPr>
          <p:cNvPr id="31762" name="Rectangle 46">
            <a:extLst>
              <a:ext uri="{FF2B5EF4-FFF2-40B4-BE49-F238E27FC236}">
                <a16:creationId xmlns:a16="http://schemas.microsoft.com/office/drawing/2014/main" id="{EE24FB91-7316-331A-3934-223F26F356D2}"/>
              </a:ext>
            </a:extLst>
          </p:cNvPr>
          <p:cNvSpPr>
            <a:spLocks noChangeArrowheads="1"/>
          </p:cNvSpPr>
          <p:nvPr/>
        </p:nvSpPr>
        <p:spPr bwMode="auto">
          <a:xfrm>
            <a:off x="7859713" y="2339975"/>
            <a:ext cx="423862"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just" eaLnBrk="1" hangingPunct="1">
              <a:lnSpc>
                <a:spcPct val="100000"/>
              </a:lnSpc>
              <a:spcBef>
                <a:spcPct val="0"/>
              </a:spcBef>
              <a:buClr>
                <a:srgbClr val="E24848"/>
              </a:buClr>
              <a:buFontTx/>
              <a:buNone/>
            </a:pPr>
            <a:r>
              <a:rPr lang="tr-TR" altLang="tr-TR" sz="3600" b="1" dirty="0">
                <a:latin typeface="Open Sans" panose="020B0606030504020204" pitchFamily="34" charset="0"/>
                <a:cs typeface="Open Sans" panose="020B0606030504020204" pitchFamily="34" charset="0"/>
              </a:rPr>
              <a:t>2</a:t>
            </a:r>
            <a:endParaRPr lang="tr-TR" altLang="tr-TR" sz="3600" b="1" noProof="1">
              <a:latin typeface="Open Sans" panose="020B0606030504020204" pitchFamily="34" charset="0"/>
              <a:cs typeface="Open Sans" panose="020B0606030504020204" pitchFamily="34" charset="0"/>
            </a:endParaRPr>
          </a:p>
        </p:txBody>
      </p:sp>
      <p:sp>
        <p:nvSpPr>
          <p:cNvPr id="31763" name="Content Placeholder 2">
            <a:extLst>
              <a:ext uri="{FF2B5EF4-FFF2-40B4-BE49-F238E27FC236}">
                <a16:creationId xmlns:a16="http://schemas.microsoft.com/office/drawing/2014/main" id="{428C47D8-00E0-0E6B-8778-1A0CAF709F1C}"/>
              </a:ext>
            </a:extLst>
          </p:cNvPr>
          <p:cNvSpPr txBox="1">
            <a:spLocks noChangeArrowheads="1"/>
          </p:cNvSpPr>
          <p:nvPr/>
        </p:nvSpPr>
        <p:spPr bwMode="auto">
          <a:xfrm>
            <a:off x="6299200" y="3065463"/>
            <a:ext cx="1928813"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ctr" eaLnBrk="1" hangingPunct="1">
              <a:lnSpc>
                <a:spcPct val="100000"/>
              </a:lnSpc>
              <a:spcBef>
                <a:spcPct val="0"/>
              </a:spcBef>
              <a:buFontTx/>
              <a:buNone/>
            </a:pPr>
            <a:r>
              <a:rPr lang="tr-TR" altLang="tr-TR" sz="1600" b="1">
                <a:solidFill>
                  <a:srgbClr val="404040"/>
                </a:solidFill>
                <a:latin typeface="Open Sans" panose="020B0606030504020204" pitchFamily="34" charset="0"/>
                <a:cs typeface="Open Sans" panose="020B0606030504020204" pitchFamily="34" charset="0"/>
              </a:rPr>
              <a:t>Diğer Personel Sayısı</a:t>
            </a:r>
            <a:endParaRPr lang="en-US" altLang="tr-TR" sz="1600" b="1">
              <a:solidFill>
                <a:srgbClr val="262626"/>
              </a:solidFill>
              <a:latin typeface="Open Sans" panose="020B0606030504020204" pitchFamily="34" charset="0"/>
              <a:cs typeface="Open Sans" panose="020B0606030504020204" pitchFamily="34" charset="0"/>
            </a:endParaRPr>
          </a:p>
        </p:txBody>
      </p:sp>
      <p:grpSp>
        <p:nvGrpSpPr>
          <p:cNvPr id="31764" name="Grup 95">
            <a:extLst>
              <a:ext uri="{FF2B5EF4-FFF2-40B4-BE49-F238E27FC236}">
                <a16:creationId xmlns:a16="http://schemas.microsoft.com/office/drawing/2014/main" id="{30A7E7FE-1F33-9E74-B15D-081589E620C4}"/>
              </a:ext>
            </a:extLst>
          </p:cNvPr>
          <p:cNvGrpSpPr>
            <a:grpSpLocks/>
          </p:cNvGrpSpPr>
          <p:nvPr/>
        </p:nvGrpSpPr>
        <p:grpSpPr bwMode="auto">
          <a:xfrm>
            <a:off x="6396038" y="2473325"/>
            <a:ext cx="1831975" cy="544513"/>
            <a:chOff x="6819900" y="1426914"/>
            <a:chExt cx="1831465" cy="545825"/>
          </a:xfrm>
        </p:grpSpPr>
        <p:cxnSp>
          <p:nvCxnSpPr>
            <p:cNvPr id="97" name="Straight Connector 61">
              <a:extLst>
                <a:ext uri="{FF2B5EF4-FFF2-40B4-BE49-F238E27FC236}">
                  <a16:creationId xmlns:a16="http://schemas.microsoft.com/office/drawing/2014/main" id="{41857061-9136-DC4E-8A7C-6D4108A99FF9}"/>
                </a:ext>
              </a:extLst>
            </p:cNvPr>
            <p:cNvCxnSpPr/>
            <p:nvPr/>
          </p:nvCxnSpPr>
          <p:spPr>
            <a:xfrm>
              <a:off x="6819900" y="1885216"/>
              <a:ext cx="1831465" cy="4774"/>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8" name="Right Triangle 62">
              <a:extLst>
                <a:ext uri="{FF2B5EF4-FFF2-40B4-BE49-F238E27FC236}">
                  <a16:creationId xmlns:a16="http://schemas.microsoft.com/office/drawing/2014/main" id="{C989BCC3-1A8E-BEDE-ECC3-99C0A0447307}"/>
                </a:ext>
              </a:extLst>
            </p:cNvPr>
            <p:cNvSpPr/>
            <p:nvPr/>
          </p:nvSpPr>
          <p:spPr>
            <a:xfrm rot="13500000" flipV="1">
              <a:off x="7546773" y="1804059"/>
              <a:ext cx="168228" cy="16868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1831" name="AutoShape 17">
              <a:extLst>
                <a:ext uri="{FF2B5EF4-FFF2-40B4-BE49-F238E27FC236}">
                  <a16:creationId xmlns:a16="http://schemas.microsoft.com/office/drawing/2014/main" id="{732DB659-B44B-111A-5024-304FC17FE488}"/>
                </a:ext>
              </a:extLst>
            </p:cNvPr>
            <p:cNvSpPr>
              <a:spLocks/>
            </p:cNvSpPr>
            <p:nvPr/>
          </p:nvSpPr>
          <p:spPr bwMode="auto">
            <a:xfrm>
              <a:off x="7271259" y="1426914"/>
              <a:ext cx="719063" cy="40734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0 h 21600"/>
                <a:gd name="T12" fmla="*/ 2147483646 w 21600"/>
                <a:gd name="T13" fmla="*/ 0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0 w 21600"/>
                <a:gd name="T27" fmla="*/ 2147483646 h 21600"/>
                <a:gd name="T28" fmla="*/ 0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0 h 21600"/>
                <a:gd name="T52" fmla="*/ 2147483646 w 21600"/>
                <a:gd name="T53" fmla="*/ 0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0 h 21600"/>
                <a:gd name="T88" fmla="*/ 2147483646 w 21600"/>
                <a:gd name="T89" fmla="*/ 0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1600" h="21600">
                  <a:moveTo>
                    <a:pt x="6383" y="11316"/>
                  </a:moveTo>
                  <a:cubicBezTo>
                    <a:pt x="6352" y="11293"/>
                    <a:pt x="6334" y="11238"/>
                    <a:pt x="6334" y="11175"/>
                  </a:cubicBezTo>
                  <a:lnTo>
                    <a:pt x="6334" y="7852"/>
                  </a:lnTo>
                  <a:cubicBezTo>
                    <a:pt x="6569" y="7570"/>
                    <a:pt x="6728" y="7101"/>
                    <a:pt x="6728" y="6553"/>
                  </a:cubicBezTo>
                  <a:lnTo>
                    <a:pt x="6728" y="3104"/>
                  </a:lnTo>
                  <a:cubicBezTo>
                    <a:pt x="6728" y="1391"/>
                    <a:pt x="5939" y="0"/>
                    <a:pt x="4969" y="0"/>
                  </a:cubicBezTo>
                  <a:lnTo>
                    <a:pt x="4544" y="0"/>
                  </a:lnTo>
                  <a:cubicBezTo>
                    <a:pt x="3573" y="0"/>
                    <a:pt x="2783" y="1391"/>
                    <a:pt x="2783" y="3104"/>
                  </a:cubicBezTo>
                  <a:lnTo>
                    <a:pt x="2783" y="6553"/>
                  </a:lnTo>
                  <a:cubicBezTo>
                    <a:pt x="2783" y="7093"/>
                    <a:pt x="2938" y="7570"/>
                    <a:pt x="3178" y="7852"/>
                  </a:cubicBezTo>
                  <a:lnTo>
                    <a:pt x="3178" y="11175"/>
                  </a:lnTo>
                  <a:cubicBezTo>
                    <a:pt x="3178" y="11238"/>
                    <a:pt x="3161" y="11284"/>
                    <a:pt x="3129" y="11316"/>
                  </a:cubicBezTo>
                  <a:cubicBezTo>
                    <a:pt x="2863" y="11542"/>
                    <a:pt x="1555" y="12708"/>
                    <a:pt x="345" y="14468"/>
                  </a:cubicBezTo>
                  <a:cubicBezTo>
                    <a:pt x="128" y="14788"/>
                    <a:pt x="0" y="15257"/>
                    <a:pt x="0" y="15758"/>
                  </a:cubicBezTo>
                  <a:lnTo>
                    <a:pt x="0" y="18120"/>
                  </a:lnTo>
                  <a:lnTo>
                    <a:pt x="4300" y="18120"/>
                  </a:lnTo>
                  <a:cubicBezTo>
                    <a:pt x="4384" y="17322"/>
                    <a:pt x="4628" y="16595"/>
                    <a:pt x="4991" y="16071"/>
                  </a:cubicBezTo>
                  <a:cubicBezTo>
                    <a:pt x="6024" y="14569"/>
                    <a:pt x="7119" y="13412"/>
                    <a:pt x="7810" y="12739"/>
                  </a:cubicBezTo>
                  <a:cubicBezTo>
                    <a:pt x="7114" y="11957"/>
                    <a:pt x="6547" y="11457"/>
                    <a:pt x="6383" y="11316"/>
                  </a:cubicBezTo>
                  <a:close/>
                  <a:moveTo>
                    <a:pt x="21241" y="14468"/>
                  </a:moveTo>
                  <a:cubicBezTo>
                    <a:pt x="20030" y="12708"/>
                    <a:pt x="18723" y="11542"/>
                    <a:pt x="18457" y="11316"/>
                  </a:cubicBezTo>
                  <a:cubicBezTo>
                    <a:pt x="18426" y="11293"/>
                    <a:pt x="18408" y="11238"/>
                    <a:pt x="18408" y="11175"/>
                  </a:cubicBezTo>
                  <a:lnTo>
                    <a:pt x="18408" y="7852"/>
                  </a:lnTo>
                  <a:cubicBezTo>
                    <a:pt x="18643" y="7570"/>
                    <a:pt x="18802" y="7101"/>
                    <a:pt x="18802" y="6553"/>
                  </a:cubicBezTo>
                  <a:lnTo>
                    <a:pt x="18802" y="3104"/>
                  </a:lnTo>
                  <a:cubicBezTo>
                    <a:pt x="18802" y="1391"/>
                    <a:pt x="18014" y="0"/>
                    <a:pt x="17043" y="0"/>
                  </a:cubicBezTo>
                  <a:lnTo>
                    <a:pt x="16626" y="0"/>
                  </a:lnTo>
                  <a:cubicBezTo>
                    <a:pt x="15655" y="0"/>
                    <a:pt x="14867" y="1391"/>
                    <a:pt x="14867" y="3104"/>
                  </a:cubicBezTo>
                  <a:lnTo>
                    <a:pt x="14867" y="6553"/>
                  </a:lnTo>
                  <a:cubicBezTo>
                    <a:pt x="14867" y="7093"/>
                    <a:pt x="15022" y="7570"/>
                    <a:pt x="15261" y="7852"/>
                  </a:cubicBezTo>
                  <a:lnTo>
                    <a:pt x="15261" y="11175"/>
                  </a:lnTo>
                  <a:cubicBezTo>
                    <a:pt x="15261" y="11238"/>
                    <a:pt x="15244" y="11284"/>
                    <a:pt x="15212" y="11316"/>
                  </a:cubicBezTo>
                  <a:cubicBezTo>
                    <a:pt x="15048" y="11457"/>
                    <a:pt x="14481" y="11957"/>
                    <a:pt x="13790" y="12739"/>
                  </a:cubicBezTo>
                  <a:cubicBezTo>
                    <a:pt x="14481" y="13412"/>
                    <a:pt x="15576" y="14569"/>
                    <a:pt x="16609" y="16071"/>
                  </a:cubicBezTo>
                  <a:cubicBezTo>
                    <a:pt x="16972" y="16595"/>
                    <a:pt x="17211" y="17322"/>
                    <a:pt x="17300" y="18120"/>
                  </a:cubicBezTo>
                  <a:lnTo>
                    <a:pt x="21600" y="18120"/>
                  </a:lnTo>
                  <a:lnTo>
                    <a:pt x="21600" y="15758"/>
                  </a:lnTo>
                  <a:cubicBezTo>
                    <a:pt x="21587" y="15257"/>
                    <a:pt x="21462" y="14780"/>
                    <a:pt x="21241" y="14468"/>
                  </a:cubicBezTo>
                  <a:close/>
                  <a:moveTo>
                    <a:pt x="12730" y="13490"/>
                  </a:moveTo>
                  <a:cubicBezTo>
                    <a:pt x="12695" y="13458"/>
                    <a:pt x="12673" y="13396"/>
                    <a:pt x="12673" y="13325"/>
                  </a:cubicBezTo>
                  <a:lnTo>
                    <a:pt x="12673" y="9361"/>
                  </a:lnTo>
                  <a:cubicBezTo>
                    <a:pt x="12956" y="9025"/>
                    <a:pt x="13143" y="8462"/>
                    <a:pt x="13143" y="7820"/>
                  </a:cubicBezTo>
                  <a:lnTo>
                    <a:pt x="13143" y="3707"/>
                  </a:lnTo>
                  <a:cubicBezTo>
                    <a:pt x="13143" y="1658"/>
                    <a:pt x="12203" y="0"/>
                    <a:pt x="11042" y="0"/>
                  </a:cubicBezTo>
                  <a:lnTo>
                    <a:pt x="10540" y="0"/>
                  </a:lnTo>
                  <a:cubicBezTo>
                    <a:pt x="9379" y="0"/>
                    <a:pt x="8440" y="1658"/>
                    <a:pt x="8440" y="3707"/>
                  </a:cubicBezTo>
                  <a:lnTo>
                    <a:pt x="8440" y="7820"/>
                  </a:lnTo>
                  <a:cubicBezTo>
                    <a:pt x="8440" y="8462"/>
                    <a:pt x="8626" y="9032"/>
                    <a:pt x="8909" y="9361"/>
                  </a:cubicBezTo>
                  <a:lnTo>
                    <a:pt x="8909" y="13325"/>
                  </a:lnTo>
                  <a:cubicBezTo>
                    <a:pt x="8909" y="13396"/>
                    <a:pt x="8887" y="13458"/>
                    <a:pt x="8851" y="13490"/>
                  </a:cubicBezTo>
                  <a:cubicBezTo>
                    <a:pt x="8532" y="13764"/>
                    <a:pt x="6977" y="15155"/>
                    <a:pt x="5532" y="17243"/>
                  </a:cubicBezTo>
                  <a:cubicBezTo>
                    <a:pt x="5270" y="17619"/>
                    <a:pt x="5119" y="18190"/>
                    <a:pt x="5119" y="18785"/>
                  </a:cubicBezTo>
                  <a:lnTo>
                    <a:pt x="5119" y="21600"/>
                  </a:lnTo>
                  <a:lnTo>
                    <a:pt x="16462" y="21600"/>
                  </a:lnTo>
                  <a:lnTo>
                    <a:pt x="16462" y="18785"/>
                  </a:lnTo>
                  <a:cubicBezTo>
                    <a:pt x="16462" y="18190"/>
                    <a:pt x="16311" y="17619"/>
                    <a:pt x="16050" y="17243"/>
                  </a:cubicBezTo>
                  <a:cubicBezTo>
                    <a:pt x="14605" y="15148"/>
                    <a:pt x="13049" y="13764"/>
                    <a:pt x="12730" y="13490"/>
                  </a:cubicBezTo>
                  <a:close/>
                  <a:moveTo>
                    <a:pt x="12730" y="13490"/>
                  </a:move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GB"/>
            </a:p>
          </p:txBody>
        </p:sp>
      </p:grpSp>
      <p:sp>
        <p:nvSpPr>
          <p:cNvPr id="31765" name="Rectangle 46">
            <a:extLst>
              <a:ext uri="{FF2B5EF4-FFF2-40B4-BE49-F238E27FC236}">
                <a16:creationId xmlns:a16="http://schemas.microsoft.com/office/drawing/2014/main" id="{5C264D83-DD94-546F-21AA-30FCE7F13DC4}"/>
              </a:ext>
            </a:extLst>
          </p:cNvPr>
          <p:cNvSpPr>
            <a:spLocks noChangeArrowheads="1"/>
          </p:cNvSpPr>
          <p:nvPr/>
        </p:nvSpPr>
        <p:spPr bwMode="auto">
          <a:xfrm>
            <a:off x="7607300" y="3825875"/>
            <a:ext cx="1309688"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just" eaLnBrk="1" hangingPunct="1">
              <a:lnSpc>
                <a:spcPct val="100000"/>
              </a:lnSpc>
              <a:spcBef>
                <a:spcPct val="0"/>
              </a:spcBef>
              <a:buClr>
                <a:srgbClr val="E24848"/>
              </a:buClr>
              <a:buFontTx/>
              <a:buNone/>
            </a:pPr>
            <a:r>
              <a:rPr lang="tr-TR" altLang="tr-TR" sz="2400" b="1">
                <a:latin typeface="Open Sans" panose="020B0606030504020204" pitchFamily="34" charset="0"/>
                <a:cs typeface="Open Sans" panose="020B0606030504020204" pitchFamily="34" charset="0"/>
              </a:rPr>
              <a:t>%</a:t>
            </a:r>
            <a:r>
              <a:rPr lang="tr-TR" altLang="tr-TR" sz="3600" b="1">
                <a:latin typeface="Open Sans" panose="020B0606030504020204" pitchFamily="34" charset="0"/>
                <a:cs typeface="Open Sans" panose="020B0606030504020204" pitchFamily="34" charset="0"/>
              </a:rPr>
              <a:t>100</a:t>
            </a:r>
            <a:endParaRPr lang="tr-TR" altLang="tr-TR" sz="3600" b="1" noProof="1">
              <a:latin typeface="Open Sans" panose="020B0606030504020204" pitchFamily="34" charset="0"/>
              <a:cs typeface="Open Sans" panose="020B0606030504020204" pitchFamily="34" charset="0"/>
            </a:endParaRPr>
          </a:p>
        </p:txBody>
      </p:sp>
      <p:sp>
        <p:nvSpPr>
          <p:cNvPr id="31766" name="Content Placeholder 2">
            <a:extLst>
              <a:ext uri="{FF2B5EF4-FFF2-40B4-BE49-F238E27FC236}">
                <a16:creationId xmlns:a16="http://schemas.microsoft.com/office/drawing/2014/main" id="{901D9495-133B-EA38-C25F-49F15B16761E}"/>
              </a:ext>
            </a:extLst>
          </p:cNvPr>
          <p:cNvSpPr txBox="1">
            <a:spLocks noChangeArrowheads="1"/>
          </p:cNvSpPr>
          <p:nvPr/>
        </p:nvSpPr>
        <p:spPr bwMode="auto">
          <a:xfrm>
            <a:off x="6194425" y="4681538"/>
            <a:ext cx="2413000"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ctr" eaLnBrk="1" hangingPunct="1">
              <a:lnSpc>
                <a:spcPct val="100000"/>
              </a:lnSpc>
              <a:spcBef>
                <a:spcPct val="0"/>
              </a:spcBef>
              <a:buFontTx/>
              <a:buNone/>
            </a:pPr>
            <a:r>
              <a:rPr lang="tr-TR" altLang="tr-TR" sz="1600" b="1">
                <a:solidFill>
                  <a:srgbClr val="404040"/>
                </a:solidFill>
                <a:latin typeface="Open Sans" panose="020B0606030504020204" pitchFamily="34" charset="0"/>
                <a:cs typeface="Open Sans" panose="020B0606030504020204" pitchFamily="34" charset="0"/>
              </a:rPr>
              <a:t>Kadrolu Lisanslı/Kadrolu oranı</a:t>
            </a:r>
            <a:endParaRPr lang="en-US" altLang="tr-TR" sz="1600" b="1">
              <a:solidFill>
                <a:srgbClr val="262626"/>
              </a:solidFill>
              <a:latin typeface="Open Sans" panose="020B0606030504020204" pitchFamily="34" charset="0"/>
              <a:cs typeface="Open Sans" panose="020B0606030504020204" pitchFamily="34" charset="0"/>
            </a:endParaRPr>
          </a:p>
        </p:txBody>
      </p:sp>
      <p:grpSp>
        <p:nvGrpSpPr>
          <p:cNvPr id="31767" name="Grup 101">
            <a:extLst>
              <a:ext uri="{FF2B5EF4-FFF2-40B4-BE49-F238E27FC236}">
                <a16:creationId xmlns:a16="http://schemas.microsoft.com/office/drawing/2014/main" id="{5DC611C7-1D9B-3136-A619-5196B0B55879}"/>
              </a:ext>
            </a:extLst>
          </p:cNvPr>
          <p:cNvGrpSpPr>
            <a:grpSpLocks/>
          </p:cNvGrpSpPr>
          <p:nvPr/>
        </p:nvGrpSpPr>
        <p:grpSpPr bwMode="auto">
          <a:xfrm>
            <a:off x="6396038" y="3933825"/>
            <a:ext cx="1831975" cy="544513"/>
            <a:chOff x="6819900" y="1426914"/>
            <a:chExt cx="1831465" cy="545825"/>
          </a:xfrm>
        </p:grpSpPr>
        <p:cxnSp>
          <p:nvCxnSpPr>
            <p:cNvPr id="103" name="Straight Connector 61">
              <a:extLst>
                <a:ext uri="{FF2B5EF4-FFF2-40B4-BE49-F238E27FC236}">
                  <a16:creationId xmlns:a16="http://schemas.microsoft.com/office/drawing/2014/main" id="{C1047A71-5E00-1BE0-F91D-0BF9A39D9DD5}"/>
                </a:ext>
              </a:extLst>
            </p:cNvPr>
            <p:cNvCxnSpPr/>
            <p:nvPr/>
          </p:nvCxnSpPr>
          <p:spPr>
            <a:xfrm>
              <a:off x="6819900" y="1885216"/>
              <a:ext cx="1831465" cy="4774"/>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4" name="Right Triangle 62">
              <a:extLst>
                <a:ext uri="{FF2B5EF4-FFF2-40B4-BE49-F238E27FC236}">
                  <a16:creationId xmlns:a16="http://schemas.microsoft.com/office/drawing/2014/main" id="{A9C8490C-051A-D568-7110-55CECE22435C}"/>
                </a:ext>
              </a:extLst>
            </p:cNvPr>
            <p:cNvSpPr/>
            <p:nvPr/>
          </p:nvSpPr>
          <p:spPr>
            <a:xfrm rot="13500000" flipV="1">
              <a:off x="7546773" y="1804059"/>
              <a:ext cx="168228" cy="16868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1828" name="AutoShape 17">
              <a:extLst>
                <a:ext uri="{FF2B5EF4-FFF2-40B4-BE49-F238E27FC236}">
                  <a16:creationId xmlns:a16="http://schemas.microsoft.com/office/drawing/2014/main" id="{6E6024AD-9E6E-172D-FBD4-B893050C976F}"/>
                </a:ext>
              </a:extLst>
            </p:cNvPr>
            <p:cNvSpPr>
              <a:spLocks/>
            </p:cNvSpPr>
            <p:nvPr/>
          </p:nvSpPr>
          <p:spPr bwMode="auto">
            <a:xfrm>
              <a:off x="7271259" y="1426914"/>
              <a:ext cx="719063" cy="40734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0 h 21600"/>
                <a:gd name="T12" fmla="*/ 2147483646 w 21600"/>
                <a:gd name="T13" fmla="*/ 0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0 w 21600"/>
                <a:gd name="T27" fmla="*/ 2147483646 h 21600"/>
                <a:gd name="T28" fmla="*/ 0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0 h 21600"/>
                <a:gd name="T52" fmla="*/ 2147483646 w 21600"/>
                <a:gd name="T53" fmla="*/ 0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0 h 21600"/>
                <a:gd name="T88" fmla="*/ 2147483646 w 21600"/>
                <a:gd name="T89" fmla="*/ 0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1600" h="21600">
                  <a:moveTo>
                    <a:pt x="6383" y="11316"/>
                  </a:moveTo>
                  <a:cubicBezTo>
                    <a:pt x="6352" y="11293"/>
                    <a:pt x="6334" y="11238"/>
                    <a:pt x="6334" y="11175"/>
                  </a:cubicBezTo>
                  <a:lnTo>
                    <a:pt x="6334" y="7852"/>
                  </a:lnTo>
                  <a:cubicBezTo>
                    <a:pt x="6569" y="7570"/>
                    <a:pt x="6728" y="7101"/>
                    <a:pt x="6728" y="6553"/>
                  </a:cubicBezTo>
                  <a:lnTo>
                    <a:pt x="6728" y="3104"/>
                  </a:lnTo>
                  <a:cubicBezTo>
                    <a:pt x="6728" y="1391"/>
                    <a:pt x="5939" y="0"/>
                    <a:pt x="4969" y="0"/>
                  </a:cubicBezTo>
                  <a:lnTo>
                    <a:pt x="4544" y="0"/>
                  </a:lnTo>
                  <a:cubicBezTo>
                    <a:pt x="3573" y="0"/>
                    <a:pt x="2783" y="1391"/>
                    <a:pt x="2783" y="3104"/>
                  </a:cubicBezTo>
                  <a:lnTo>
                    <a:pt x="2783" y="6553"/>
                  </a:lnTo>
                  <a:cubicBezTo>
                    <a:pt x="2783" y="7093"/>
                    <a:pt x="2938" y="7570"/>
                    <a:pt x="3178" y="7852"/>
                  </a:cubicBezTo>
                  <a:lnTo>
                    <a:pt x="3178" y="11175"/>
                  </a:lnTo>
                  <a:cubicBezTo>
                    <a:pt x="3178" y="11238"/>
                    <a:pt x="3161" y="11284"/>
                    <a:pt x="3129" y="11316"/>
                  </a:cubicBezTo>
                  <a:cubicBezTo>
                    <a:pt x="2863" y="11542"/>
                    <a:pt x="1555" y="12708"/>
                    <a:pt x="345" y="14468"/>
                  </a:cubicBezTo>
                  <a:cubicBezTo>
                    <a:pt x="128" y="14788"/>
                    <a:pt x="0" y="15257"/>
                    <a:pt x="0" y="15758"/>
                  </a:cubicBezTo>
                  <a:lnTo>
                    <a:pt x="0" y="18120"/>
                  </a:lnTo>
                  <a:lnTo>
                    <a:pt x="4300" y="18120"/>
                  </a:lnTo>
                  <a:cubicBezTo>
                    <a:pt x="4384" y="17322"/>
                    <a:pt x="4628" y="16595"/>
                    <a:pt x="4991" y="16071"/>
                  </a:cubicBezTo>
                  <a:cubicBezTo>
                    <a:pt x="6024" y="14569"/>
                    <a:pt x="7119" y="13412"/>
                    <a:pt x="7810" y="12739"/>
                  </a:cubicBezTo>
                  <a:cubicBezTo>
                    <a:pt x="7114" y="11957"/>
                    <a:pt x="6547" y="11457"/>
                    <a:pt x="6383" y="11316"/>
                  </a:cubicBezTo>
                  <a:close/>
                  <a:moveTo>
                    <a:pt x="21241" y="14468"/>
                  </a:moveTo>
                  <a:cubicBezTo>
                    <a:pt x="20030" y="12708"/>
                    <a:pt x="18723" y="11542"/>
                    <a:pt x="18457" y="11316"/>
                  </a:cubicBezTo>
                  <a:cubicBezTo>
                    <a:pt x="18426" y="11293"/>
                    <a:pt x="18408" y="11238"/>
                    <a:pt x="18408" y="11175"/>
                  </a:cubicBezTo>
                  <a:lnTo>
                    <a:pt x="18408" y="7852"/>
                  </a:lnTo>
                  <a:cubicBezTo>
                    <a:pt x="18643" y="7570"/>
                    <a:pt x="18802" y="7101"/>
                    <a:pt x="18802" y="6553"/>
                  </a:cubicBezTo>
                  <a:lnTo>
                    <a:pt x="18802" y="3104"/>
                  </a:lnTo>
                  <a:cubicBezTo>
                    <a:pt x="18802" y="1391"/>
                    <a:pt x="18014" y="0"/>
                    <a:pt x="17043" y="0"/>
                  </a:cubicBezTo>
                  <a:lnTo>
                    <a:pt x="16626" y="0"/>
                  </a:lnTo>
                  <a:cubicBezTo>
                    <a:pt x="15655" y="0"/>
                    <a:pt x="14867" y="1391"/>
                    <a:pt x="14867" y="3104"/>
                  </a:cubicBezTo>
                  <a:lnTo>
                    <a:pt x="14867" y="6553"/>
                  </a:lnTo>
                  <a:cubicBezTo>
                    <a:pt x="14867" y="7093"/>
                    <a:pt x="15022" y="7570"/>
                    <a:pt x="15261" y="7852"/>
                  </a:cubicBezTo>
                  <a:lnTo>
                    <a:pt x="15261" y="11175"/>
                  </a:lnTo>
                  <a:cubicBezTo>
                    <a:pt x="15261" y="11238"/>
                    <a:pt x="15244" y="11284"/>
                    <a:pt x="15212" y="11316"/>
                  </a:cubicBezTo>
                  <a:cubicBezTo>
                    <a:pt x="15048" y="11457"/>
                    <a:pt x="14481" y="11957"/>
                    <a:pt x="13790" y="12739"/>
                  </a:cubicBezTo>
                  <a:cubicBezTo>
                    <a:pt x="14481" y="13412"/>
                    <a:pt x="15576" y="14569"/>
                    <a:pt x="16609" y="16071"/>
                  </a:cubicBezTo>
                  <a:cubicBezTo>
                    <a:pt x="16972" y="16595"/>
                    <a:pt x="17211" y="17322"/>
                    <a:pt x="17300" y="18120"/>
                  </a:cubicBezTo>
                  <a:lnTo>
                    <a:pt x="21600" y="18120"/>
                  </a:lnTo>
                  <a:lnTo>
                    <a:pt x="21600" y="15758"/>
                  </a:lnTo>
                  <a:cubicBezTo>
                    <a:pt x="21587" y="15257"/>
                    <a:pt x="21462" y="14780"/>
                    <a:pt x="21241" y="14468"/>
                  </a:cubicBezTo>
                  <a:close/>
                  <a:moveTo>
                    <a:pt x="12730" y="13490"/>
                  </a:moveTo>
                  <a:cubicBezTo>
                    <a:pt x="12695" y="13458"/>
                    <a:pt x="12673" y="13396"/>
                    <a:pt x="12673" y="13325"/>
                  </a:cubicBezTo>
                  <a:lnTo>
                    <a:pt x="12673" y="9361"/>
                  </a:lnTo>
                  <a:cubicBezTo>
                    <a:pt x="12956" y="9025"/>
                    <a:pt x="13143" y="8462"/>
                    <a:pt x="13143" y="7820"/>
                  </a:cubicBezTo>
                  <a:lnTo>
                    <a:pt x="13143" y="3707"/>
                  </a:lnTo>
                  <a:cubicBezTo>
                    <a:pt x="13143" y="1658"/>
                    <a:pt x="12203" y="0"/>
                    <a:pt x="11042" y="0"/>
                  </a:cubicBezTo>
                  <a:lnTo>
                    <a:pt x="10540" y="0"/>
                  </a:lnTo>
                  <a:cubicBezTo>
                    <a:pt x="9379" y="0"/>
                    <a:pt x="8440" y="1658"/>
                    <a:pt x="8440" y="3707"/>
                  </a:cubicBezTo>
                  <a:lnTo>
                    <a:pt x="8440" y="7820"/>
                  </a:lnTo>
                  <a:cubicBezTo>
                    <a:pt x="8440" y="8462"/>
                    <a:pt x="8626" y="9032"/>
                    <a:pt x="8909" y="9361"/>
                  </a:cubicBezTo>
                  <a:lnTo>
                    <a:pt x="8909" y="13325"/>
                  </a:lnTo>
                  <a:cubicBezTo>
                    <a:pt x="8909" y="13396"/>
                    <a:pt x="8887" y="13458"/>
                    <a:pt x="8851" y="13490"/>
                  </a:cubicBezTo>
                  <a:cubicBezTo>
                    <a:pt x="8532" y="13764"/>
                    <a:pt x="6977" y="15155"/>
                    <a:pt x="5532" y="17243"/>
                  </a:cubicBezTo>
                  <a:cubicBezTo>
                    <a:pt x="5270" y="17619"/>
                    <a:pt x="5119" y="18190"/>
                    <a:pt x="5119" y="18785"/>
                  </a:cubicBezTo>
                  <a:lnTo>
                    <a:pt x="5119" y="21600"/>
                  </a:lnTo>
                  <a:lnTo>
                    <a:pt x="16462" y="21600"/>
                  </a:lnTo>
                  <a:lnTo>
                    <a:pt x="16462" y="18785"/>
                  </a:lnTo>
                  <a:cubicBezTo>
                    <a:pt x="16462" y="18190"/>
                    <a:pt x="16311" y="17619"/>
                    <a:pt x="16050" y="17243"/>
                  </a:cubicBezTo>
                  <a:cubicBezTo>
                    <a:pt x="14605" y="15148"/>
                    <a:pt x="13049" y="13764"/>
                    <a:pt x="12730" y="13490"/>
                  </a:cubicBezTo>
                  <a:close/>
                  <a:moveTo>
                    <a:pt x="12730" y="13490"/>
                  </a:move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GB"/>
            </a:p>
          </p:txBody>
        </p:sp>
      </p:grpSp>
      <p:sp>
        <p:nvSpPr>
          <p:cNvPr id="31768" name="Rectangle 46">
            <a:extLst>
              <a:ext uri="{FF2B5EF4-FFF2-40B4-BE49-F238E27FC236}">
                <a16:creationId xmlns:a16="http://schemas.microsoft.com/office/drawing/2014/main" id="{89A51953-61C9-94B6-FA1F-262D78E03B8E}"/>
              </a:ext>
            </a:extLst>
          </p:cNvPr>
          <p:cNvSpPr>
            <a:spLocks noChangeArrowheads="1"/>
          </p:cNvSpPr>
          <p:nvPr/>
        </p:nvSpPr>
        <p:spPr bwMode="auto">
          <a:xfrm>
            <a:off x="5184775" y="3806825"/>
            <a:ext cx="3810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just" eaLnBrk="1" hangingPunct="1">
              <a:lnSpc>
                <a:spcPct val="100000"/>
              </a:lnSpc>
              <a:spcBef>
                <a:spcPct val="0"/>
              </a:spcBef>
              <a:buClr>
                <a:srgbClr val="E24848"/>
              </a:buClr>
              <a:buFontTx/>
              <a:buNone/>
            </a:pPr>
            <a:r>
              <a:rPr lang="tr-TR" altLang="tr-TR" sz="3600" b="1" noProof="1">
                <a:latin typeface="Open Sans" panose="020B0606030504020204" pitchFamily="34" charset="0"/>
                <a:cs typeface="Open Sans" panose="020B0606030504020204" pitchFamily="34" charset="0"/>
              </a:rPr>
              <a:t>4</a:t>
            </a:r>
          </a:p>
        </p:txBody>
      </p:sp>
      <p:sp>
        <p:nvSpPr>
          <p:cNvPr id="31769" name="Content Placeholder 2">
            <a:extLst>
              <a:ext uri="{FF2B5EF4-FFF2-40B4-BE49-F238E27FC236}">
                <a16:creationId xmlns:a16="http://schemas.microsoft.com/office/drawing/2014/main" id="{E494FC33-E0AE-7A83-16D0-E3D9905726A3}"/>
              </a:ext>
            </a:extLst>
          </p:cNvPr>
          <p:cNvSpPr txBox="1">
            <a:spLocks noChangeArrowheads="1"/>
          </p:cNvSpPr>
          <p:nvPr/>
        </p:nvSpPr>
        <p:spPr bwMode="auto">
          <a:xfrm>
            <a:off x="3236913" y="4467225"/>
            <a:ext cx="2571750" cy="906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ctr" eaLnBrk="1" hangingPunct="1">
              <a:lnSpc>
                <a:spcPct val="100000"/>
              </a:lnSpc>
              <a:spcBef>
                <a:spcPct val="0"/>
              </a:spcBef>
              <a:buFontTx/>
              <a:buNone/>
            </a:pPr>
            <a:r>
              <a:rPr lang="tr-TR" altLang="tr-TR" sz="1600" b="1">
                <a:solidFill>
                  <a:srgbClr val="404040"/>
                </a:solidFill>
                <a:latin typeface="Open Sans" panose="020B0606030504020204" pitchFamily="34" charset="0"/>
                <a:cs typeface="Open Sans" panose="020B0606030504020204" pitchFamily="34" charset="0"/>
              </a:rPr>
              <a:t>Kadrolu Makine Mühendisi Sayısı</a:t>
            </a:r>
            <a:endParaRPr lang="en-US" altLang="tr-TR" sz="1600" b="1">
              <a:solidFill>
                <a:srgbClr val="262626"/>
              </a:solidFill>
              <a:latin typeface="Open Sans" panose="020B0606030504020204" pitchFamily="34" charset="0"/>
              <a:cs typeface="Open Sans" panose="020B0606030504020204" pitchFamily="34" charset="0"/>
            </a:endParaRPr>
          </a:p>
        </p:txBody>
      </p:sp>
      <p:grpSp>
        <p:nvGrpSpPr>
          <p:cNvPr id="31770" name="Grup 107">
            <a:extLst>
              <a:ext uri="{FF2B5EF4-FFF2-40B4-BE49-F238E27FC236}">
                <a16:creationId xmlns:a16="http://schemas.microsoft.com/office/drawing/2014/main" id="{6E15AF30-36FF-8150-9520-CCA9684D32E5}"/>
              </a:ext>
            </a:extLst>
          </p:cNvPr>
          <p:cNvGrpSpPr>
            <a:grpSpLocks/>
          </p:cNvGrpSpPr>
          <p:nvPr/>
        </p:nvGrpSpPr>
        <p:grpSpPr bwMode="auto">
          <a:xfrm>
            <a:off x="3679825" y="3938588"/>
            <a:ext cx="1831975" cy="546100"/>
            <a:chOff x="6819900" y="1426914"/>
            <a:chExt cx="1831465" cy="545825"/>
          </a:xfrm>
        </p:grpSpPr>
        <p:cxnSp>
          <p:nvCxnSpPr>
            <p:cNvPr id="109" name="Straight Connector 61">
              <a:extLst>
                <a:ext uri="{FF2B5EF4-FFF2-40B4-BE49-F238E27FC236}">
                  <a16:creationId xmlns:a16="http://schemas.microsoft.com/office/drawing/2014/main" id="{FE89E8E2-89A9-649F-058F-485570B88E2C}"/>
                </a:ext>
              </a:extLst>
            </p:cNvPr>
            <p:cNvCxnSpPr/>
            <p:nvPr/>
          </p:nvCxnSpPr>
          <p:spPr>
            <a:xfrm>
              <a:off x="6819900" y="1885470"/>
              <a:ext cx="1831465" cy="476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0" name="Right Triangle 62">
              <a:extLst>
                <a:ext uri="{FF2B5EF4-FFF2-40B4-BE49-F238E27FC236}">
                  <a16:creationId xmlns:a16="http://schemas.microsoft.com/office/drawing/2014/main" id="{67280992-1262-7F76-B334-0454C5AFBC17}"/>
                </a:ext>
              </a:extLst>
            </p:cNvPr>
            <p:cNvSpPr/>
            <p:nvPr/>
          </p:nvSpPr>
          <p:spPr>
            <a:xfrm rot="13500000" flipV="1">
              <a:off x="7546773" y="1802962"/>
              <a:ext cx="168228" cy="169777"/>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1825" name="AutoShape 17">
              <a:extLst>
                <a:ext uri="{FF2B5EF4-FFF2-40B4-BE49-F238E27FC236}">
                  <a16:creationId xmlns:a16="http://schemas.microsoft.com/office/drawing/2014/main" id="{0425E7C5-A715-1B00-8EA9-A3FFDBDBB9B7}"/>
                </a:ext>
              </a:extLst>
            </p:cNvPr>
            <p:cNvSpPr>
              <a:spLocks/>
            </p:cNvSpPr>
            <p:nvPr/>
          </p:nvSpPr>
          <p:spPr bwMode="auto">
            <a:xfrm>
              <a:off x="7271259" y="1426914"/>
              <a:ext cx="719063" cy="40734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0 h 21600"/>
                <a:gd name="T12" fmla="*/ 2147483646 w 21600"/>
                <a:gd name="T13" fmla="*/ 0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0 w 21600"/>
                <a:gd name="T27" fmla="*/ 2147483646 h 21600"/>
                <a:gd name="T28" fmla="*/ 0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0 h 21600"/>
                <a:gd name="T52" fmla="*/ 2147483646 w 21600"/>
                <a:gd name="T53" fmla="*/ 0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0 h 21600"/>
                <a:gd name="T88" fmla="*/ 2147483646 w 21600"/>
                <a:gd name="T89" fmla="*/ 0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1600" h="21600">
                  <a:moveTo>
                    <a:pt x="6383" y="11316"/>
                  </a:moveTo>
                  <a:cubicBezTo>
                    <a:pt x="6352" y="11293"/>
                    <a:pt x="6334" y="11238"/>
                    <a:pt x="6334" y="11175"/>
                  </a:cubicBezTo>
                  <a:lnTo>
                    <a:pt x="6334" y="7852"/>
                  </a:lnTo>
                  <a:cubicBezTo>
                    <a:pt x="6569" y="7570"/>
                    <a:pt x="6728" y="7101"/>
                    <a:pt x="6728" y="6553"/>
                  </a:cubicBezTo>
                  <a:lnTo>
                    <a:pt x="6728" y="3104"/>
                  </a:lnTo>
                  <a:cubicBezTo>
                    <a:pt x="6728" y="1391"/>
                    <a:pt x="5939" y="0"/>
                    <a:pt x="4969" y="0"/>
                  </a:cubicBezTo>
                  <a:lnTo>
                    <a:pt x="4544" y="0"/>
                  </a:lnTo>
                  <a:cubicBezTo>
                    <a:pt x="3573" y="0"/>
                    <a:pt x="2783" y="1391"/>
                    <a:pt x="2783" y="3104"/>
                  </a:cubicBezTo>
                  <a:lnTo>
                    <a:pt x="2783" y="6553"/>
                  </a:lnTo>
                  <a:cubicBezTo>
                    <a:pt x="2783" y="7093"/>
                    <a:pt x="2938" y="7570"/>
                    <a:pt x="3178" y="7852"/>
                  </a:cubicBezTo>
                  <a:lnTo>
                    <a:pt x="3178" y="11175"/>
                  </a:lnTo>
                  <a:cubicBezTo>
                    <a:pt x="3178" y="11238"/>
                    <a:pt x="3161" y="11284"/>
                    <a:pt x="3129" y="11316"/>
                  </a:cubicBezTo>
                  <a:cubicBezTo>
                    <a:pt x="2863" y="11542"/>
                    <a:pt x="1555" y="12708"/>
                    <a:pt x="345" y="14468"/>
                  </a:cubicBezTo>
                  <a:cubicBezTo>
                    <a:pt x="128" y="14788"/>
                    <a:pt x="0" y="15257"/>
                    <a:pt x="0" y="15758"/>
                  </a:cubicBezTo>
                  <a:lnTo>
                    <a:pt x="0" y="18120"/>
                  </a:lnTo>
                  <a:lnTo>
                    <a:pt x="4300" y="18120"/>
                  </a:lnTo>
                  <a:cubicBezTo>
                    <a:pt x="4384" y="17322"/>
                    <a:pt x="4628" y="16595"/>
                    <a:pt x="4991" y="16071"/>
                  </a:cubicBezTo>
                  <a:cubicBezTo>
                    <a:pt x="6024" y="14569"/>
                    <a:pt x="7119" y="13412"/>
                    <a:pt x="7810" y="12739"/>
                  </a:cubicBezTo>
                  <a:cubicBezTo>
                    <a:pt x="7114" y="11957"/>
                    <a:pt x="6547" y="11457"/>
                    <a:pt x="6383" y="11316"/>
                  </a:cubicBezTo>
                  <a:close/>
                  <a:moveTo>
                    <a:pt x="21241" y="14468"/>
                  </a:moveTo>
                  <a:cubicBezTo>
                    <a:pt x="20030" y="12708"/>
                    <a:pt x="18723" y="11542"/>
                    <a:pt x="18457" y="11316"/>
                  </a:cubicBezTo>
                  <a:cubicBezTo>
                    <a:pt x="18426" y="11293"/>
                    <a:pt x="18408" y="11238"/>
                    <a:pt x="18408" y="11175"/>
                  </a:cubicBezTo>
                  <a:lnTo>
                    <a:pt x="18408" y="7852"/>
                  </a:lnTo>
                  <a:cubicBezTo>
                    <a:pt x="18643" y="7570"/>
                    <a:pt x="18802" y="7101"/>
                    <a:pt x="18802" y="6553"/>
                  </a:cubicBezTo>
                  <a:lnTo>
                    <a:pt x="18802" y="3104"/>
                  </a:lnTo>
                  <a:cubicBezTo>
                    <a:pt x="18802" y="1391"/>
                    <a:pt x="18014" y="0"/>
                    <a:pt x="17043" y="0"/>
                  </a:cubicBezTo>
                  <a:lnTo>
                    <a:pt x="16626" y="0"/>
                  </a:lnTo>
                  <a:cubicBezTo>
                    <a:pt x="15655" y="0"/>
                    <a:pt x="14867" y="1391"/>
                    <a:pt x="14867" y="3104"/>
                  </a:cubicBezTo>
                  <a:lnTo>
                    <a:pt x="14867" y="6553"/>
                  </a:lnTo>
                  <a:cubicBezTo>
                    <a:pt x="14867" y="7093"/>
                    <a:pt x="15022" y="7570"/>
                    <a:pt x="15261" y="7852"/>
                  </a:cubicBezTo>
                  <a:lnTo>
                    <a:pt x="15261" y="11175"/>
                  </a:lnTo>
                  <a:cubicBezTo>
                    <a:pt x="15261" y="11238"/>
                    <a:pt x="15244" y="11284"/>
                    <a:pt x="15212" y="11316"/>
                  </a:cubicBezTo>
                  <a:cubicBezTo>
                    <a:pt x="15048" y="11457"/>
                    <a:pt x="14481" y="11957"/>
                    <a:pt x="13790" y="12739"/>
                  </a:cubicBezTo>
                  <a:cubicBezTo>
                    <a:pt x="14481" y="13412"/>
                    <a:pt x="15576" y="14569"/>
                    <a:pt x="16609" y="16071"/>
                  </a:cubicBezTo>
                  <a:cubicBezTo>
                    <a:pt x="16972" y="16595"/>
                    <a:pt x="17211" y="17322"/>
                    <a:pt x="17300" y="18120"/>
                  </a:cubicBezTo>
                  <a:lnTo>
                    <a:pt x="21600" y="18120"/>
                  </a:lnTo>
                  <a:lnTo>
                    <a:pt x="21600" y="15758"/>
                  </a:lnTo>
                  <a:cubicBezTo>
                    <a:pt x="21587" y="15257"/>
                    <a:pt x="21462" y="14780"/>
                    <a:pt x="21241" y="14468"/>
                  </a:cubicBezTo>
                  <a:close/>
                  <a:moveTo>
                    <a:pt x="12730" y="13490"/>
                  </a:moveTo>
                  <a:cubicBezTo>
                    <a:pt x="12695" y="13458"/>
                    <a:pt x="12673" y="13396"/>
                    <a:pt x="12673" y="13325"/>
                  </a:cubicBezTo>
                  <a:lnTo>
                    <a:pt x="12673" y="9361"/>
                  </a:lnTo>
                  <a:cubicBezTo>
                    <a:pt x="12956" y="9025"/>
                    <a:pt x="13143" y="8462"/>
                    <a:pt x="13143" y="7820"/>
                  </a:cubicBezTo>
                  <a:lnTo>
                    <a:pt x="13143" y="3707"/>
                  </a:lnTo>
                  <a:cubicBezTo>
                    <a:pt x="13143" y="1658"/>
                    <a:pt x="12203" y="0"/>
                    <a:pt x="11042" y="0"/>
                  </a:cubicBezTo>
                  <a:lnTo>
                    <a:pt x="10540" y="0"/>
                  </a:lnTo>
                  <a:cubicBezTo>
                    <a:pt x="9379" y="0"/>
                    <a:pt x="8440" y="1658"/>
                    <a:pt x="8440" y="3707"/>
                  </a:cubicBezTo>
                  <a:lnTo>
                    <a:pt x="8440" y="7820"/>
                  </a:lnTo>
                  <a:cubicBezTo>
                    <a:pt x="8440" y="8462"/>
                    <a:pt x="8626" y="9032"/>
                    <a:pt x="8909" y="9361"/>
                  </a:cubicBezTo>
                  <a:lnTo>
                    <a:pt x="8909" y="13325"/>
                  </a:lnTo>
                  <a:cubicBezTo>
                    <a:pt x="8909" y="13396"/>
                    <a:pt x="8887" y="13458"/>
                    <a:pt x="8851" y="13490"/>
                  </a:cubicBezTo>
                  <a:cubicBezTo>
                    <a:pt x="8532" y="13764"/>
                    <a:pt x="6977" y="15155"/>
                    <a:pt x="5532" y="17243"/>
                  </a:cubicBezTo>
                  <a:cubicBezTo>
                    <a:pt x="5270" y="17619"/>
                    <a:pt x="5119" y="18190"/>
                    <a:pt x="5119" y="18785"/>
                  </a:cubicBezTo>
                  <a:lnTo>
                    <a:pt x="5119" y="21600"/>
                  </a:lnTo>
                  <a:lnTo>
                    <a:pt x="16462" y="21600"/>
                  </a:lnTo>
                  <a:lnTo>
                    <a:pt x="16462" y="18785"/>
                  </a:lnTo>
                  <a:cubicBezTo>
                    <a:pt x="16462" y="18190"/>
                    <a:pt x="16311" y="17619"/>
                    <a:pt x="16050" y="17243"/>
                  </a:cubicBezTo>
                  <a:cubicBezTo>
                    <a:pt x="14605" y="15148"/>
                    <a:pt x="13049" y="13764"/>
                    <a:pt x="12730" y="13490"/>
                  </a:cubicBezTo>
                  <a:close/>
                  <a:moveTo>
                    <a:pt x="12730" y="13490"/>
                  </a:move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GB"/>
            </a:p>
          </p:txBody>
        </p:sp>
      </p:grpSp>
      <p:sp>
        <p:nvSpPr>
          <p:cNvPr id="31771" name="Rectangle 46">
            <a:extLst>
              <a:ext uri="{FF2B5EF4-FFF2-40B4-BE49-F238E27FC236}">
                <a16:creationId xmlns:a16="http://schemas.microsoft.com/office/drawing/2014/main" id="{AF9B9A6E-D212-0740-76B1-EE226AB7B34E}"/>
              </a:ext>
            </a:extLst>
          </p:cNvPr>
          <p:cNvSpPr>
            <a:spLocks noChangeArrowheads="1"/>
          </p:cNvSpPr>
          <p:nvPr/>
        </p:nvSpPr>
        <p:spPr bwMode="auto">
          <a:xfrm>
            <a:off x="7631113" y="865188"/>
            <a:ext cx="76200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just" eaLnBrk="1" hangingPunct="1">
              <a:lnSpc>
                <a:spcPct val="100000"/>
              </a:lnSpc>
              <a:spcBef>
                <a:spcPct val="0"/>
              </a:spcBef>
              <a:buClr>
                <a:srgbClr val="E24848"/>
              </a:buClr>
              <a:buFontTx/>
              <a:buNone/>
            </a:pPr>
            <a:r>
              <a:rPr lang="tr-TR" altLang="tr-TR" sz="3600" b="1" noProof="1">
                <a:latin typeface="Open Sans" panose="020B0606030504020204" pitchFamily="34" charset="0"/>
                <a:cs typeface="Open Sans" panose="020B0606030504020204" pitchFamily="34" charset="0"/>
              </a:rPr>
              <a:t>23</a:t>
            </a:r>
          </a:p>
        </p:txBody>
      </p:sp>
      <p:sp>
        <p:nvSpPr>
          <p:cNvPr id="31772" name="Content Placeholder 2">
            <a:extLst>
              <a:ext uri="{FF2B5EF4-FFF2-40B4-BE49-F238E27FC236}">
                <a16:creationId xmlns:a16="http://schemas.microsoft.com/office/drawing/2014/main" id="{BAB9FEC6-6E78-7DEF-1CD5-B0ADAA3B7F52}"/>
              </a:ext>
            </a:extLst>
          </p:cNvPr>
          <p:cNvSpPr txBox="1">
            <a:spLocks noChangeArrowheads="1"/>
          </p:cNvSpPr>
          <p:nvPr/>
        </p:nvSpPr>
        <p:spPr bwMode="auto">
          <a:xfrm>
            <a:off x="6323013" y="1589088"/>
            <a:ext cx="1928812" cy="48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ctr" eaLnBrk="1" hangingPunct="1">
              <a:lnSpc>
                <a:spcPct val="100000"/>
              </a:lnSpc>
              <a:spcBef>
                <a:spcPct val="0"/>
              </a:spcBef>
              <a:buFontTx/>
              <a:buNone/>
            </a:pPr>
            <a:r>
              <a:rPr lang="tr-TR" altLang="tr-TR" sz="1600" b="1">
                <a:solidFill>
                  <a:srgbClr val="404040"/>
                </a:solidFill>
                <a:latin typeface="Open Sans" panose="020B0606030504020204" pitchFamily="34" charset="0"/>
                <a:cs typeface="Open Sans" panose="020B0606030504020204" pitchFamily="34" charset="0"/>
              </a:rPr>
              <a:t>Kadrolu Denetmen Sayısı</a:t>
            </a:r>
            <a:endParaRPr lang="en-US" altLang="tr-TR" sz="1600" b="1">
              <a:solidFill>
                <a:srgbClr val="262626"/>
              </a:solidFill>
              <a:latin typeface="Open Sans" panose="020B0606030504020204" pitchFamily="34" charset="0"/>
              <a:cs typeface="Open Sans" panose="020B0606030504020204" pitchFamily="34" charset="0"/>
            </a:endParaRPr>
          </a:p>
        </p:txBody>
      </p:sp>
      <p:grpSp>
        <p:nvGrpSpPr>
          <p:cNvPr id="31773" name="Grup 113">
            <a:extLst>
              <a:ext uri="{FF2B5EF4-FFF2-40B4-BE49-F238E27FC236}">
                <a16:creationId xmlns:a16="http://schemas.microsoft.com/office/drawing/2014/main" id="{49B6BCA7-122A-B64C-F079-268866F8211E}"/>
              </a:ext>
            </a:extLst>
          </p:cNvPr>
          <p:cNvGrpSpPr>
            <a:grpSpLocks/>
          </p:cNvGrpSpPr>
          <p:nvPr/>
        </p:nvGrpSpPr>
        <p:grpSpPr bwMode="auto">
          <a:xfrm>
            <a:off x="6419850" y="996950"/>
            <a:ext cx="1831975" cy="546100"/>
            <a:chOff x="6819900" y="1426914"/>
            <a:chExt cx="1831465" cy="545825"/>
          </a:xfrm>
        </p:grpSpPr>
        <p:cxnSp>
          <p:nvCxnSpPr>
            <p:cNvPr id="115" name="Straight Connector 61">
              <a:extLst>
                <a:ext uri="{FF2B5EF4-FFF2-40B4-BE49-F238E27FC236}">
                  <a16:creationId xmlns:a16="http://schemas.microsoft.com/office/drawing/2014/main" id="{11C7D5DB-34F0-690E-5911-F6E997B30893}"/>
                </a:ext>
              </a:extLst>
            </p:cNvPr>
            <p:cNvCxnSpPr/>
            <p:nvPr/>
          </p:nvCxnSpPr>
          <p:spPr>
            <a:xfrm>
              <a:off x="6819900" y="1885471"/>
              <a:ext cx="1831465" cy="47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6" name="Right Triangle 62">
              <a:extLst>
                <a:ext uri="{FF2B5EF4-FFF2-40B4-BE49-F238E27FC236}">
                  <a16:creationId xmlns:a16="http://schemas.microsoft.com/office/drawing/2014/main" id="{6E172B4E-340D-5B80-87BF-673573E59876}"/>
                </a:ext>
              </a:extLst>
            </p:cNvPr>
            <p:cNvSpPr/>
            <p:nvPr/>
          </p:nvSpPr>
          <p:spPr>
            <a:xfrm rot="13500000" flipV="1">
              <a:off x="7546773" y="1802963"/>
              <a:ext cx="168228" cy="169776"/>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1822" name="AutoShape 17">
              <a:extLst>
                <a:ext uri="{FF2B5EF4-FFF2-40B4-BE49-F238E27FC236}">
                  <a16:creationId xmlns:a16="http://schemas.microsoft.com/office/drawing/2014/main" id="{15510405-38FE-9644-8796-257DFBC62AC7}"/>
                </a:ext>
              </a:extLst>
            </p:cNvPr>
            <p:cNvSpPr>
              <a:spLocks/>
            </p:cNvSpPr>
            <p:nvPr/>
          </p:nvSpPr>
          <p:spPr bwMode="auto">
            <a:xfrm>
              <a:off x="7271259" y="1426914"/>
              <a:ext cx="719063" cy="40734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0 h 21600"/>
                <a:gd name="T12" fmla="*/ 2147483646 w 21600"/>
                <a:gd name="T13" fmla="*/ 0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0 w 21600"/>
                <a:gd name="T27" fmla="*/ 2147483646 h 21600"/>
                <a:gd name="T28" fmla="*/ 0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0 h 21600"/>
                <a:gd name="T52" fmla="*/ 2147483646 w 21600"/>
                <a:gd name="T53" fmla="*/ 0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0 h 21600"/>
                <a:gd name="T88" fmla="*/ 2147483646 w 21600"/>
                <a:gd name="T89" fmla="*/ 0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1600" h="21600">
                  <a:moveTo>
                    <a:pt x="6383" y="11316"/>
                  </a:moveTo>
                  <a:cubicBezTo>
                    <a:pt x="6352" y="11293"/>
                    <a:pt x="6334" y="11238"/>
                    <a:pt x="6334" y="11175"/>
                  </a:cubicBezTo>
                  <a:lnTo>
                    <a:pt x="6334" y="7852"/>
                  </a:lnTo>
                  <a:cubicBezTo>
                    <a:pt x="6569" y="7570"/>
                    <a:pt x="6728" y="7101"/>
                    <a:pt x="6728" y="6553"/>
                  </a:cubicBezTo>
                  <a:lnTo>
                    <a:pt x="6728" y="3104"/>
                  </a:lnTo>
                  <a:cubicBezTo>
                    <a:pt x="6728" y="1391"/>
                    <a:pt x="5939" y="0"/>
                    <a:pt x="4969" y="0"/>
                  </a:cubicBezTo>
                  <a:lnTo>
                    <a:pt x="4544" y="0"/>
                  </a:lnTo>
                  <a:cubicBezTo>
                    <a:pt x="3573" y="0"/>
                    <a:pt x="2783" y="1391"/>
                    <a:pt x="2783" y="3104"/>
                  </a:cubicBezTo>
                  <a:lnTo>
                    <a:pt x="2783" y="6553"/>
                  </a:lnTo>
                  <a:cubicBezTo>
                    <a:pt x="2783" y="7093"/>
                    <a:pt x="2938" y="7570"/>
                    <a:pt x="3178" y="7852"/>
                  </a:cubicBezTo>
                  <a:lnTo>
                    <a:pt x="3178" y="11175"/>
                  </a:lnTo>
                  <a:cubicBezTo>
                    <a:pt x="3178" y="11238"/>
                    <a:pt x="3161" y="11284"/>
                    <a:pt x="3129" y="11316"/>
                  </a:cubicBezTo>
                  <a:cubicBezTo>
                    <a:pt x="2863" y="11542"/>
                    <a:pt x="1555" y="12708"/>
                    <a:pt x="345" y="14468"/>
                  </a:cubicBezTo>
                  <a:cubicBezTo>
                    <a:pt x="128" y="14788"/>
                    <a:pt x="0" y="15257"/>
                    <a:pt x="0" y="15758"/>
                  </a:cubicBezTo>
                  <a:lnTo>
                    <a:pt x="0" y="18120"/>
                  </a:lnTo>
                  <a:lnTo>
                    <a:pt x="4300" y="18120"/>
                  </a:lnTo>
                  <a:cubicBezTo>
                    <a:pt x="4384" y="17322"/>
                    <a:pt x="4628" y="16595"/>
                    <a:pt x="4991" y="16071"/>
                  </a:cubicBezTo>
                  <a:cubicBezTo>
                    <a:pt x="6024" y="14569"/>
                    <a:pt x="7119" y="13412"/>
                    <a:pt x="7810" y="12739"/>
                  </a:cubicBezTo>
                  <a:cubicBezTo>
                    <a:pt x="7114" y="11957"/>
                    <a:pt x="6547" y="11457"/>
                    <a:pt x="6383" y="11316"/>
                  </a:cubicBezTo>
                  <a:close/>
                  <a:moveTo>
                    <a:pt x="21241" y="14468"/>
                  </a:moveTo>
                  <a:cubicBezTo>
                    <a:pt x="20030" y="12708"/>
                    <a:pt x="18723" y="11542"/>
                    <a:pt x="18457" y="11316"/>
                  </a:cubicBezTo>
                  <a:cubicBezTo>
                    <a:pt x="18426" y="11293"/>
                    <a:pt x="18408" y="11238"/>
                    <a:pt x="18408" y="11175"/>
                  </a:cubicBezTo>
                  <a:lnTo>
                    <a:pt x="18408" y="7852"/>
                  </a:lnTo>
                  <a:cubicBezTo>
                    <a:pt x="18643" y="7570"/>
                    <a:pt x="18802" y="7101"/>
                    <a:pt x="18802" y="6553"/>
                  </a:cubicBezTo>
                  <a:lnTo>
                    <a:pt x="18802" y="3104"/>
                  </a:lnTo>
                  <a:cubicBezTo>
                    <a:pt x="18802" y="1391"/>
                    <a:pt x="18014" y="0"/>
                    <a:pt x="17043" y="0"/>
                  </a:cubicBezTo>
                  <a:lnTo>
                    <a:pt x="16626" y="0"/>
                  </a:lnTo>
                  <a:cubicBezTo>
                    <a:pt x="15655" y="0"/>
                    <a:pt x="14867" y="1391"/>
                    <a:pt x="14867" y="3104"/>
                  </a:cubicBezTo>
                  <a:lnTo>
                    <a:pt x="14867" y="6553"/>
                  </a:lnTo>
                  <a:cubicBezTo>
                    <a:pt x="14867" y="7093"/>
                    <a:pt x="15022" y="7570"/>
                    <a:pt x="15261" y="7852"/>
                  </a:cubicBezTo>
                  <a:lnTo>
                    <a:pt x="15261" y="11175"/>
                  </a:lnTo>
                  <a:cubicBezTo>
                    <a:pt x="15261" y="11238"/>
                    <a:pt x="15244" y="11284"/>
                    <a:pt x="15212" y="11316"/>
                  </a:cubicBezTo>
                  <a:cubicBezTo>
                    <a:pt x="15048" y="11457"/>
                    <a:pt x="14481" y="11957"/>
                    <a:pt x="13790" y="12739"/>
                  </a:cubicBezTo>
                  <a:cubicBezTo>
                    <a:pt x="14481" y="13412"/>
                    <a:pt x="15576" y="14569"/>
                    <a:pt x="16609" y="16071"/>
                  </a:cubicBezTo>
                  <a:cubicBezTo>
                    <a:pt x="16972" y="16595"/>
                    <a:pt x="17211" y="17322"/>
                    <a:pt x="17300" y="18120"/>
                  </a:cubicBezTo>
                  <a:lnTo>
                    <a:pt x="21600" y="18120"/>
                  </a:lnTo>
                  <a:lnTo>
                    <a:pt x="21600" y="15758"/>
                  </a:lnTo>
                  <a:cubicBezTo>
                    <a:pt x="21587" y="15257"/>
                    <a:pt x="21462" y="14780"/>
                    <a:pt x="21241" y="14468"/>
                  </a:cubicBezTo>
                  <a:close/>
                  <a:moveTo>
                    <a:pt x="12730" y="13490"/>
                  </a:moveTo>
                  <a:cubicBezTo>
                    <a:pt x="12695" y="13458"/>
                    <a:pt x="12673" y="13396"/>
                    <a:pt x="12673" y="13325"/>
                  </a:cubicBezTo>
                  <a:lnTo>
                    <a:pt x="12673" y="9361"/>
                  </a:lnTo>
                  <a:cubicBezTo>
                    <a:pt x="12956" y="9025"/>
                    <a:pt x="13143" y="8462"/>
                    <a:pt x="13143" y="7820"/>
                  </a:cubicBezTo>
                  <a:lnTo>
                    <a:pt x="13143" y="3707"/>
                  </a:lnTo>
                  <a:cubicBezTo>
                    <a:pt x="13143" y="1658"/>
                    <a:pt x="12203" y="0"/>
                    <a:pt x="11042" y="0"/>
                  </a:cubicBezTo>
                  <a:lnTo>
                    <a:pt x="10540" y="0"/>
                  </a:lnTo>
                  <a:cubicBezTo>
                    <a:pt x="9379" y="0"/>
                    <a:pt x="8440" y="1658"/>
                    <a:pt x="8440" y="3707"/>
                  </a:cubicBezTo>
                  <a:lnTo>
                    <a:pt x="8440" y="7820"/>
                  </a:lnTo>
                  <a:cubicBezTo>
                    <a:pt x="8440" y="8462"/>
                    <a:pt x="8626" y="9032"/>
                    <a:pt x="8909" y="9361"/>
                  </a:cubicBezTo>
                  <a:lnTo>
                    <a:pt x="8909" y="13325"/>
                  </a:lnTo>
                  <a:cubicBezTo>
                    <a:pt x="8909" y="13396"/>
                    <a:pt x="8887" y="13458"/>
                    <a:pt x="8851" y="13490"/>
                  </a:cubicBezTo>
                  <a:cubicBezTo>
                    <a:pt x="8532" y="13764"/>
                    <a:pt x="6977" y="15155"/>
                    <a:pt x="5532" y="17243"/>
                  </a:cubicBezTo>
                  <a:cubicBezTo>
                    <a:pt x="5270" y="17619"/>
                    <a:pt x="5119" y="18190"/>
                    <a:pt x="5119" y="18785"/>
                  </a:cubicBezTo>
                  <a:lnTo>
                    <a:pt x="5119" y="21600"/>
                  </a:lnTo>
                  <a:lnTo>
                    <a:pt x="16462" y="21600"/>
                  </a:lnTo>
                  <a:lnTo>
                    <a:pt x="16462" y="18785"/>
                  </a:lnTo>
                  <a:cubicBezTo>
                    <a:pt x="16462" y="18190"/>
                    <a:pt x="16311" y="17619"/>
                    <a:pt x="16050" y="17243"/>
                  </a:cubicBezTo>
                  <a:cubicBezTo>
                    <a:pt x="14605" y="15148"/>
                    <a:pt x="13049" y="13764"/>
                    <a:pt x="12730" y="13490"/>
                  </a:cubicBezTo>
                  <a:close/>
                  <a:moveTo>
                    <a:pt x="12730" y="13490"/>
                  </a:move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GB"/>
            </a:p>
          </p:txBody>
        </p:sp>
      </p:grpSp>
      <p:sp>
        <p:nvSpPr>
          <p:cNvPr id="31774" name="Rectangle 46">
            <a:extLst>
              <a:ext uri="{FF2B5EF4-FFF2-40B4-BE49-F238E27FC236}">
                <a16:creationId xmlns:a16="http://schemas.microsoft.com/office/drawing/2014/main" id="{5B5EFFAC-6A27-E6E6-870E-0A6BABA14616}"/>
              </a:ext>
            </a:extLst>
          </p:cNvPr>
          <p:cNvSpPr>
            <a:spLocks noChangeArrowheads="1"/>
          </p:cNvSpPr>
          <p:nvPr/>
        </p:nvSpPr>
        <p:spPr bwMode="auto">
          <a:xfrm>
            <a:off x="5184775" y="5337175"/>
            <a:ext cx="4191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just" eaLnBrk="1" hangingPunct="1">
              <a:lnSpc>
                <a:spcPct val="100000"/>
              </a:lnSpc>
              <a:spcBef>
                <a:spcPct val="0"/>
              </a:spcBef>
              <a:buClr>
                <a:srgbClr val="E24848"/>
              </a:buClr>
              <a:buFontTx/>
              <a:buNone/>
            </a:pPr>
            <a:r>
              <a:rPr lang="tr-TR" altLang="tr-TR" sz="3600" b="1">
                <a:latin typeface="Open Sans" panose="020B0606030504020204" pitchFamily="34" charset="0"/>
                <a:cs typeface="Open Sans" panose="020B0606030504020204" pitchFamily="34" charset="0"/>
              </a:rPr>
              <a:t>1</a:t>
            </a:r>
            <a:endParaRPr lang="tr-TR" altLang="tr-TR" sz="3600" b="1" noProof="1">
              <a:latin typeface="Open Sans" panose="020B0606030504020204" pitchFamily="34" charset="0"/>
              <a:cs typeface="Open Sans" panose="020B0606030504020204" pitchFamily="34" charset="0"/>
            </a:endParaRPr>
          </a:p>
        </p:txBody>
      </p:sp>
      <p:sp>
        <p:nvSpPr>
          <p:cNvPr id="31775" name="Content Placeholder 2">
            <a:extLst>
              <a:ext uri="{FF2B5EF4-FFF2-40B4-BE49-F238E27FC236}">
                <a16:creationId xmlns:a16="http://schemas.microsoft.com/office/drawing/2014/main" id="{79B3F621-C1F0-2E8F-74EC-F8A4E8C9A94A}"/>
              </a:ext>
            </a:extLst>
          </p:cNvPr>
          <p:cNvSpPr txBox="1">
            <a:spLocks noChangeArrowheads="1"/>
          </p:cNvSpPr>
          <p:nvPr/>
        </p:nvSpPr>
        <p:spPr bwMode="auto">
          <a:xfrm>
            <a:off x="3521075" y="5886450"/>
            <a:ext cx="1928813"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ctr" eaLnBrk="1" hangingPunct="1">
              <a:lnSpc>
                <a:spcPct val="100000"/>
              </a:lnSpc>
              <a:spcBef>
                <a:spcPct val="0"/>
              </a:spcBef>
              <a:buFontTx/>
              <a:buNone/>
            </a:pPr>
            <a:r>
              <a:rPr lang="tr-TR" altLang="tr-TR" sz="1600" b="1">
                <a:solidFill>
                  <a:srgbClr val="404040"/>
                </a:solidFill>
                <a:latin typeface="Open Sans" panose="020B0606030504020204" pitchFamily="34" charset="0"/>
                <a:cs typeface="Open Sans" panose="020B0606030504020204" pitchFamily="34" charset="0"/>
              </a:rPr>
              <a:t>Gemi İnşa Mühendisi</a:t>
            </a:r>
            <a:endParaRPr lang="en-US" altLang="tr-TR" sz="1600" b="1">
              <a:solidFill>
                <a:srgbClr val="262626"/>
              </a:solidFill>
              <a:latin typeface="Open Sans" panose="020B0606030504020204" pitchFamily="34" charset="0"/>
              <a:cs typeface="Open Sans" panose="020B0606030504020204" pitchFamily="34" charset="0"/>
            </a:endParaRPr>
          </a:p>
        </p:txBody>
      </p:sp>
      <p:grpSp>
        <p:nvGrpSpPr>
          <p:cNvPr id="31776" name="Grup 131">
            <a:extLst>
              <a:ext uri="{FF2B5EF4-FFF2-40B4-BE49-F238E27FC236}">
                <a16:creationId xmlns:a16="http://schemas.microsoft.com/office/drawing/2014/main" id="{19D09270-2743-8387-EEB6-3E3A3E0743F8}"/>
              </a:ext>
            </a:extLst>
          </p:cNvPr>
          <p:cNvGrpSpPr>
            <a:grpSpLocks/>
          </p:cNvGrpSpPr>
          <p:nvPr/>
        </p:nvGrpSpPr>
        <p:grpSpPr bwMode="auto">
          <a:xfrm>
            <a:off x="9166225" y="2408238"/>
            <a:ext cx="1831975" cy="544512"/>
            <a:chOff x="6819900" y="1426914"/>
            <a:chExt cx="1831465" cy="545825"/>
          </a:xfrm>
        </p:grpSpPr>
        <p:cxnSp>
          <p:nvCxnSpPr>
            <p:cNvPr id="133" name="Straight Connector 61">
              <a:extLst>
                <a:ext uri="{FF2B5EF4-FFF2-40B4-BE49-F238E27FC236}">
                  <a16:creationId xmlns:a16="http://schemas.microsoft.com/office/drawing/2014/main" id="{42723C38-8D74-7596-F9DF-4D745BC15541}"/>
                </a:ext>
              </a:extLst>
            </p:cNvPr>
            <p:cNvCxnSpPr/>
            <p:nvPr/>
          </p:nvCxnSpPr>
          <p:spPr>
            <a:xfrm>
              <a:off x="6819900" y="1885216"/>
              <a:ext cx="1831465" cy="477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4" name="Right Triangle 62">
              <a:extLst>
                <a:ext uri="{FF2B5EF4-FFF2-40B4-BE49-F238E27FC236}">
                  <a16:creationId xmlns:a16="http://schemas.microsoft.com/office/drawing/2014/main" id="{737711B8-B506-0076-A033-EEEAA0660B18}"/>
                </a:ext>
              </a:extLst>
            </p:cNvPr>
            <p:cNvSpPr/>
            <p:nvPr/>
          </p:nvSpPr>
          <p:spPr>
            <a:xfrm rot="13500000" flipV="1">
              <a:off x="7546773" y="1804058"/>
              <a:ext cx="168228" cy="168681"/>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1819" name="AutoShape 17">
              <a:extLst>
                <a:ext uri="{FF2B5EF4-FFF2-40B4-BE49-F238E27FC236}">
                  <a16:creationId xmlns:a16="http://schemas.microsoft.com/office/drawing/2014/main" id="{33729035-0DA2-F392-C7DF-3E021E0E2D3D}"/>
                </a:ext>
              </a:extLst>
            </p:cNvPr>
            <p:cNvSpPr>
              <a:spLocks/>
            </p:cNvSpPr>
            <p:nvPr/>
          </p:nvSpPr>
          <p:spPr bwMode="auto">
            <a:xfrm>
              <a:off x="7271259" y="1426914"/>
              <a:ext cx="719063" cy="40734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0 h 21600"/>
                <a:gd name="T12" fmla="*/ 2147483646 w 21600"/>
                <a:gd name="T13" fmla="*/ 0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0 w 21600"/>
                <a:gd name="T27" fmla="*/ 2147483646 h 21600"/>
                <a:gd name="T28" fmla="*/ 0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0 h 21600"/>
                <a:gd name="T52" fmla="*/ 2147483646 w 21600"/>
                <a:gd name="T53" fmla="*/ 0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0 h 21600"/>
                <a:gd name="T88" fmla="*/ 2147483646 w 21600"/>
                <a:gd name="T89" fmla="*/ 0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1600" h="21600">
                  <a:moveTo>
                    <a:pt x="6383" y="11316"/>
                  </a:moveTo>
                  <a:cubicBezTo>
                    <a:pt x="6352" y="11293"/>
                    <a:pt x="6334" y="11238"/>
                    <a:pt x="6334" y="11175"/>
                  </a:cubicBezTo>
                  <a:lnTo>
                    <a:pt x="6334" y="7852"/>
                  </a:lnTo>
                  <a:cubicBezTo>
                    <a:pt x="6569" y="7570"/>
                    <a:pt x="6728" y="7101"/>
                    <a:pt x="6728" y="6553"/>
                  </a:cubicBezTo>
                  <a:lnTo>
                    <a:pt x="6728" y="3104"/>
                  </a:lnTo>
                  <a:cubicBezTo>
                    <a:pt x="6728" y="1391"/>
                    <a:pt x="5939" y="0"/>
                    <a:pt x="4969" y="0"/>
                  </a:cubicBezTo>
                  <a:lnTo>
                    <a:pt x="4544" y="0"/>
                  </a:lnTo>
                  <a:cubicBezTo>
                    <a:pt x="3573" y="0"/>
                    <a:pt x="2783" y="1391"/>
                    <a:pt x="2783" y="3104"/>
                  </a:cubicBezTo>
                  <a:lnTo>
                    <a:pt x="2783" y="6553"/>
                  </a:lnTo>
                  <a:cubicBezTo>
                    <a:pt x="2783" y="7093"/>
                    <a:pt x="2938" y="7570"/>
                    <a:pt x="3178" y="7852"/>
                  </a:cubicBezTo>
                  <a:lnTo>
                    <a:pt x="3178" y="11175"/>
                  </a:lnTo>
                  <a:cubicBezTo>
                    <a:pt x="3178" y="11238"/>
                    <a:pt x="3161" y="11284"/>
                    <a:pt x="3129" y="11316"/>
                  </a:cubicBezTo>
                  <a:cubicBezTo>
                    <a:pt x="2863" y="11542"/>
                    <a:pt x="1555" y="12708"/>
                    <a:pt x="345" y="14468"/>
                  </a:cubicBezTo>
                  <a:cubicBezTo>
                    <a:pt x="128" y="14788"/>
                    <a:pt x="0" y="15257"/>
                    <a:pt x="0" y="15758"/>
                  </a:cubicBezTo>
                  <a:lnTo>
                    <a:pt x="0" y="18120"/>
                  </a:lnTo>
                  <a:lnTo>
                    <a:pt x="4300" y="18120"/>
                  </a:lnTo>
                  <a:cubicBezTo>
                    <a:pt x="4384" y="17322"/>
                    <a:pt x="4628" y="16595"/>
                    <a:pt x="4991" y="16071"/>
                  </a:cubicBezTo>
                  <a:cubicBezTo>
                    <a:pt x="6024" y="14569"/>
                    <a:pt x="7119" y="13412"/>
                    <a:pt x="7810" y="12739"/>
                  </a:cubicBezTo>
                  <a:cubicBezTo>
                    <a:pt x="7114" y="11957"/>
                    <a:pt x="6547" y="11457"/>
                    <a:pt x="6383" y="11316"/>
                  </a:cubicBezTo>
                  <a:close/>
                  <a:moveTo>
                    <a:pt x="21241" y="14468"/>
                  </a:moveTo>
                  <a:cubicBezTo>
                    <a:pt x="20030" y="12708"/>
                    <a:pt x="18723" y="11542"/>
                    <a:pt x="18457" y="11316"/>
                  </a:cubicBezTo>
                  <a:cubicBezTo>
                    <a:pt x="18426" y="11293"/>
                    <a:pt x="18408" y="11238"/>
                    <a:pt x="18408" y="11175"/>
                  </a:cubicBezTo>
                  <a:lnTo>
                    <a:pt x="18408" y="7852"/>
                  </a:lnTo>
                  <a:cubicBezTo>
                    <a:pt x="18643" y="7570"/>
                    <a:pt x="18802" y="7101"/>
                    <a:pt x="18802" y="6553"/>
                  </a:cubicBezTo>
                  <a:lnTo>
                    <a:pt x="18802" y="3104"/>
                  </a:lnTo>
                  <a:cubicBezTo>
                    <a:pt x="18802" y="1391"/>
                    <a:pt x="18014" y="0"/>
                    <a:pt x="17043" y="0"/>
                  </a:cubicBezTo>
                  <a:lnTo>
                    <a:pt x="16626" y="0"/>
                  </a:lnTo>
                  <a:cubicBezTo>
                    <a:pt x="15655" y="0"/>
                    <a:pt x="14867" y="1391"/>
                    <a:pt x="14867" y="3104"/>
                  </a:cubicBezTo>
                  <a:lnTo>
                    <a:pt x="14867" y="6553"/>
                  </a:lnTo>
                  <a:cubicBezTo>
                    <a:pt x="14867" y="7093"/>
                    <a:pt x="15022" y="7570"/>
                    <a:pt x="15261" y="7852"/>
                  </a:cubicBezTo>
                  <a:lnTo>
                    <a:pt x="15261" y="11175"/>
                  </a:lnTo>
                  <a:cubicBezTo>
                    <a:pt x="15261" y="11238"/>
                    <a:pt x="15244" y="11284"/>
                    <a:pt x="15212" y="11316"/>
                  </a:cubicBezTo>
                  <a:cubicBezTo>
                    <a:pt x="15048" y="11457"/>
                    <a:pt x="14481" y="11957"/>
                    <a:pt x="13790" y="12739"/>
                  </a:cubicBezTo>
                  <a:cubicBezTo>
                    <a:pt x="14481" y="13412"/>
                    <a:pt x="15576" y="14569"/>
                    <a:pt x="16609" y="16071"/>
                  </a:cubicBezTo>
                  <a:cubicBezTo>
                    <a:pt x="16972" y="16595"/>
                    <a:pt x="17211" y="17322"/>
                    <a:pt x="17300" y="18120"/>
                  </a:cubicBezTo>
                  <a:lnTo>
                    <a:pt x="21600" y="18120"/>
                  </a:lnTo>
                  <a:lnTo>
                    <a:pt x="21600" y="15758"/>
                  </a:lnTo>
                  <a:cubicBezTo>
                    <a:pt x="21587" y="15257"/>
                    <a:pt x="21462" y="14780"/>
                    <a:pt x="21241" y="14468"/>
                  </a:cubicBezTo>
                  <a:close/>
                  <a:moveTo>
                    <a:pt x="12730" y="13490"/>
                  </a:moveTo>
                  <a:cubicBezTo>
                    <a:pt x="12695" y="13458"/>
                    <a:pt x="12673" y="13396"/>
                    <a:pt x="12673" y="13325"/>
                  </a:cubicBezTo>
                  <a:lnTo>
                    <a:pt x="12673" y="9361"/>
                  </a:lnTo>
                  <a:cubicBezTo>
                    <a:pt x="12956" y="9025"/>
                    <a:pt x="13143" y="8462"/>
                    <a:pt x="13143" y="7820"/>
                  </a:cubicBezTo>
                  <a:lnTo>
                    <a:pt x="13143" y="3707"/>
                  </a:lnTo>
                  <a:cubicBezTo>
                    <a:pt x="13143" y="1658"/>
                    <a:pt x="12203" y="0"/>
                    <a:pt x="11042" y="0"/>
                  </a:cubicBezTo>
                  <a:lnTo>
                    <a:pt x="10540" y="0"/>
                  </a:lnTo>
                  <a:cubicBezTo>
                    <a:pt x="9379" y="0"/>
                    <a:pt x="8440" y="1658"/>
                    <a:pt x="8440" y="3707"/>
                  </a:cubicBezTo>
                  <a:lnTo>
                    <a:pt x="8440" y="7820"/>
                  </a:lnTo>
                  <a:cubicBezTo>
                    <a:pt x="8440" y="8462"/>
                    <a:pt x="8626" y="9032"/>
                    <a:pt x="8909" y="9361"/>
                  </a:cubicBezTo>
                  <a:lnTo>
                    <a:pt x="8909" y="13325"/>
                  </a:lnTo>
                  <a:cubicBezTo>
                    <a:pt x="8909" y="13396"/>
                    <a:pt x="8887" y="13458"/>
                    <a:pt x="8851" y="13490"/>
                  </a:cubicBezTo>
                  <a:cubicBezTo>
                    <a:pt x="8532" y="13764"/>
                    <a:pt x="6977" y="15155"/>
                    <a:pt x="5532" y="17243"/>
                  </a:cubicBezTo>
                  <a:cubicBezTo>
                    <a:pt x="5270" y="17619"/>
                    <a:pt x="5119" y="18190"/>
                    <a:pt x="5119" y="18785"/>
                  </a:cubicBezTo>
                  <a:lnTo>
                    <a:pt x="5119" y="21600"/>
                  </a:lnTo>
                  <a:lnTo>
                    <a:pt x="16462" y="21600"/>
                  </a:lnTo>
                  <a:lnTo>
                    <a:pt x="16462" y="18785"/>
                  </a:lnTo>
                  <a:cubicBezTo>
                    <a:pt x="16462" y="18190"/>
                    <a:pt x="16311" y="17619"/>
                    <a:pt x="16050" y="17243"/>
                  </a:cubicBezTo>
                  <a:cubicBezTo>
                    <a:pt x="14605" y="15148"/>
                    <a:pt x="13049" y="13764"/>
                    <a:pt x="12730" y="13490"/>
                  </a:cubicBezTo>
                  <a:close/>
                  <a:moveTo>
                    <a:pt x="12730" y="13490"/>
                  </a:move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GB"/>
            </a:p>
          </p:txBody>
        </p:sp>
      </p:grpSp>
      <p:grpSp>
        <p:nvGrpSpPr>
          <p:cNvPr id="31777" name="Group 307">
            <a:extLst>
              <a:ext uri="{FF2B5EF4-FFF2-40B4-BE49-F238E27FC236}">
                <a16:creationId xmlns:a16="http://schemas.microsoft.com/office/drawing/2014/main" id="{63A268A0-6315-3483-62DD-C1A5E17D6A04}"/>
              </a:ext>
            </a:extLst>
          </p:cNvPr>
          <p:cNvGrpSpPr>
            <a:grpSpLocks/>
          </p:cNvGrpSpPr>
          <p:nvPr/>
        </p:nvGrpSpPr>
        <p:grpSpPr bwMode="auto">
          <a:xfrm>
            <a:off x="-3175" y="6743700"/>
            <a:ext cx="12195175" cy="114300"/>
            <a:chOff x="-3175" y="4762500"/>
            <a:chExt cx="12195174" cy="2092323"/>
          </a:xfrm>
        </p:grpSpPr>
        <p:sp>
          <p:nvSpPr>
            <p:cNvPr id="137" name="Rectangle 308">
              <a:extLst>
                <a:ext uri="{FF2B5EF4-FFF2-40B4-BE49-F238E27FC236}">
                  <a16:creationId xmlns:a16="http://schemas.microsoft.com/office/drawing/2014/main" id="{C8E99F27-FB9C-7046-BBC5-24CA16A7267E}"/>
                </a:ext>
              </a:extLst>
            </p:cNvPr>
            <p:cNvSpPr/>
            <p:nvPr/>
          </p:nvSpPr>
          <p:spPr>
            <a:xfrm>
              <a:off x="-3175" y="4762500"/>
              <a:ext cx="2032000" cy="2092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38" name="Rectangle 309">
              <a:extLst>
                <a:ext uri="{FF2B5EF4-FFF2-40B4-BE49-F238E27FC236}">
                  <a16:creationId xmlns:a16="http://schemas.microsoft.com/office/drawing/2014/main" id="{3D824225-DB7C-D8A3-A0AB-3F3C8165F95C}"/>
                </a:ext>
              </a:extLst>
            </p:cNvPr>
            <p:cNvSpPr/>
            <p:nvPr/>
          </p:nvSpPr>
          <p:spPr>
            <a:xfrm>
              <a:off x="2027238" y="4762500"/>
              <a:ext cx="2032000" cy="2092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39" name="Rectangle 310">
              <a:extLst>
                <a:ext uri="{FF2B5EF4-FFF2-40B4-BE49-F238E27FC236}">
                  <a16:creationId xmlns:a16="http://schemas.microsoft.com/office/drawing/2014/main" id="{96598A6D-9673-1A16-2720-1C4E67B7A695}"/>
                </a:ext>
              </a:extLst>
            </p:cNvPr>
            <p:cNvSpPr/>
            <p:nvPr/>
          </p:nvSpPr>
          <p:spPr>
            <a:xfrm>
              <a:off x="4059238" y="4762500"/>
              <a:ext cx="2032000" cy="2092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40" name="Rectangle 311">
              <a:extLst>
                <a:ext uri="{FF2B5EF4-FFF2-40B4-BE49-F238E27FC236}">
                  <a16:creationId xmlns:a16="http://schemas.microsoft.com/office/drawing/2014/main" id="{7D2B5055-1749-D7F1-F6FE-B6348F5423EE}"/>
                </a:ext>
              </a:extLst>
            </p:cNvPr>
            <p:cNvSpPr/>
            <p:nvPr/>
          </p:nvSpPr>
          <p:spPr>
            <a:xfrm>
              <a:off x="6089650" y="4762500"/>
              <a:ext cx="2032000" cy="2092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41" name="Rectangle 312">
              <a:extLst>
                <a:ext uri="{FF2B5EF4-FFF2-40B4-BE49-F238E27FC236}">
                  <a16:creationId xmlns:a16="http://schemas.microsoft.com/office/drawing/2014/main" id="{8D6CDFFB-6C34-7061-5E68-5905F1DB14B7}"/>
                </a:ext>
              </a:extLst>
            </p:cNvPr>
            <p:cNvSpPr/>
            <p:nvPr/>
          </p:nvSpPr>
          <p:spPr>
            <a:xfrm>
              <a:off x="8118474" y="4762500"/>
              <a:ext cx="2032000" cy="2092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42" name="Rectangle 313">
              <a:extLst>
                <a:ext uri="{FF2B5EF4-FFF2-40B4-BE49-F238E27FC236}">
                  <a16:creationId xmlns:a16="http://schemas.microsoft.com/office/drawing/2014/main" id="{523C7AB8-B4AA-22B4-DEEC-C569CAFBC010}"/>
                </a:ext>
              </a:extLst>
            </p:cNvPr>
            <p:cNvSpPr/>
            <p:nvPr/>
          </p:nvSpPr>
          <p:spPr>
            <a:xfrm>
              <a:off x="10148887" y="4762500"/>
              <a:ext cx="2043112" cy="20923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cxnSp>
        <p:nvCxnSpPr>
          <p:cNvPr id="143" name="Straight Connector 6">
            <a:extLst>
              <a:ext uri="{FF2B5EF4-FFF2-40B4-BE49-F238E27FC236}">
                <a16:creationId xmlns:a16="http://schemas.microsoft.com/office/drawing/2014/main" id="{CA2E83ED-CDF8-9B37-EE82-80C0CCBC1396}"/>
              </a:ext>
            </a:extLst>
          </p:cNvPr>
          <p:cNvCxnSpPr/>
          <p:nvPr/>
        </p:nvCxnSpPr>
        <p:spPr>
          <a:xfrm>
            <a:off x="11113" y="685800"/>
            <a:ext cx="124301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1779" name="İçerik Yer Tutucusu 2">
            <a:extLst>
              <a:ext uri="{FF2B5EF4-FFF2-40B4-BE49-F238E27FC236}">
                <a16:creationId xmlns:a16="http://schemas.microsoft.com/office/drawing/2014/main" id="{77D7AC5F-B829-5D97-7C70-CE34DB530BCD}"/>
              </a:ext>
            </a:extLst>
          </p:cNvPr>
          <p:cNvSpPr txBox="1">
            <a:spLocks noChangeArrowheads="1"/>
          </p:cNvSpPr>
          <p:nvPr/>
        </p:nvSpPr>
        <p:spPr bwMode="auto">
          <a:xfrm>
            <a:off x="519113" y="107950"/>
            <a:ext cx="364490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buFont typeface="Arial" panose="020B0604020202020204" pitchFamily="34" charset="0"/>
              <a:buNone/>
            </a:pPr>
            <a:r>
              <a:rPr lang="tr-TR" altLang="tr-TR" b="1">
                <a:solidFill>
                  <a:srgbClr val="AD119B"/>
                </a:solidFill>
                <a:latin typeface="Open Sans" panose="020B0606030504020204" pitchFamily="34" charset="0"/>
                <a:cs typeface="Open Sans" panose="020B0606030504020204" pitchFamily="34" charset="0"/>
              </a:rPr>
              <a:t>Kadro Yapılanması</a:t>
            </a:r>
            <a:endParaRPr lang="tr-TR" altLang="tr-TR">
              <a:solidFill>
                <a:srgbClr val="AD119B"/>
              </a:solidFill>
              <a:latin typeface="Open Sans" panose="020B0606030504020204" pitchFamily="34" charset="0"/>
              <a:cs typeface="Open Sans" panose="020B0606030504020204" pitchFamily="34" charset="0"/>
            </a:endParaRPr>
          </a:p>
          <a:p>
            <a:pPr eaLnBrk="1" hangingPunct="1">
              <a:buFont typeface="Arial" panose="020B0604020202020204" pitchFamily="34" charset="0"/>
              <a:buNone/>
            </a:pPr>
            <a:endParaRPr lang="tr-TR" altLang="tr-TR" b="1">
              <a:solidFill>
                <a:srgbClr val="AD119B"/>
              </a:solidFill>
            </a:endParaRPr>
          </a:p>
        </p:txBody>
      </p:sp>
      <p:sp>
        <p:nvSpPr>
          <p:cNvPr id="145" name="Rectangle 7">
            <a:extLst>
              <a:ext uri="{FF2B5EF4-FFF2-40B4-BE49-F238E27FC236}">
                <a16:creationId xmlns:a16="http://schemas.microsoft.com/office/drawing/2014/main" id="{DD02CAE0-BB61-5CCC-BCFF-6E203D2B42AD}"/>
              </a:ext>
            </a:extLst>
          </p:cNvPr>
          <p:cNvSpPr/>
          <p:nvPr/>
        </p:nvSpPr>
        <p:spPr>
          <a:xfrm>
            <a:off x="684213" y="671513"/>
            <a:ext cx="623887" cy="2698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1781" name="Rectangle 46">
            <a:extLst>
              <a:ext uri="{FF2B5EF4-FFF2-40B4-BE49-F238E27FC236}">
                <a16:creationId xmlns:a16="http://schemas.microsoft.com/office/drawing/2014/main" id="{8F42E5DF-53C0-5515-4BD1-8E218068CA53}"/>
              </a:ext>
            </a:extLst>
          </p:cNvPr>
          <p:cNvSpPr>
            <a:spLocks noChangeArrowheads="1"/>
          </p:cNvSpPr>
          <p:nvPr/>
        </p:nvSpPr>
        <p:spPr bwMode="auto">
          <a:xfrm>
            <a:off x="7678738" y="5299075"/>
            <a:ext cx="1144587"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just" eaLnBrk="1" hangingPunct="1">
              <a:lnSpc>
                <a:spcPct val="100000"/>
              </a:lnSpc>
              <a:spcBef>
                <a:spcPct val="0"/>
              </a:spcBef>
              <a:buClr>
                <a:srgbClr val="E24848"/>
              </a:buClr>
              <a:buFontTx/>
              <a:buNone/>
            </a:pPr>
            <a:r>
              <a:rPr lang="tr-TR" altLang="tr-TR" sz="2400" b="1" noProof="1">
                <a:latin typeface="Open Sans" panose="020B0606030504020204" pitchFamily="34" charset="0"/>
                <a:cs typeface="Open Sans" panose="020B0606030504020204" pitchFamily="34" charset="0"/>
              </a:rPr>
              <a:t>%</a:t>
            </a:r>
            <a:r>
              <a:rPr lang="tr-TR" altLang="tr-TR" sz="3600" b="1" noProof="1">
                <a:latin typeface="Open Sans" panose="020B0606030504020204" pitchFamily="34" charset="0"/>
                <a:cs typeface="Open Sans" panose="020B0606030504020204" pitchFamily="34" charset="0"/>
              </a:rPr>
              <a:t>82</a:t>
            </a:r>
          </a:p>
        </p:txBody>
      </p:sp>
      <p:sp>
        <p:nvSpPr>
          <p:cNvPr id="31782" name="Content Placeholder 2">
            <a:extLst>
              <a:ext uri="{FF2B5EF4-FFF2-40B4-BE49-F238E27FC236}">
                <a16:creationId xmlns:a16="http://schemas.microsoft.com/office/drawing/2014/main" id="{BC656969-EE92-5B65-8276-C1BA497753DC}"/>
              </a:ext>
            </a:extLst>
          </p:cNvPr>
          <p:cNvSpPr txBox="1">
            <a:spLocks noChangeArrowheads="1"/>
          </p:cNvSpPr>
          <p:nvPr/>
        </p:nvSpPr>
        <p:spPr bwMode="auto">
          <a:xfrm>
            <a:off x="6149975" y="5969000"/>
            <a:ext cx="2432050" cy="81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ctr" eaLnBrk="1" hangingPunct="1">
              <a:lnSpc>
                <a:spcPct val="100000"/>
              </a:lnSpc>
              <a:spcBef>
                <a:spcPct val="0"/>
              </a:spcBef>
              <a:buFontTx/>
              <a:buNone/>
            </a:pPr>
            <a:r>
              <a:rPr lang="tr-TR" altLang="tr-TR" sz="1600" b="1" dirty="0">
                <a:solidFill>
                  <a:srgbClr val="404040"/>
                </a:solidFill>
                <a:latin typeface="Open Sans" panose="020B0606030504020204" pitchFamily="34" charset="0"/>
                <a:cs typeface="Open Sans" panose="020B0606030504020204" pitchFamily="34" charset="0"/>
              </a:rPr>
              <a:t>Kadrolu Uzman ile Rapor Hazırlama Oranı (2024)</a:t>
            </a:r>
            <a:endParaRPr lang="en-US" altLang="tr-TR" sz="1600" b="1" dirty="0">
              <a:solidFill>
                <a:srgbClr val="262626"/>
              </a:solidFill>
              <a:latin typeface="Open Sans" panose="020B0606030504020204" pitchFamily="34" charset="0"/>
              <a:cs typeface="Open Sans" panose="020B0606030504020204" pitchFamily="34" charset="0"/>
            </a:endParaRPr>
          </a:p>
        </p:txBody>
      </p:sp>
      <p:grpSp>
        <p:nvGrpSpPr>
          <p:cNvPr id="31783" name="Grup 131">
            <a:extLst>
              <a:ext uri="{FF2B5EF4-FFF2-40B4-BE49-F238E27FC236}">
                <a16:creationId xmlns:a16="http://schemas.microsoft.com/office/drawing/2014/main" id="{072C9E63-C6A8-893E-913C-A9FF0912D96C}"/>
              </a:ext>
            </a:extLst>
          </p:cNvPr>
          <p:cNvGrpSpPr>
            <a:grpSpLocks/>
          </p:cNvGrpSpPr>
          <p:nvPr/>
        </p:nvGrpSpPr>
        <p:grpSpPr bwMode="auto">
          <a:xfrm>
            <a:off x="898525" y="5449888"/>
            <a:ext cx="1831975" cy="544512"/>
            <a:chOff x="6819900" y="1426914"/>
            <a:chExt cx="1831465" cy="545825"/>
          </a:xfrm>
        </p:grpSpPr>
        <p:cxnSp>
          <p:nvCxnSpPr>
            <p:cNvPr id="99" name="Straight Connector 61">
              <a:extLst>
                <a:ext uri="{FF2B5EF4-FFF2-40B4-BE49-F238E27FC236}">
                  <a16:creationId xmlns:a16="http://schemas.microsoft.com/office/drawing/2014/main" id="{B98CB383-A827-C470-60C6-36A1B23E9B60}"/>
                </a:ext>
              </a:extLst>
            </p:cNvPr>
            <p:cNvCxnSpPr/>
            <p:nvPr/>
          </p:nvCxnSpPr>
          <p:spPr>
            <a:xfrm>
              <a:off x="6819900" y="1885216"/>
              <a:ext cx="1831465" cy="477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0" name="Right Triangle 62">
              <a:extLst>
                <a:ext uri="{FF2B5EF4-FFF2-40B4-BE49-F238E27FC236}">
                  <a16:creationId xmlns:a16="http://schemas.microsoft.com/office/drawing/2014/main" id="{96064308-63FA-79C4-32DB-6BA860CAAD88}"/>
                </a:ext>
              </a:extLst>
            </p:cNvPr>
            <p:cNvSpPr/>
            <p:nvPr/>
          </p:nvSpPr>
          <p:spPr>
            <a:xfrm rot="13500000" flipV="1">
              <a:off x="7546773" y="1804058"/>
              <a:ext cx="168228" cy="168681"/>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1810" name="AutoShape 17">
              <a:extLst>
                <a:ext uri="{FF2B5EF4-FFF2-40B4-BE49-F238E27FC236}">
                  <a16:creationId xmlns:a16="http://schemas.microsoft.com/office/drawing/2014/main" id="{D79A5B9B-F278-2D60-DB7B-E48CCEE0194F}"/>
                </a:ext>
              </a:extLst>
            </p:cNvPr>
            <p:cNvSpPr>
              <a:spLocks/>
            </p:cNvSpPr>
            <p:nvPr/>
          </p:nvSpPr>
          <p:spPr bwMode="auto">
            <a:xfrm>
              <a:off x="7271259" y="1426914"/>
              <a:ext cx="719063" cy="40734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0 h 21600"/>
                <a:gd name="T12" fmla="*/ 2147483646 w 21600"/>
                <a:gd name="T13" fmla="*/ 0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0 w 21600"/>
                <a:gd name="T27" fmla="*/ 2147483646 h 21600"/>
                <a:gd name="T28" fmla="*/ 0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0 h 21600"/>
                <a:gd name="T52" fmla="*/ 2147483646 w 21600"/>
                <a:gd name="T53" fmla="*/ 0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0 h 21600"/>
                <a:gd name="T88" fmla="*/ 2147483646 w 21600"/>
                <a:gd name="T89" fmla="*/ 0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1600" h="21600">
                  <a:moveTo>
                    <a:pt x="6383" y="11316"/>
                  </a:moveTo>
                  <a:cubicBezTo>
                    <a:pt x="6352" y="11293"/>
                    <a:pt x="6334" y="11238"/>
                    <a:pt x="6334" y="11175"/>
                  </a:cubicBezTo>
                  <a:lnTo>
                    <a:pt x="6334" y="7852"/>
                  </a:lnTo>
                  <a:cubicBezTo>
                    <a:pt x="6569" y="7570"/>
                    <a:pt x="6728" y="7101"/>
                    <a:pt x="6728" y="6553"/>
                  </a:cubicBezTo>
                  <a:lnTo>
                    <a:pt x="6728" y="3104"/>
                  </a:lnTo>
                  <a:cubicBezTo>
                    <a:pt x="6728" y="1391"/>
                    <a:pt x="5939" y="0"/>
                    <a:pt x="4969" y="0"/>
                  </a:cubicBezTo>
                  <a:lnTo>
                    <a:pt x="4544" y="0"/>
                  </a:lnTo>
                  <a:cubicBezTo>
                    <a:pt x="3573" y="0"/>
                    <a:pt x="2783" y="1391"/>
                    <a:pt x="2783" y="3104"/>
                  </a:cubicBezTo>
                  <a:lnTo>
                    <a:pt x="2783" y="6553"/>
                  </a:lnTo>
                  <a:cubicBezTo>
                    <a:pt x="2783" y="7093"/>
                    <a:pt x="2938" y="7570"/>
                    <a:pt x="3178" y="7852"/>
                  </a:cubicBezTo>
                  <a:lnTo>
                    <a:pt x="3178" y="11175"/>
                  </a:lnTo>
                  <a:cubicBezTo>
                    <a:pt x="3178" y="11238"/>
                    <a:pt x="3161" y="11284"/>
                    <a:pt x="3129" y="11316"/>
                  </a:cubicBezTo>
                  <a:cubicBezTo>
                    <a:pt x="2863" y="11542"/>
                    <a:pt x="1555" y="12708"/>
                    <a:pt x="345" y="14468"/>
                  </a:cubicBezTo>
                  <a:cubicBezTo>
                    <a:pt x="128" y="14788"/>
                    <a:pt x="0" y="15257"/>
                    <a:pt x="0" y="15758"/>
                  </a:cubicBezTo>
                  <a:lnTo>
                    <a:pt x="0" y="18120"/>
                  </a:lnTo>
                  <a:lnTo>
                    <a:pt x="4300" y="18120"/>
                  </a:lnTo>
                  <a:cubicBezTo>
                    <a:pt x="4384" y="17322"/>
                    <a:pt x="4628" y="16595"/>
                    <a:pt x="4991" y="16071"/>
                  </a:cubicBezTo>
                  <a:cubicBezTo>
                    <a:pt x="6024" y="14569"/>
                    <a:pt x="7119" y="13412"/>
                    <a:pt x="7810" y="12739"/>
                  </a:cubicBezTo>
                  <a:cubicBezTo>
                    <a:pt x="7114" y="11957"/>
                    <a:pt x="6547" y="11457"/>
                    <a:pt x="6383" y="11316"/>
                  </a:cubicBezTo>
                  <a:close/>
                  <a:moveTo>
                    <a:pt x="21241" y="14468"/>
                  </a:moveTo>
                  <a:cubicBezTo>
                    <a:pt x="20030" y="12708"/>
                    <a:pt x="18723" y="11542"/>
                    <a:pt x="18457" y="11316"/>
                  </a:cubicBezTo>
                  <a:cubicBezTo>
                    <a:pt x="18426" y="11293"/>
                    <a:pt x="18408" y="11238"/>
                    <a:pt x="18408" y="11175"/>
                  </a:cubicBezTo>
                  <a:lnTo>
                    <a:pt x="18408" y="7852"/>
                  </a:lnTo>
                  <a:cubicBezTo>
                    <a:pt x="18643" y="7570"/>
                    <a:pt x="18802" y="7101"/>
                    <a:pt x="18802" y="6553"/>
                  </a:cubicBezTo>
                  <a:lnTo>
                    <a:pt x="18802" y="3104"/>
                  </a:lnTo>
                  <a:cubicBezTo>
                    <a:pt x="18802" y="1391"/>
                    <a:pt x="18014" y="0"/>
                    <a:pt x="17043" y="0"/>
                  </a:cubicBezTo>
                  <a:lnTo>
                    <a:pt x="16626" y="0"/>
                  </a:lnTo>
                  <a:cubicBezTo>
                    <a:pt x="15655" y="0"/>
                    <a:pt x="14867" y="1391"/>
                    <a:pt x="14867" y="3104"/>
                  </a:cubicBezTo>
                  <a:lnTo>
                    <a:pt x="14867" y="6553"/>
                  </a:lnTo>
                  <a:cubicBezTo>
                    <a:pt x="14867" y="7093"/>
                    <a:pt x="15022" y="7570"/>
                    <a:pt x="15261" y="7852"/>
                  </a:cubicBezTo>
                  <a:lnTo>
                    <a:pt x="15261" y="11175"/>
                  </a:lnTo>
                  <a:cubicBezTo>
                    <a:pt x="15261" y="11238"/>
                    <a:pt x="15244" y="11284"/>
                    <a:pt x="15212" y="11316"/>
                  </a:cubicBezTo>
                  <a:cubicBezTo>
                    <a:pt x="15048" y="11457"/>
                    <a:pt x="14481" y="11957"/>
                    <a:pt x="13790" y="12739"/>
                  </a:cubicBezTo>
                  <a:cubicBezTo>
                    <a:pt x="14481" y="13412"/>
                    <a:pt x="15576" y="14569"/>
                    <a:pt x="16609" y="16071"/>
                  </a:cubicBezTo>
                  <a:cubicBezTo>
                    <a:pt x="16972" y="16595"/>
                    <a:pt x="17211" y="17322"/>
                    <a:pt x="17300" y="18120"/>
                  </a:cubicBezTo>
                  <a:lnTo>
                    <a:pt x="21600" y="18120"/>
                  </a:lnTo>
                  <a:lnTo>
                    <a:pt x="21600" y="15758"/>
                  </a:lnTo>
                  <a:cubicBezTo>
                    <a:pt x="21587" y="15257"/>
                    <a:pt x="21462" y="14780"/>
                    <a:pt x="21241" y="14468"/>
                  </a:cubicBezTo>
                  <a:close/>
                  <a:moveTo>
                    <a:pt x="12730" y="13490"/>
                  </a:moveTo>
                  <a:cubicBezTo>
                    <a:pt x="12695" y="13458"/>
                    <a:pt x="12673" y="13396"/>
                    <a:pt x="12673" y="13325"/>
                  </a:cubicBezTo>
                  <a:lnTo>
                    <a:pt x="12673" y="9361"/>
                  </a:lnTo>
                  <a:cubicBezTo>
                    <a:pt x="12956" y="9025"/>
                    <a:pt x="13143" y="8462"/>
                    <a:pt x="13143" y="7820"/>
                  </a:cubicBezTo>
                  <a:lnTo>
                    <a:pt x="13143" y="3707"/>
                  </a:lnTo>
                  <a:cubicBezTo>
                    <a:pt x="13143" y="1658"/>
                    <a:pt x="12203" y="0"/>
                    <a:pt x="11042" y="0"/>
                  </a:cubicBezTo>
                  <a:lnTo>
                    <a:pt x="10540" y="0"/>
                  </a:lnTo>
                  <a:cubicBezTo>
                    <a:pt x="9379" y="0"/>
                    <a:pt x="8440" y="1658"/>
                    <a:pt x="8440" y="3707"/>
                  </a:cubicBezTo>
                  <a:lnTo>
                    <a:pt x="8440" y="7820"/>
                  </a:lnTo>
                  <a:cubicBezTo>
                    <a:pt x="8440" y="8462"/>
                    <a:pt x="8626" y="9032"/>
                    <a:pt x="8909" y="9361"/>
                  </a:cubicBezTo>
                  <a:lnTo>
                    <a:pt x="8909" y="13325"/>
                  </a:lnTo>
                  <a:cubicBezTo>
                    <a:pt x="8909" y="13396"/>
                    <a:pt x="8887" y="13458"/>
                    <a:pt x="8851" y="13490"/>
                  </a:cubicBezTo>
                  <a:cubicBezTo>
                    <a:pt x="8532" y="13764"/>
                    <a:pt x="6977" y="15155"/>
                    <a:pt x="5532" y="17243"/>
                  </a:cubicBezTo>
                  <a:cubicBezTo>
                    <a:pt x="5270" y="17619"/>
                    <a:pt x="5119" y="18190"/>
                    <a:pt x="5119" y="18785"/>
                  </a:cubicBezTo>
                  <a:lnTo>
                    <a:pt x="5119" y="21600"/>
                  </a:lnTo>
                  <a:lnTo>
                    <a:pt x="16462" y="21600"/>
                  </a:lnTo>
                  <a:lnTo>
                    <a:pt x="16462" y="18785"/>
                  </a:lnTo>
                  <a:cubicBezTo>
                    <a:pt x="16462" y="18190"/>
                    <a:pt x="16311" y="17619"/>
                    <a:pt x="16050" y="17243"/>
                  </a:cubicBezTo>
                  <a:cubicBezTo>
                    <a:pt x="14605" y="15148"/>
                    <a:pt x="13049" y="13764"/>
                    <a:pt x="12730" y="13490"/>
                  </a:cubicBezTo>
                  <a:close/>
                  <a:moveTo>
                    <a:pt x="12730" y="13490"/>
                  </a:move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GB"/>
            </a:p>
          </p:txBody>
        </p:sp>
      </p:grpSp>
      <p:sp>
        <p:nvSpPr>
          <p:cNvPr id="31784" name="Rectangle 46">
            <a:extLst>
              <a:ext uri="{FF2B5EF4-FFF2-40B4-BE49-F238E27FC236}">
                <a16:creationId xmlns:a16="http://schemas.microsoft.com/office/drawing/2014/main" id="{3C931E0B-626D-4E10-EF48-40DB5C768997}"/>
              </a:ext>
            </a:extLst>
          </p:cNvPr>
          <p:cNvSpPr>
            <a:spLocks noChangeArrowheads="1"/>
          </p:cNvSpPr>
          <p:nvPr/>
        </p:nvSpPr>
        <p:spPr bwMode="auto">
          <a:xfrm>
            <a:off x="10666413" y="766763"/>
            <a:ext cx="86042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just" eaLnBrk="1" hangingPunct="1">
              <a:lnSpc>
                <a:spcPct val="100000"/>
              </a:lnSpc>
              <a:spcBef>
                <a:spcPct val="0"/>
              </a:spcBef>
              <a:buClr>
                <a:srgbClr val="E24848"/>
              </a:buClr>
              <a:buFontTx/>
              <a:buNone/>
            </a:pPr>
            <a:r>
              <a:rPr lang="tr-TR" altLang="tr-TR" sz="3600" b="1" noProof="1">
                <a:latin typeface="Open Sans" panose="020B0606030504020204" pitchFamily="34" charset="0"/>
                <a:cs typeface="Open Sans" panose="020B0606030504020204" pitchFamily="34" charset="0"/>
              </a:rPr>
              <a:t>88</a:t>
            </a:r>
          </a:p>
        </p:txBody>
      </p:sp>
      <p:sp>
        <p:nvSpPr>
          <p:cNvPr id="31785" name="Content Placeholder 2">
            <a:extLst>
              <a:ext uri="{FF2B5EF4-FFF2-40B4-BE49-F238E27FC236}">
                <a16:creationId xmlns:a16="http://schemas.microsoft.com/office/drawing/2014/main" id="{9FCBB100-AD1D-4491-D116-DB6167913321}"/>
              </a:ext>
            </a:extLst>
          </p:cNvPr>
          <p:cNvSpPr txBox="1">
            <a:spLocks noChangeArrowheads="1"/>
          </p:cNvSpPr>
          <p:nvPr/>
        </p:nvSpPr>
        <p:spPr bwMode="auto">
          <a:xfrm>
            <a:off x="8985250" y="1435100"/>
            <a:ext cx="2362200" cy="48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ctr" eaLnBrk="1" hangingPunct="1">
              <a:lnSpc>
                <a:spcPct val="100000"/>
              </a:lnSpc>
              <a:spcBef>
                <a:spcPct val="0"/>
              </a:spcBef>
              <a:buFontTx/>
              <a:buNone/>
            </a:pPr>
            <a:r>
              <a:rPr lang="tr-TR" altLang="tr-TR" sz="1600" b="1">
                <a:solidFill>
                  <a:srgbClr val="404040"/>
                </a:solidFill>
                <a:latin typeface="Open Sans" panose="020B0606030504020204" pitchFamily="34" charset="0"/>
                <a:cs typeface="Open Sans" panose="020B0606030504020204" pitchFamily="34" charset="0"/>
              </a:rPr>
              <a:t>Sözleşmeli SPK Lisanslı Uzman Sayısı</a:t>
            </a:r>
            <a:endParaRPr lang="en-US" altLang="tr-TR" sz="1600" b="1">
              <a:solidFill>
                <a:srgbClr val="262626"/>
              </a:solidFill>
              <a:latin typeface="Open Sans" panose="020B0606030504020204" pitchFamily="34" charset="0"/>
              <a:cs typeface="Open Sans" panose="020B0606030504020204" pitchFamily="34" charset="0"/>
            </a:endParaRPr>
          </a:p>
        </p:txBody>
      </p:sp>
      <p:grpSp>
        <p:nvGrpSpPr>
          <p:cNvPr id="31786" name="Grup 119">
            <a:extLst>
              <a:ext uri="{FF2B5EF4-FFF2-40B4-BE49-F238E27FC236}">
                <a16:creationId xmlns:a16="http://schemas.microsoft.com/office/drawing/2014/main" id="{9DBE89E7-D458-8019-7668-A43EB93DF251}"/>
              </a:ext>
            </a:extLst>
          </p:cNvPr>
          <p:cNvGrpSpPr>
            <a:grpSpLocks/>
          </p:cNvGrpSpPr>
          <p:nvPr/>
        </p:nvGrpSpPr>
        <p:grpSpPr bwMode="auto">
          <a:xfrm>
            <a:off x="9170988" y="3941763"/>
            <a:ext cx="1831975" cy="544512"/>
            <a:chOff x="6819900" y="1426914"/>
            <a:chExt cx="1831465" cy="545825"/>
          </a:xfrm>
        </p:grpSpPr>
        <p:cxnSp>
          <p:nvCxnSpPr>
            <p:cNvPr id="111" name="Straight Connector 61">
              <a:extLst>
                <a:ext uri="{FF2B5EF4-FFF2-40B4-BE49-F238E27FC236}">
                  <a16:creationId xmlns:a16="http://schemas.microsoft.com/office/drawing/2014/main" id="{2CF35882-CF8E-B488-62B6-445328798CE8}"/>
                </a:ext>
              </a:extLst>
            </p:cNvPr>
            <p:cNvCxnSpPr/>
            <p:nvPr/>
          </p:nvCxnSpPr>
          <p:spPr>
            <a:xfrm>
              <a:off x="6819900" y="1885216"/>
              <a:ext cx="1831465" cy="477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2" name="Right Triangle 62">
              <a:extLst>
                <a:ext uri="{FF2B5EF4-FFF2-40B4-BE49-F238E27FC236}">
                  <a16:creationId xmlns:a16="http://schemas.microsoft.com/office/drawing/2014/main" id="{A78C0B96-B8F6-AA88-3D7B-F4AA212A4D80}"/>
                </a:ext>
              </a:extLst>
            </p:cNvPr>
            <p:cNvSpPr/>
            <p:nvPr/>
          </p:nvSpPr>
          <p:spPr>
            <a:xfrm rot="13500000" flipV="1">
              <a:off x="7546773" y="1804058"/>
              <a:ext cx="168228" cy="168681"/>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1807" name="AutoShape 17">
              <a:extLst>
                <a:ext uri="{FF2B5EF4-FFF2-40B4-BE49-F238E27FC236}">
                  <a16:creationId xmlns:a16="http://schemas.microsoft.com/office/drawing/2014/main" id="{780A29B7-561D-26A2-AD41-45B66AE28E95}"/>
                </a:ext>
              </a:extLst>
            </p:cNvPr>
            <p:cNvSpPr>
              <a:spLocks/>
            </p:cNvSpPr>
            <p:nvPr/>
          </p:nvSpPr>
          <p:spPr bwMode="auto">
            <a:xfrm>
              <a:off x="7271259" y="1426914"/>
              <a:ext cx="719063" cy="40734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0 h 21600"/>
                <a:gd name="T12" fmla="*/ 2147483646 w 21600"/>
                <a:gd name="T13" fmla="*/ 0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0 w 21600"/>
                <a:gd name="T27" fmla="*/ 2147483646 h 21600"/>
                <a:gd name="T28" fmla="*/ 0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0 h 21600"/>
                <a:gd name="T52" fmla="*/ 2147483646 w 21600"/>
                <a:gd name="T53" fmla="*/ 0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0 h 21600"/>
                <a:gd name="T88" fmla="*/ 2147483646 w 21600"/>
                <a:gd name="T89" fmla="*/ 0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1600" h="21600">
                  <a:moveTo>
                    <a:pt x="6383" y="11316"/>
                  </a:moveTo>
                  <a:cubicBezTo>
                    <a:pt x="6352" y="11293"/>
                    <a:pt x="6334" y="11238"/>
                    <a:pt x="6334" y="11175"/>
                  </a:cubicBezTo>
                  <a:lnTo>
                    <a:pt x="6334" y="7852"/>
                  </a:lnTo>
                  <a:cubicBezTo>
                    <a:pt x="6569" y="7570"/>
                    <a:pt x="6728" y="7101"/>
                    <a:pt x="6728" y="6553"/>
                  </a:cubicBezTo>
                  <a:lnTo>
                    <a:pt x="6728" y="3104"/>
                  </a:lnTo>
                  <a:cubicBezTo>
                    <a:pt x="6728" y="1391"/>
                    <a:pt x="5939" y="0"/>
                    <a:pt x="4969" y="0"/>
                  </a:cubicBezTo>
                  <a:lnTo>
                    <a:pt x="4544" y="0"/>
                  </a:lnTo>
                  <a:cubicBezTo>
                    <a:pt x="3573" y="0"/>
                    <a:pt x="2783" y="1391"/>
                    <a:pt x="2783" y="3104"/>
                  </a:cubicBezTo>
                  <a:lnTo>
                    <a:pt x="2783" y="6553"/>
                  </a:lnTo>
                  <a:cubicBezTo>
                    <a:pt x="2783" y="7093"/>
                    <a:pt x="2938" y="7570"/>
                    <a:pt x="3178" y="7852"/>
                  </a:cubicBezTo>
                  <a:lnTo>
                    <a:pt x="3178" y="11175"/>
                  </a:lnTo>
                  <a:cubicBezTo>
                    <a:pt x="3178" y="11238"/>
                    <a:pt x="3161" y="11284"/>
                    <a:pt x="3129" y="11316"/>
                  </a:cubicBezTo>
                  <a:cubicBezTo>
                    <a:pt x="2863" y="11542"/>
                    <a:pt x="1555" y="12708"/>
                    <a:pt x="345" y="14468"/>
                  </a:cubicBezTo>
                  <a:cubicBezTo>
                    <a:pt x="128" y="14788"/>
                    <a:pt x="0" y="15257"/>
                    <a:pt x="0" y="15758"/>
                  </a:cubicBezTo>
                  <a:lnTo>
                    <a:pt x="0" y="18120"/>
                  </a:lnTo>
                  <a:lnTo>
                    <a:pt x="4300" y="18120"/>
                  </a:lnTo>
                  <a:cubicBezTo>
                    <a:pt x="4384" y="17322"/>
                    <a:pt x="4628" y="16595"/>
                    <a:pt x="4991" y="16071"/>
                  </a:cubicBezTo>
                  <a:cubicBezTo>
                    <a:pt x="6024" y="14569"/>
                    <a:pt x="7119" y="13412"/>
                    <a:pt x="7810" y="12739"/>
                  </a:cubicBezTo>
                  <a:cubicBezTo>
                    <a:pt x="7114" y="11957"/>
                    <a:pt x="6547" y="11457"/>
                    <a:pt x="6383" y="11316"/>
                  </a:cubicBezTo>
                  <a:close/>
                  <a:moveTo>
                    <a:pt x="21241" y="14468"/>
                  </a:moveTo>
                  <a:cubicBezTo>
                    <a:pt x="20030" y="12708"/>
                    <a:pt x="18723" y="11542"/>
                    <a:pt x="18457" y="11316"/>
                  </a:cubicBezTo>
                  <a:cubicBezTo>
                    <a:pt x="18426" y="11293"/>
                    <a:pt x="18408" y="11238"/>
                    <a:pt x="18408" y="11175"/>
                  </a:cubicBezTo>
                  <a:lnTo>
                    <a:pt x="18408" y="7852"/>
                  </a:lnTo>
                  <a:cubicBezTo>
                    <a:pt x="18643" y="7570"/>
                    <a:pt x="18802" y="7101"/>
                    <a:pt x="18802" y="6553"/>
                  </a:cubicBezTo>
                  <a:lnTo>
                    <a:pt x="18802" y="3104"/>
                  </a:lnTo>
                  <a:cubicBezTo>
                    <a:pt x="18802" y="1391"/>
                    <a:pt x="18014" y="0"/>
                    <a:pt x="17043" y="0"/>
                  </a:cubicBezTo>
                  <a:lnTo>
                    <a:pt x="16626" y="0"/>
                  </a:lnTo>
                  <a:cubicBezTo>
                    <a:pt x="15655" y="0"/>
                    <a:pt x="14867" y="1391"/>
                    <a:pt x="14867" y="3104"/>
                  </a:cubicBezTo>
                  <a:lnTo>
                    <a:pt x="14867" y="6553"/>
                  </a:lnTo>
                  <a:cubicBezTo>
                    <a:pt x="14867" y="7093"/>
                    <a:pt x="15022" y="7570"/>
                    <a:pt x="15261" y="7852"/>
                  </a:cubicBezTo>
                  <a:lnTo>
                    <a:pt x="15261" y="11175"/>
                  </a:lnTo>
                  <a:cubicBezTo>
                    <a:pt x="15261" y="11238"/>
                    <a:pt x="15244" y="11284"/>
                    <a:pt x="15212" y="11316"/>
                  </a:cubicBezTo>
                  <a:cubicBezTo>
                    <a:pt x="15048" y="11457"/>
                    <a:pt x="14481" y="11957"/>
                    <a:pt x="13790" y="12739"/>
                  </a:cubicBezTo>
                  <a:cubicBezTo>
                    <a:pt x="14481" y="13412"/>
                    <a:pt x="15576" y="14569"/>
                    <a:pt x="16609" y="16071"/>
                  </a:cubicBezTo>
                  <a:cubicBezTo>
                    <a:pt x="16972" y="16595"/>
                    <a:pt x="17211" y="17322"/>
                    <a:pt x="17300" y="18120"/>
                  </a:cubicBezTo>
                  <a:lnTo>
                    <a:pt x="21600" y="18120"/>
                  </a:lnTo>
                  <a:lnTo>
                    <a:pt x="21600" y="15758"/>
                  </a:lnTo>
                  <a:cubicBezTo>
                    <a:pt x="21587" y="15257"/>
                    <a:pt x="21462" y="14780"/>
                    <a:pt x="21241" y="14468"/>
                  </a:cubicBezTo>
                  <a:close/>
                  <a:moveTo>
                    <a:pt x="12730" y="13490"/>
                  </a:moveTo>
                  <a:cubicBezTo>
                    <a:pt x="12695" y="13458"/>
                    <a:pt x="12673" y="13396"/>
                    <a:pt x="12673" y="13325"/>
                  </a:cubicBezTo>
                  <a:lnTo>
                    <a:pt x="12673" y="9361"/>
                  </a:lnTo>
                  <a:cubicBezTo>
                    <a:pt x="12956" y="9025"/>
                    <a:pt x="13143" y="8462"/>
                    <a:pt x="13143" y="7820"/>
                  </a:cubicBezTo>
                  <a:lnTo>
                    <a:pt x="13143" y="3707"/>
                  </a:lnTo>
                  <a:cubicBezTo>
                    <a:pt x="13143" y="1658"/>
                    <a:pt x="12203" y="0"/>
                    <a:pt x="11042" y="0"/>
                  </a:cubicBezTo>
                  <a:lnTo>
                    <a:pt x="10540" y="0"/>
                  </a:lnTo>
                  <a:cubicBezTo>
                    <a:pt x="9379" y="0"/>
                    <a:pt x="8440" y="1658"/>
                    <a:pt x="8440" y="3707"/>
                  </a:cubicBezTo>
                  <a:lnTo>
                    <a:pt x="8440" y="7820"/>
                  </a:lnTo>
                  <a:cubicBezTo>
                    <a:pt x="8440" y="8462"/>
                    <a:pt x="8626" y="9032"/>
                    <a:pt x="8909" y="9361"/>
                  </a:cubicBezTo>
                  <a:lnTo>
                    <a:pt x="8909" y="13325"/>
                  </a:lnTo>
                  <a:cubicBezTo>
                    <a:pt x="8909" y="13396"/>
                    <a:pt x="8887" y="13458"/>
                    <a:pt x="8851" y="13490"/>
                  </a:cubicBezTo>
                  <a:cubicBezTo>
                    <a:pt x="8532" y="13764"/>
                    <a:pt x="6977" y="15155"/>
                    <a:pt x="5532" y="17243"/>
                  </a:cubicBezTo>
                  <a:cubicBezTo>
                    <a:pt x="5270" y="17619"/>
                    <a:pt x="5119" y="18190"/>
                    <a:pt x="5119" y="18785"/>
                  </a:cubicBezTo>
                  <a:lnTo>
                    <a:pt x="5119" y="21600"/>
                  </a:lnTo>
                  <a:lnTo>
                    <a:pt x="16462" y="21600"/>
                  </a:lnTo>
                  <a:lnTo>
                    <a:pt x="16462" y="18785"/>
                  </a:lnTo>
                  <a:cubicBezTo>
                    <a:pt x="16462" y="18190"/>
                    <a:pt x="16311" y="17619"/>
                    <a:pt x="16050" y="17243"/>
                  </a:cubicBezTo>
                  <a:cubicBezTo>
                    <a:pt x="14605" y="15148"/>
                    <a:pt x="13049" y="13764"/>
                    <a:pt x="12730" y="13490"/>
                  </a:cubicBezTo>
                  <a:close/>
                  <a:moveTo>
                    <a:pt x="12730" y="13490"/>
                  </a:move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GB"/>
            </a:p>
          </p:txBody>
        </p:sp>
      </p:grpSp>
      <p:sp>
        <p:nvSpPr>
          <p:cNvPr id="31787" name="Rectangle 46">
            <a:extLst>
              <a:ext uri="{FF2B5EF4-FFF2-40B4-BE49-F238E27FC236}">
                <a16:creationId xmlns:a16="http://schemas.microsoft.com/office/drawing/2014/main" id="{E5B633FD-349A-89EE-A2A6-B3CA1983A904}"/>
              </a:ext>
            </a:extLst>
          </p:cNvPr>
          <p:cNvSpPr>
            <a:spLocks noChangeArrowheads="1"/>
          </p:cNvSpPr>
          <p:nvPr/>
        </p:nvSpPr>
        <p:spPr bwMode="auto">
          <a:xfrm>
            <a:off x="10633075" y="2287588"/>
            <a:ext cx="76200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just" eaLnBrk="1" hangingPunct="1">
              <a:lnSpc>
                <a:spcPct val="100000"/>
              </a:lnSpc>
              <a:spcBef>
                <a:spcPct val="0"/>
              </a:spcBef>
              <a:buClr>
                <a:srgbClr val="E24848"/>
              </a:buClr>
              <a:buFontTx/>
              <a:buNone/>
            </a:pPr>
            <a:r>
              <a:rPr lang="tr-TR" altLang="tr-TR" sz="3600" b="1" dirty="0">
                <a:latin typeface="Open Sans" panose="020B0606030504020204" pitchFamily="34" charset="0"/>
                <a:cs typeface="Open Sans" panose="020B0606030504020204" pitchFamily="34" charset="0"/>
              </a:rPr>
              <a:t>76</a:t>
            </a:r>
            <a:endParaRPr lang="tr-TR" altLang="tr-TR" sz="3600" b="1" noProof="1">
              <a:latin typeface="Open Sans" panose="020B0606030504020204" pitchFamily="34" charset="0"/>
              <a:cs typeface="Open Sans" panose="020B0606030504020204" pitchFamily="34" charset="0"/>
            </a:endParaRPr>
          </a:p>
        </p:txBody>
      </p:sp>
      <p:sp>
        <p:nvSpPr>
          <p:cNvPr id="31788" name="Content Placeholder 2">
            <a:extLst>
              <a:ext uri="{FF2B5EF4-FFF2-40B4-BE49-F238E27FC236}">
                <a16:creationId xmlns:a16="http://schemas.microsoft.com/office/drawing/2014/main" id="{6B8CE6AA-AE8F-E8F2-45DB-03CB3F8D05D5}"/>
              </a:ext>
            </a:extLst>
          </p:cNvPr>
          <p:cNvSpPr txBox="1">
            <a:spLocks noChangeArrowheads="1"/>
          </p:cNvSpPr>
          <p:nvPr/>
        </p:nvSpPr>
        <p:spPr bwMode="auto">
          <a:xfrm>
            <a:off x="8916988" y="2903538"/>
            <a:ext cx="2663825"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ctr" eaLnBrk="1" hangingPunct="1">
              <a:lnSpc>
                <a:spcPct val="100000"/>
              </a:lnSpc>
              <a:spcBef>
                <a:spcPct val="0"/>
              </a:spcBef>
              <a:buFontTx/>
              <a:buNone/>
            </a:pPr>
            <a:r>
              <a:rPr lang="tr-TR" altLang="tr-TR" sz="1600" b="1">
                <a:solidFill>
                  <a:srgbClr val="404040"/>
                </a:solidFill>
                <a:latin typeface="Open Sans" panose="020B0606030504020204" pitchFamily="34" charset="0"/>
                <a:cs typeface="Open Sans" panose="020B0606030504020204" pitchFamily="34" charset="0"/>
              </a:rPr>
              <a:t> Değerleme Uzmanı ile Hizmet Verilen İl Sayısı</a:t>
            </a:r>
            <a:endParaRPr lang="en-US" altLang="tr-TR" sz="1600" b="1">
              <a:solidFill>
                <a:srgbClr val="262626"/>
              </a:solidFill>
              <a:latin typeface="Open Sans" panose="020B0606030504020204" pitchFamily="34" charset="0"/>
              <a:cs typeface="Open Sans" panose="020B0606030504020204" pitchFamily="34" charset="0"/>
            </a:endParaRPr>
          </a:p>
        </p:txBody>
      </p:sp>
      <p:grpSp>
        <p:nvGrpSpPr>
          <p:cNvPr id="31789" name="Grup 83">
            <a:extLst>
              <a:ext uri="{FF2B5EF4-FFF2-40B4-BE49-F238E27FC236}">
                <a16:creationId xmlns:a16="http://schemas.microsoft.com/office/drawing/2014/main" id="{432B9FC4-6585-644C-9FDF-85163DCB47E2}"/>
              </a:ext>
            </a:extLst>
          </p:cNvPr>
          <p:cNvGrpSpPr>
            <a:grpSpLocks/>
          </p:cNvGrpSpPr>
          <p:nvPr/>
        </p:nvGrpSpPr>
        <p:grpSpPr bwMode="auto">
          <a:xfrm>
            <a:off x="9170988" y="866775"/>
            <a:ext cx="1831975" cy="546100"/>
            <a:chOff x="6819900" y="1426914"/>
            <a:chExt cx="1831465" cy="545825"/>
          </a:xfrm>
        </p:grpSpPr>
        <p:cxnSp>
          <p:nvCxnSpPr>
            <p:cNvPr id="123" name="Straight Connector 61">
              <a:extLst>
                <a:ext uri="{FF2B5EF4-FFF2-40B4-BE49-F238E27FC236}">
                  <a16:creationId xmlns:a16="http://schemas.microsoft.com/office/drawing/2014/main" id="{2AF02A92-E4B7-E735-F120-121A6D00B4AE}"/>
                </a:ext>
              </a:extLst>
            </p:cNvPr>
            <p:cNvCxnSpPr/>
            <p:nvPr/>
          </p:nvCxnSpPr>
          <p:spPr>
            <a:xfrm>
              <a:off x="6819900" y="1885471"/>
              <a:ext cx="1831465" cy="47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4" name="Right Triangle 62">
              <a:extLst>
                <a:ext uri="{FF2B5EF4-FFF2-40B4-BE49-F238E27FC236}">
                  <a16:creationId xmlns:a16="http://schemas.microsoft.com/office/drawing/2014/main" id="{F1261042-DADB-02C5-F397-371D614A7A02}"/>
                </a:ext>
              </a:extLst>
            </p:cNvPr>
            <p:cNvSpPr/>
            <p:nvPr/>
          </p:nvSpPr>
          <p:spPr>
            <a:xfrm rot="13500000" flipV="1">
              <a:off x="7546773" y="1802963"/>
              <a:ext cx="168228" cy="169776"/>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1804" name="AutoShape 17">
              <a:extLst>
                <a:ext uri="{FF2B5EF4-FFF2-40B4-BE49-F238E27FC236}">
                  <a16:creationId xmlns:a16="http://schemas.microsoft.com/office/drawing/2014/main" id="{46339486-5606-740F-C2EA-88832C5FA7A3}"/>
                </a:ext>
              </a:extLst>
            </p:cNvPr>
            <p:cNvSpPr>
              <a:spLocks/>
            </p:cNvSpPr>
            <p:nvPr/>
          </p:nvSpPr>
          <p:spPr bwMode="auto">
            <a:xfrm>
              <a:off x="7271259" y="1426914"/>
              <a:ext cx="719063" cy="40734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0 h 21600"/>
                <a:gd name="T12" fmla="*/ 2147483646 w 21600"/>
                <a:gd name="T13" fmla="*/ 0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0 w 21600"/>
                <a:gd name="T27" fmla="*/ 2147483646 h 21600"/>
                <a:gd name="T28" fmla="*/ 0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0 h 21600"/>
                <a:gd name="T52" fmla="*/ 2147483646 w 21600"/>
                <a:gd name="T53" fmla="*/ 0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0 h 21600"/>
                <a:gd name="T88" fmla="*/ 2147483646 w 21600"/>
                <a:gd name="T89" fmla="*/ 0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1600" h="21600">
                  <a:moveTo>
                    <a:pt x="6383" y="11316"/>
                  </a:moveTo>
                  <a:cubicBezTo>
                    <a:pt x="6352" y="11293"/>
                    <a:pt x="6334" y="11238"/>
                    <a:pt x="6334" y="11175"/>
                  </a:cubicBezTo>
                  <a:lnTo>
                    <a:pt x="6334" y="7852"/>
                  </a:lnTo>
                  <a:cubicBezTo>
                    <a:pt x="6569" y="7570"/>
                    <a:pt x="6728" y="7101"/>
                    <a:pt x="6728" y="6553"/>
                  </a:cubicBezTo>
                  <a:lnTo>
                    <a:pt x="6728" y="3104"/>
                  </a:lnTo>
                  <a:cubicBezTo>
                    <a:pt x="6728" y="1391"/>
                    <a:pt x="5939" y="0"/>
                    <a:pt x="4969" y="0"/>
                  </a:cubicBezTo>
                  <a:lnTo>
                    <a:pt x="4544" y="0"/>
                  </a:lnTo>
                  <a:cubicBezTo>
                    <a:pt x="3573" y="0"/>
                    <a:pt x="2783" y="1391"/>
                    <a:pt x="2783" y="3104"/>
                  </a:cubicBezTo>
                  <a:lnTo>
                    <a:pt x="2783" y="6553"/>
                  </a:lnTo>
                  <a:cubicBezTo>
                    <a:pt x="2783" y="7093"/>
                    <a:pt x="2938" y="7570"/>
                    <a:pt x="3178" y="7852"/>
                  </a:cubicBezTo>
                  <a:lnTo>
                    <a:pt x="3178" y="11175"/>
                  </a:lnTo>
                  <a:cubicBezTo>
                    <a:pt x="3178" y="11238"/>
                    <a:pt x="3161" y="11284"/>
                    <a:pt x="3129" y="11316"/>
                  </a:cubicBezTo>
                  <a:cubicBezTo>
                    <a:pt x="2863" y="11542"/>
                    <a:pt x="1555" y="12708"/>
                    <a:pt x="345" y="14468"/>
                  </a:cubicBezTo>
                  <a:cubicBezTo>
                    <a:pt x="128" y="14788"/>
                    <a:pt x="0" y="15257"/>
                    <a:pt x="0" y="15758"/>
                  </a:cubicBezTo>
                  <a:lnTo>
                    <a:pt x="0" y="18120"/>
                  </a:lnTo>
                  <a:lnTo>
                    <a:pt x="4300" y="18120"/>
                  </a:lnTo>
                  <a:cubicBezTo>
                    <a:pt x="4384" y="17322"/>
                    <a:pt x="4628" y="16595"/>
                    <a:pt x="4991" y="16071"/>
                  </a:cubicBezTo>
                  <a:cubicBezTo>
                    <a:pt x="6024" y="14569"/>
                    <a:pt x="7119" y="13412"/>
                    <a:pt x="7810" y="12739"/>
                  </a:cubicBezTo>
                  <a:cubicBezTo>
                    <a:pt x="7114" y="11957"/>
                    <a:pt x="6547" y="11457"/>
                    <a:pt x="6383" y="11316"/>
                  </a:cubicBezTo>
                  <a:close/>
                  <a:moveTo>
                    <a:pt x="21241" y="14468"/>
                  </a:moveTo>
                  <a:cubicBezTo>
                    <a:pt x="20030" y="12708"/>
                    <a:pt x="18723" y="11542"/>
                    <a:pt x="18457" y="11316"/>
                  </a:cubicBezTo>
                  <a:cubicBezTo>
                    <a:pt x="18426" y="11293"/>
                    <a:pt x="18408" y="11238"/>
                    <a:pt x="18408" y="11175"/>
                  </a:cubicBezTo>
                  <a:lnTo>
                    <a:pt x="18408" y="7852"/>
                  </a:lnTo>
                  <a:cubicBezTo>
                    <a:pt x="18643" y="7570"/>
                    <a:pt x="18802" y="7101"/>
                    <a:pt x="18802" y="6553"/>
                  </a:cubicBezTo>
                  <a:lnTo>
                    <a:pt x="18802" y="3104"/>
                  </a:lnTo>
                  <a:cubicBezTo>
                    <a:pt x="18802" y="1391"/>
                    <a:pt x="18014" y="0"/>
                    <a:pt x="17043" y="0"/>
                  </a:cubicBezTo>
                  <a:lnTo>
                    <a:pt x="16626" y="0"/>
                  </a:lnTo>
                  <a:cubicBezTo>
                    <a:pt x="15655" y="0"/>
                    <a:pt x="14867" y="1391"/>
                    <a:pt x="14867" y="3104"/>
                  </a:cubicBezTo>
                  <a:lnTo>
                    <a:pt x="14867" y="6553"/>
                  </a:lnTo>
                  <a:cubicBezTo>
                    <a:pt x="14867" y="7093"/>
                    <a:pt x="15022" y="7570"/>
                    <a:pt x="15261" y="7852"/>
                  </a:cubicBezTo>
                  <a:lnTo>
                    <a:pt x="15261" y="11175"/>
                  </a:lnTo>
                  <a:cubicBezTo>
                    <a:pt x="15261" y="11238"/>
                    <a:pt x="15244" y="11284"/>
                    <a:pt x="15212" y="11316"/>
                  </a:cubicBezTo>
                  <a:cubicBezTo>
                    <a:pt x="15048" y="11457"/>
                    <a:pt x="14481" y="11957"/>
                    <a:pt x="13790" y="12739"/>
                  </a:cubicBezTo>
                  <a:cubicBezTo>
                    <a:pt x="14481" y="13412"/>
                    <a:pt x="15576" y="14569"/>
                    <a:pt x="16609" y="16071"/>
                  </a:cubicBezTo>
                  <a:cubicBezTo>
                    <a:pt x="16972" y="16595"/>
                    <a:pt x="17211" y="17322"/>
                    <a:pt x="17300" y="18120"/>
                  </a:cubicBezTo>
                  <a:lnTo>
                    <a:pt x="21600" y="18120"/>
                  </a:lnTo>
                  <a:lnTo>
                    <a:pt x="21600" y="15758"/>
                  </a:lnTo>
                  <a:cubicBezTo>
                    <a:pt x="21587" y="15257"/>
                    <a:pt x="21462" y="14780"/>
                    <a:pt x="21241" y="14468"/>
                  </a:cubicBezTo>
                  <a:close/>
                  <a:moveTo>
                    <a:pt x="12730" y="13490"/>
                  </a:moveTo>
                  <a:cubicBezTo>
                    <a:pt x="12695" y="13458"/>
                    <a:pt x="12673" y="13396"/>
                    <a:pt x="12673" y="13325"/>
                  </a:cubicBezTo>
                  <a:lnTo>
                    <a:pt x="12673" y="9361"/>
                  </a:lnTo>
                  <a:cubicBezTo>
                    <a:pt x="12956" y="9025"/>
                    <a:pt x="13143" y="8462"/>
                    <a:pt x="13143" y="7820"/>
                  </a:cubicBezTo>
                  <a:lnTo>
                    <a:pt x="13143" y="3707"/>
                  </a:lnTo>
                  <a:cubicBezTo>
                    <a:pt x="13143" y="1658"/>
                    <a:pt x="12203" y="0"/>
                    <a:pt x="11042" y="0"/>
                  </a:cubicBezTo>
                  <a:lnTo>
                    <a:pt x="10540" y="0"/>
                  </a:lnTo>
                  <a:cubicBezTo>
                    <a:pt x="9379" y="0"/>
                    <a:pt x="8440" y="1658"/>
                    <a:pt x="8440" y="3707"/>
                  </a:cubicBezTo>
                  <a:lnTo>
                    <a:pt x="8440" y="7820"/>
                  </a:lnTo>
                  <a:cubicBezTo>
                    <a:pt x="8440" y="8462"/>
                    <a:pt x="8626" y="9032"/>
                    <a:pt x="8909" y="9361"/>
                  </a:cubicBezTo>
                  <a:lnTo>
                    <a:pt x="8909" y="13325"/>
                  </a:lnTo>
                  <a:cubicBezTo>
                    <a:pt x="8909" y="13396"/>
                    <a:pt x="8887" y="13458"/>
                    <a:pt x="8851" y="13490"/>
                  </a:cubicBezTo>
                  <a:cubicBezTo>
                    <a:pt x="8532" y="13764"/>
                    <a:pt x="6977" y="15155"/>
                    <a:pt x="5532" y="17243"/>
                  </a:cubicBezTo>
                  <a:cubicBezTo>
                    <a:pt x="5270" y="17619"/>
                    <a:pt x="5119" y="18190"/>
                    <a:pt x="5119" y="18785"/>
                  </a:cubicBezTo>
                  <a:lnTo>
                    <a:pt x="5119" y="21600"/>
                  </a:lnTo>
                  <a:lnTo>
                    <a:pt x="16462" y="21600"/>
                  </a:lnTo>
                  <a:lnTo>
                    <a:pt x="16462" y="18785"/>
                  </a:lnTo>
                  <a:cubicBezTo>
                    <a:pt x="16462" y="18190"/>
                    <a:pt x="16311" y="17619"/>
                    <a:pt x="16050" y="17243"/>
                  </a:cubicBezTo>
                  <a:cubicBezTo>
                    <a:pt x="14605" y="15148"/>
                    <a:pt x="13049" y="13764"/>
                    <a:pt x="12730" y="13490"/>
                  </a:cubicBezTo>
                  <a:close/>
                  <a:moveTo>
                    <a:pt x="12730" y="13490"/>
                  </a:move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GB"/>
            </a:p>
          </p:txBody>
        </p:sp>
      </p:grpSp>
      <p:grpSp>
        <p:nvGrpSpPr>
          <p:cNvPr id="31790" name="Grup 107">
            <a:extLst>
              <a:ext uri="{FF2B5EF4-FFF2-40B4-BE49-F238E27FC236}">
                <a16:creationId xmlns:a16="http://schemas.microsoft.com/office/drawing/2014/main" id="{09A01133-D167-3653-0C76-0BCBCDC3EA47}"/>
              </a:ext>
            </a:extLst>
          </p:cNvPr>
          <p:cNvGrpSpPr>
            <a:grpSpLocks/>
          </p:cNvGrpSpPr>
          <p:nvPr/>
        </p:nvGrpSpPr>
        <p:grpSpPr bwMode="auto">
          <a:xfrm>
            <a:off x="3673475" y="5449888"/>
            <a:ext cx="1831975" cy="546100"/>
            <a:chOff x="6819900" y="1426914"/>
            <a:chExt cx="1831465" cy="545825"/>
          </a:xfrm>
        </p:grpSpPr>
        <p:cxnSp>
          <p:nvCxnSpPr>
            <p:cNvPr id="94" name="Straight Connector 61">
              <a:extLst>
                <a:ext uri="{FF2B5EF4-FFF2-40B4-BE49-F238E27FC236}">
                  <a16:creationId xmlns:a16="http://schemas.microsoft.com/office/drawing/2014/main" id="{6D6B0360-8264-27C0-343E-F8C9F5E7FDE0}"/>
                </a:ext>
              </a:extLst>
            </p:cNvPr>
            <p:cNvCxnSpPr/>
            <p:nvPr/>
          </p:nvCxnSpPr>
          <p:spPr>
            <a:xfrm>
              <a:off x="6819900" y="1885470"/>
              <a:ext cx="1831465" cy="476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5" name="Right Triangle 62">
              <a:extLst>
                <a:ext uri="{FF2B5EF4-FFF2-40B4-BE49-F238E27FC236}">
                  <a16:creationId xmlns:a16="http://schemas.microsoft.com/office/drawing/2014/main" id="{8BC421FC-70F2-DFC4-2931-5453C6589D09}"/>
                </a:ext>
              </a:extLst>
            </p:cNvPr>
            <p:cNvSpPr/>
            <p:nvPr/>
          </p:nvSpPr>
          <p:spPr>
            <a:xfrm rot="13500000" flipV="1">
              <a:off x="7546773" y="1802962"/>
              <a:ext cx="168228" cy="169777"/>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1801" name="AutoShape 17">
              <a:extLst>
                <a:ext uri="{FF2B5EF4-FFF2-40B4-BE49-F238E27FC236}">
                  <a16:creationId xmlns:a16="http://schemas.microsoft.com/office/drawing/2014/main" id="{D82A4EE3-F422-D913-CF8E-C21C9601CDE5}"/>
                </a:ext>
              </a:extLst>
            </p:cNvPr>
            <p:cNvSpPr>
              <a:spLocks/>
            </p:cNvSpPr>
            <p:nvPr/>
          </p:nvSpPr>
          <p:spPr bwMode="auto">
            <a:xfrm>
              <a:off x="7271259" y="1426914"/>
              <a:ext cx="719063" cy="40734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0 h 21600"/>
                <a:gd name="T12" fmla="*/ 2147483646 w 21600"/>
                <a:gd name="T13" fmla="*/ 0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0 w 21600"/>
                <a:gd name="T27" fmla="*/ 2147483646 h 21600"/>
                <a:gd name="T28" fmla="*/ 0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0 h 21600"/>
                <a:gd name="T52" fmla="*/ 2147483646 w 21600"/>
                <a:gd name="T53" fmla="*/ 0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0 h 21600"/>
                <a:gd name="T88" fmla="*/ 2147483646 w 21600"/>
                <a:gd name="T89" fmla="*/ 0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1600" h="21600">
                  <a:moveTo>
                    <a:pt x="6383" y="11316"/>
                  </a:moveTo>
                  <a:cubicBezTo>
                    <a:pt x="6352" y="11293"/>
                    <a:pt x="6334" y="11238"/>
                    <a:pt x="6334" y="11175"/>
                  </a:cubicBezTo>
                  <a:lnTo>
                    <a:pt x="6334" y="7852"/>
                  </a:lnTo>
                  <a:cubicBezTo>
                    <a:pt x="6569" y="7570"/>
                    <a:pt x="6728" y="7101"/>
                    <a:pt x="6728" y="6553"/>
                  </a:cubicBezTo>
                  <a:lnTo>
                    <a:pt x="6728" y="3104"/>
                  </a:lnTo>
                  <a:cubicBezTo>
                    <a:pt x="6728" y="1391"/>
                    <a:pt x="5939" y="0"/>
                    <a:pt x="4969" y="0"/>
                  </a:cubicBezTo>
                  <a:lnTo>
                    <a:pt x="4544" y="0"/>
                  </a:lnTo>
                  <a:cubicBezTo>
                    <a:pt x="3573" y="0"/>
                    <a:pt x="2783" y="1391"/>
                    <a:pt x="2783" y="3104"/>
                  </a:cubicBezTo>
                  <a:lnTo>
                    <a:pt x="2783" y="6553"/>
                  </a:lnTo>
                  <a:cubicBezTo>
                    <a:pt x="2783" y="7093"/>
                    <a:pt x="2938" y="7570"/>
                    <a:pt x="3178" y="7852"/>
                  </a:cubicBezTo>
                  <a:lnTo>
                    <a:pt x="3178" y="11175"/>
                  </a:lnTo>
                  <a:cubicBezTo>
                    <a:pt x="3178" y="11238"/>
                    <a:pt x="3161" y="11284"/>
                    <a:pt x="3129" y="11316"/>
                  </a:cubicBezTo>
                  <a:cubicBezTo>
                    <a:pt x="2863" y="11542"/>
                    <a:pt x="1555" y="12708"/>
                    <a:pt x="345" y="14468"/>
                  </a:cubicBezTo>
                  <a:cubicBezTo>
                    <a:pt x="128" y="14788"/>
                    <a:pt x="0" y="15257"/>
                    <a:pt x="0" y="15758"/>
                  </a:cubicBezTo>
                  <a:lnTo>
                    <a:pt x="0" y="18120"/>
                  </a:lnTo>
                  <a:lnTo>
                    <a:pt x="4300" y="18120"/>
                  </a:lnTo>
                  <a:cubicBezTo>
                    <a:pt x="4384" y="17322"/>
                    <a:pt x="4628" y="16595"/>
                    <a:pt x="4991" y="16071"/>
                  </a:cubicBezTo>
                  <a:cubicBezTo>
                    <a:pt x="6024" y="14569"/>
                    <a:pt x="7119" y="13412"/>
                    <a:pt x="7810" y="12739"/>
                  </a:cubicBezTo>
                  <a:cubicBezTo>
                    <a:pt x="7114" y="11957"/>
                    <a:pt x="6547" y="11457"/>
                    <a:pt x="6383" y="11316"/>
                  </a:cubicBezTo>
                  <a:close/>
                  <a:moveTo>
                    <a:pt x="21241" y="14468"/>
                  </a:moveTo>
                  <a:cubicBezTo>
                    <a:pt x="20030" y="12708"/>
                    <a:pt x="18723" y="11542"/>
                    <a:pt x="18457" y="11316"/>
                  </a:cubicBezTo>
                  <a:cubicBezTo>
                    <a:pt x="18426" y="11293"/>
                    <a:pt x="18408" y="11238"/>
                    <a:pt x="18408" y="11175"/>
                  </a:cubicBezTo>
                  <a:lnTo>
                    <a:pt x="18408" y="7852"/>
                  </a:lnTo>
                  <a:cubicBezTo>
                    <a:pt x="18643" y="7570"/>
                    <a:pt x="18802" y="7101"/>
                    <a:pt x="18802" y="6553"/>
                  </a:cubicBezTo>
                  <a:lnTo>
                    <a:pt x="18802" y="3104"/>
                  </a:lnTo>
                  <a:cubicBezTo>
                    <a:pt x="18802" y="1391"/>
                    <a:pt x="18014" y="0"/>
                    <a:pt x="17043" y="0"/>
                  </a:cubicBezTo>
                  <a:lnTo>
                    <a:pt x="16626" y="0"/>
                  </a:lnTo>
                  <a:cubicBezTo>
                    <a:pt x="15655" y="0"/>
                    <a:pt x="14867" y="1391"/>
                    <a:pt x="14867" y="3104"/>
                  </a:cubicBezTo>
                  <a:lnTo>
                    <a:pt x="14867" y="6553"/>
                  </a:lnTo>
                  <a:cubicBezTo>
                    <a:pt x="14867" y="7093"/>
                    <a:pt x="15022" y="7570"/>
                    <a:pt x="15261" y="7852"/>
                  </a:cubicBezTo>
                  <a:lnTo>
                    <a:pt x="15261" y="11175"/>
                  </a:lnTo>
                  <a:cubicBezTo>
                    <a:pt x="15261" y="11238"/>
                    <a:pt x="15244" y="11284"/>
                    <a:pt x="15212" y="11316"/>
                  </a:cubicBezTo>
                  <a:cubicBezTo>
                    <a:pt x="15048" y="11457"/>
                    <a:pt x="14481" y="11957"/>
                    <a:pt x="13790" y="12739"/>
                  </a:cubicBezTo>
                  <a:cubicBezTo>
                    <a:pt x="14481" y="13412"/>
                    <a:pt x="15576" y="14569"/>
                    <a:pt x="16609" y="16071"/>
                  </a:cubicBezTo>
                  <a:cubicBezTo>
                    <a:pt x="16972" y="16595"/>
                    <a:pt x="17211" y="17322"/>
                    <a:pt x="17300" y="18120"/>
                  </a:cubicBezTo>
                  <a:lnTo>
                    <a:pt x="21600" y="18120"/>
                  </a:lnTo>
                  <a:lnTo>
                    <a:pt x="21600" y="15758"/>
                  </a:lnTo>
                  <a:cubicBezTo>
                    <a:pt x="21587" y="15257"/>
                    <a:pt x="21462" y="14780"/>
                    <a:pt x="21241" y="14468"/>
                  </a:cubicBezTo>
                  <a:close/>
                  <a:moveTo>
                    <a:pt x="12730" y="13490"/>
                  </a:moveTo>
                  <a:cubicBezTo>
                    <a:pt x="12695" y="13458"/>
                    <a:pt x="12673" y="13396"/>
                    <a:pt x="12673" y="13325"/>
                  </a:cubicBezTo>
                  <a:lnTo>
                    <a:pt x="12673" y="9361"/>
                  </a:lnTo>
                  <a:cubicBezTo>
                    <a:pt x="12956" y="9025"/>
                    <a:pt x="13143" y="8462"/>
                    <a:pt x="13143" y="7820"/>
                  </a:cubicBezTo>
                  <a:lnTo>
                    <a:pt x="13143" y="3707"/>
                  </a:lnTo>
                  <a:cubicBezTo>
                    <a:pt x="13143" y="1658"/>
                    <a:pt x="12203" y="0"/>
                    <a:pt x="11042" y="0"/>
                  </a:cubicBezTo>
                  <a:lnTo>
                    <a:pt x="10540" y="0"/>
                  </a:lnTo>
                  <a:cubicBezTo>
                    <a:pt x="9379" y="0"/>
                    <a:pt x="8440" y="1658"/>
                    <a:pt x="8440" y="3707"/>
                  </a:cubicBezTo>
                  <a:lnTo>
                    <a:pt x="8440" y="7820"/>
                  </a:lnTo>
                  <a:cubicBezTo>
                    <a:pt x="8440" y="8462"/>
                    <a:pt x="8626" y="9032"/>
                    <a:pt x="8909" y="9361"/>
                  </a:cubicBezTo>
                  <a:lnTo>
                    <a:pt x="8909" y="13325"/>
                  </a:lnTo>
                  <a:cubicBezTo>
                    <a:pt x="8909" y="13396"/>
                    <a:pt x="8887" y="13458"/>
                    <a:pt x="8851" y="13490"/>
                  </a:cubicBezTo>
                  <a:cubicBezTo>
                    <a:pt x="8532" y="13764"/>
                    <a:pt x="6977" y="15155"/>
                    <a:pt x="5532" y="17243"/>
                  </a:cubicBezTo>
                  <a:cubicBezTo>
                    <a:pt x="5270" y="17619"/>
                    <a:pt x="5119" y="18190"/>
                    <a:pt x="5119" y="18785"/>
                  </a:cubicBezTo>
                  <a:lnTo>
                    <a:pt x="5119" y="21600"/>
                  </a:lnTo>
                  <a:lnTo>
                    <a:pt x="16462" y="21600"/>
                  </a:lnTo>
                  <a:lnTo>
                    <a:pt x="16462" y="18785"/>
                  </a:lnTo>
                  <a:cubicBezTo>
                    <a:pt x="16462" y="18190"/>
                    <a:pt x="16311" y="17619"/>
                    <a:pt x="16050" y="17243"/>
                  </a:cubicBezTo>
                  <a:cubicBezTo>
                    <a:pt x="14605" y="15148"/>
                    <a:pt x="13049" y="13764"/>
                    <a:pt x="12730" y="13490"/>
                  </a:cubicBezTo>
                  <a:close/>
                  <a:moveTo>
                    <a:pt x="12730" y="13490"/>
                  </a:move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GB"/>
            </a:p>
          </p:txBody>
        </p:sp>
      </p:grpSp>
      <p:sp>
        <p:nvSpPr>
          <p:cNvPr id="31791" name="Content Placeholder 2">
            <a:extLst>
              <a:ext uri="{FF2B5EF4-FFF2-40B4-BE49-F238E27FC236}">
                <a16:creationId xmlns:a16="http://schemas.microsoft.com/office/drawing/2014/main" id="{DEADB7E5-2F94-C6AE-3781-605BB5D8109C}"/>
              </a:ext>
            </a:extLst>
          </p:cNvPr>
          <p:cNvSpPr txBox="1">
            <a:spLocks noChangeArrowheads="1"/>
          </p:cNvSpPr>
          <p:nvPr/>
        </p:nvSpPr>
        <p:spPr bwMode="auto">
          <a:xfrm>
            <a:off x="485775" y="5894388"/>
            <a:ext cx="2571750" cy="90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ctr" eaLnBrk="1" hangingPunct="1">
              <a:lnSpc>
                <a:spcPct val="100000"/>
              </a:lnSpc>
              <a:spcBef>
                <a:spcPct val="0"/>
              </a:spcBef>
              <a:buFontTx/>
              <a:buNone/>
            </a:pPr>
            <a:r>
              <a:rPr lang="tr-TR" altLang="tr-TR" sz="1600" b="1">
                <a:solidFill>
                  <a:srgbClr val="404040"/>
                </a:solidFill>
                <a:latin typeface="Open Sans" panose="020B0606030504020204" pitchFamily="34" charset="0"/>
                <a:cs typeface="Open Sans" panose="020B0606030504020204" pitchFamily="34" charset="0"/>
              </a:rPr>
              <a:t>Kadrolu Değerleme Uzman Yardımcısı Sayısı</a:t>
            </a:r>
            <a:endParaRPr lang="en-US" altLang="tr-TR" sz="1600" b="1">
              <a:solidFill>
                <a:srgbClr val="262626"/>
              </a:solidFill>
              <a:latin typeface="Open Sans" panose="020B0606030504020204" pitchFamily="34" charset="0"/>
              <a:cs typeface="Open Sans" panose="020B0606030504020204" pitchFamily="34" charset="0"/>
            </a:endParaRPr>
          </a:p>
        </p:txBody>
      </p:sp>
      <p:sp>
        <p:nvSpPr>
          <p:cNvPr id="31792" name="Rectangle 46">
            <a:extLst>
              <a:ext uri="{FF2B5EF4-FFF2-40B4-BE49-F238E27FC236}">
                <a16:creationId xmlns:a16="http://schemas.microsoft.com/office/drawing/2014/main" id="{BDEB18FD-D27E-4A73-3D91-D06748D88BC6}"/>
              </a:ext>
            </a:extLst>
          </p:cNvPr>
          <p:cNvSpPr>
            <a:spLocks noChangeArrowheads="1"/>
          </p:cNvSpPr>
          <p:nvPr/>
        </p:nvSpPr>
        <p:spPr bwMode="auto">
          <a:xfrm>
            <a:off x="2370138" y="5329238"/>
            <a:ext cx="71913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just" eaLnBrk="1" hangingPunct="1">
              <a:lnSpc>
                <a:spcPct val="100000"/>
              </a:lnSpc>
              <a:spcBef>
                <a:spcPct val="0"/>
              </a:spcBef>
              <a:buClr>
                <a:srgbClr val="E24848"/>
              </a:buClr>
              <a:buFontTx/>
              <a:buNone/>
            </a:pPr>
            <a:r>
              <a:rPr lang="tr-TR" altLang="tr-TR" sz="3600" b="1" noProof="1">
                <a:latin typeface="Open Sans" panose="020B0606030504020204" pitchFamily="34" charset="0"/>
                <a:cs typeface="Open Sans" panose="020B0606030504020204" pitchFamily="34" charset="0"/>
              </a:rPr>
              <a:t>  8</a:t>
            </a:r>
          </a:p>
        </p:txBody>
      </p:sp>
      <p:grpSp>
        <p:nvGrpSpPr>
          <p:cNvPr id="31793" name="Grup 119">
            <a:extLst>
              <a:ext uri="{FF2B5EF4-FFF2-40B4-BE49-F238E27FC236}">
                <a16:creationId xmlns:a16="http://schemas.microsoft.com/office/drawing/2014/main" id="{C6D4B4D3-A49B-8483-E7EB-DE4BEAE572B2}"/>
              </a:ext>
            </a:extLst>
          </p:cNvPr>
          <p:cNvGrpSpPr>
            <a:grpSpLocks/>
          </p:cNvGrpSpPr>
          <p:nvPr/>
        </p:nvGrpSpPr>
        <p:grpSpPr bwMode="auto">
          <a:xfrm>
            <a:off x="6388100" y="5378450"/>
            <a:ext cx="1831975" cy="544513"/>
            <a:chOff x="6819900" y="1426914"/>
            <a:chExt cx="1831465" cy="545825"/>
          </a:xfrm>
        </p:grpSpPr>
        <p:cxnSp>
          <p:nvCxnSpPr>
            <p:cNvPr id="114" name="Straight Connector 61">
              <a:extLst>
                <a:ext uri="{FF2B5EF4-FFF2-40B4-BE49-F238E27FC236}">
                  <a16:creationId xmlns:a16="http://schemas.microsoft.com/office/drawing/2014/main" id="{619CC426-B4C8-C342-B6AD-73FE6398FDD8}"/>
                </a:ext>
              </a:extLst>
            </p:cNvPr>
            <p:cNvCxnSpPr/>
            <p:nvPr/>
          </p:nvCxnSpPr>
          <p:spPr>
            <a:xfrm>
              <a:off x="6819900" y="1885216"/>
              <a:ext cx="1831465" cy="4774"/>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7" name="Right Triangle 62">
              <a:extLst>
                <a:ext uri="{FF2B5EF4-FFF2-40B4-BE49-F238E27FC236}">
                  <a16:creationId xmlns:a16="http://schemas.microsoft.com/office/drawing/2014/main" id="{321B630A-E03F-F0E3-1DFA-DAE716A1EB0B}"/>
                </a:ext>
              </a:extLst>
            </p:cNvPr>
            <p:cNvSpPr/>
            <p:nvPr/>
          </p:nvSpPr>
          <p:spPr>
            <a:xfrm rot="13500000" flipV="1">
              <a:off x="7546773" y="1804059"/>
              <a:ext cx="168228" cy="16868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1798" name="AutoShape 17">
              <a:extLst>
                <a:ext uri="{FF2B5EF4-FFF2-40B4-BE49-F238E27FC236}">
                  <a16:creationId xmlns:a16="http://schemas.microsoft.com/office/drawing/2014/main" id="{D4BCD318-056E-B413-37F7-3727FD0581BD}"/>
                </a:ext>
              </a:extLst>
            </p:cNvPr>
            <p:cNvSpPr>
              <a:spLocks/>
            </p:cNvSpPr>
            <p:nvPr/>
          </p:nvSpPr>
          <p:spPr bwMode="auto">
            <a:xfrm>
              <a:off x="7271259" y="1426914"/>
              <a:ext cx="719063" cy="40734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0 h 21600"/>
                <a:gd name="T12" fmla="*/ 2147483646 w 21600"/>
                <a:gd name="T13" fmla="*/ 0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0 w 21600"/>
                <a:gd name="T27" fmla="*/ 2147483646 h 21600"/>
                <a:gd name="T28" fmla="*/ 0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0 h 21600"/>
                <a:gd name="T52" fmla="*/ 2147483646 w 21600"/>
                <a:gd name="T53" fmla="*/ 0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0 h 21600"/>
                <a:gd name="T88" fmla="*/ 2147483646 w 21600"/>
                <a:gd name="T89" fmla="*/ 0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1600" h="21600">
                  <a:moveTo>
                    <a:pt x="6383" y="11316"/>
                  </a:moveTo>
                  <a:cubicBezTo>
                    <a:pt x="6352" y="11293"/>
                    <a:pt x="6334" y="11238"/>
                    <a:pt x="6334" y="11175"/>
                  </a:cubicBezTo>
                  <a:lnTo>
                    <a:pt x="6334" y="7852"/>
                  </a:lnTo>
                  <a:cubicBezTo>
                    <a:pt x="6569" y="7570"/>
                    <a:pt x="6728" y="7101"/>
                    <a:pt x="6728" y="6553"/>
                  </a:cubicBezTo>
                  <a:lnTo>
                    <a:pt x="6728" y="3104"/>
                  </a:lnTo>
                  <a:cubicBezTo>
                    <a:pt x="6728" y="1391"/>
                    <a:pt x="5939" y="0"/>
                    <a:pt x="4969" y="0"/>
                  </a:cubicBezTo>
                  <a:lnTo>
                    <a:pt x="4544" y="0"/>
                  </a:lnTo>
                  <a:cubicBezTo>
                    <a:pt x="3573" y="0"/>
                    <a:pt x="2783" y="1391"/>
                    <a:pt x="2783" y="3104"/>
                  </a:cubicBezTo>
                  <a:lnTo>
                    <a:pt x="2783" y="6553"/>
                  </a:lnTo>
                  <a:cubicBezTo>
                    <a:pt x="2783" y="7093"/>
                    <a:pt x="2938" y="7570"/>
                    <a:pt x="3178" y="7852"/>
                  </a:cubicBezTo>
                  <a:lnTo>
                    <a:pt x="3178" y="11175"/>
                  </a:lnTo>
                  <a:cubicBezTo>
                    <a:pt x="3178" y="11238"/>
                    <a:pt x="3161" y="11284"/>
                    <a:pt x="3129" y="11316"/>
                  </a:cubicBezTo>
                  <a:cubicBezTo>
                    <a:pt x="2863" y="11542"/>
                    <a:pt x="1555" y="12708"/>
                    <a:pt x="345" y="14468"/>
                  </a:cubicBezTo>
                  <a:cubicBezTo>
                    <a:pt x="128" y="14788"/>
                    <a:pt x="0" y="15257"/>
                    <a:pt x="0" y="15758"/>
                  </a:cubicBezTo>
                  <a:lnTo>
                    <a:pt x="0" y="18120"/>
                  </a:lnTo>
                  <a:lnTo>
                    <a:pt x="4300" y="18120"/>
                  </a:lnTo>
                  <a:cubicBezTo>
                    <a:pt x="4384" y="17322"/>
                    <a:pt x="4628" y="16595"/>
                    <a:pt x="4991" y="16071"/>
                  </a:cubicBezTo>
                  <a:cubicBezTo>
                    <a:pt x="6024" y="14569"/>
                    <a:pt x="7119" y="13412"/>
                    <a:pt x="7810" y="12739"/>
                  </a:cubicBezTo>
                  <a:cubicBezTo>
                    <a:pt x="7114" y="11957"/>
                    <a:pt x="6547" y="11457"/>
                    <a:pt x="6383" y="11316"/>
                  </a:cubicBezTo>
                  <a:close/>
                  <a:moveTo>
                    <a:pt x="21241" y="14468"/>
                  </a:moveTo>
                  <a:cubicBezTo>
                    <a:pt x="20030" y="12708"/>
                    <a:pt x="18723" y="11542"/>
                    <a:pt x="18457" y="11316"/>
                  </a:cubicBezTo>
                  <a:cubicBezTo>
                    <a:pt x="18426" y="11293"/>
                    <a:pt x="18408" y="11238"/>
                    <a:pt x="18408" y="11175"/>
                  </a:cubicBezTo>
                  <a:lnTo>
                    <a:pt x="18408" y="7852"/>
                  </a:lnTo>
                  <a:cubicBezTo>
                    <a:pt x="18643" y="7570"/>
                    <a:pt x="18802" y="7101"/>
                    <a:pt x="18802" y="6553"/>
                  </a:cubicBezTo>
                  <a:lnTo>
                    <a:pt x="18802" y="3104"/>
                  </a:lnTo>
                  <a:cubicBezTo>
                    <a:pt x="18802" y="1391"/>
                    <a:pt x="18014" y="0"/>
                    <a:pt x="17043" y="0"/>
                  </a:cubicBezTo>
                  <a:lnTo>
                    <a:pt x="16626" y="0"/>
                  </a:lnTo>
                  <a:cubicBezTo>
                    <a:pt x="15655" y="0"/>
                    <a:pt x="14867" y="1391"/>
                    <a:pt x="14867" y="3104"/>
                  </a:cubicBezTo>
                  <a:lnTo>
                    <a:pt x="14867" y="6553"/>
                  </a:lnTo>
                  <a:cubicBezTo>
                    <a:pt x="14867" y="7093"/>
                    <a:pt x="15022" y="7570"/>
                    <a:pt x="15261" y="7852"/>
                  </a:cubicBezTo>
                  <a:lnTo>
                    <a:pt x="15261" y="11175"/>
                  </a:lnTo>
                  <a:cubicBezTo>
                    <a:pt x="15261" y="11238"/>
                    <a:pt x="15244" y="11284"/>
                    <a:pt x="15212" y="11316"/>
                  </a:cubicBezTo>
                  <a:cubicBezTo>
                    <a:pt x="15048" y="11457"/>
                    <a:pt x="14481" y="11957"/>
                    <a:pt x="13790" y="12739"/>
                  </a:cubicBezTo>
                  <a:cubicBezTo>
                    <a:pt x="14481" y="13412"/>
                    <a:pt x="15576" y="14569"/>
                    <a:pt x="16609" y="16071"/>
                  </a:cubicBezTo>
                  <a:cubicBezTo>
                    <a:pt x="16972" y="16595"/>
                    <a:pt x="17211" y="17322"/>
                    <a:pt x="17300" y="18120"/>
                  </a:cubicBezTo>
                  <a:lnTo>
                    <a:pt x="21600" y="18120"/>
                  </a:lnTo>
                  <a:lnTo>
                    <a:pt x="21600" y="15758"/>
                  </a:lnTo>
                  <a:cubicBezTo>
                    <a:pt x="21587" y="15257"/>
                    <a:pt x="21462" y="14780"/>
                    <a:pt x="21241" y="14468"/>
                  </a:cubicBezTo>
                  <a:close/>
                  <a:moveTo>
                    <a:pt x="12730" y="13490"/>
                  </a:moveTo>
                  <a:cubicBezTo>
                    <a:pt x="12695" y="13458"/>
                    <a:pt x="12673" y="13396"/>
                    <a:pt x="12673" y="13325"/>
                  </a:cubicBezTo>
                  <a:lnTo>
                    <a:pt x="12673" y="9361"/>
                  </a:lnTo>
                  <a:cubicBezTo>
                    <a:pt x="12956" y="9025"/>
                    <a:pt x="13143" y="8462"/>
                    <a:pt x="13143" y="7820"/>
                  </a:cubicBezTo>
                  <a:lnTo>
                    <a:pt x="13143" y="3707"/>
                  </a:lnTo>
                  <a:cubicBezTo>
                    <a:pt x="13143" y="1658"/>
                    <a:pt x="12203" y="0"/>
                    <a:pt x="11042" y="0"/>
                  </a:cubicBezTo>
                  <a:lnTo>
                    <a:pt x="10540" y="0"/>
                  </a:lnTo>
                  <a:cubicBezTo>
                    <a:pt x="9379" y="0"/>
                    <a:pt x="8440" y="1658"/>
                    <a:pt x="8440" y="3707"/>
                  </a:cubicBezTo>
                  <a:lnTo>
                    <a:pt x="8440" y="7820"/>
                  </a:lnTo>
                  <a:cubicBezTo>
                    <a:pt x="8440" y="8462"/>
                    <a:pt x="8626" y="9032"/>
                    <a:pt x="8909" y="9361"/>
                  </a:cubicBezTo>
                  <a:lnTo>
                    <a:pt x="8909" y="13325"/>
                  </a:lnTo>
                  <a:cubicBezTo>
                    <a:pt x="8909" y="13396"/>
                    <a:pt x="8887" y="13458"/>
                    <a:pt x="8851" y="13490"/>
                  </a:cubicBezTo>
                  <a:cubicBezTo>
                    <a:pt x="8532" y="13764"/>
                    <a:pt x="6977" y="15155"/>
                    <a:pt x="5532" y="17243"/>
                  </a:cubicBezTo>
                  <a:cubicBezTo>
                    <a:pt x="5270" y="17619"/>
                    <a:pt x="5119" y="18190"/>
                    <a:pt x="5119" y="18785"/>
                  </a:cubicBezTo>
                  <a:lnTo>
                    <a:pt x="5119" y="21600"/>
                  </a:lnTo>
                  <a:lnTo>
                    <a:pt x="16462" y="21600"/>
                  </a:lnTo>
                  <a:lnTo>
                    <a:pt x="16462" y="18785"/>
                  </a:lnTo>
                  <a:cubicBezTo>
                    <a:pt x="16462" y="18190"/>
                    <a:pt x="16311" y="17619"/>
                    <a:pt x="16050" y="17243"/>
                  </a:cubicBezTo>
                  <a:cubicBezTo>
                    <a:pt x="14605" y="15148"/>
                    <a:pt x="13049" y="13764"/>
                    <a:pt x="12730" y="13490"/>
                  </a:cubicBezTo>
                  <a:close/>
                  <a:moveTo>
                    <a:pt x="12730" y="13490"/>
                  </a:move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GB"/>
            </a:p>
          </p:txBody>
        </p:sp>
      </p:grpSp>
      <p:sp>
        <p:nvSpPr>
          <p:cNvPr id="31794" name="Content Placeholder 2">
            <a:extLst>
              <a:ext uri="{FF2B5EF4-FFF2-40B4-BE49-F238E27FC236}">
                <a16:creationId xmlns:a16="http://schemas.microsoft.com/office/drawing/2014/main" id="{648FB1D9-AD81-A0D5-CF53-5E75DAE79B08}"/>
              </a:ext>
            </a:extLst>
          </p:cNvPr>
          <p:cNvSpPr txBox="1">
            <a:spLocks noChangeArrowheads="1"/>
          </p:cNvSpPr>
          <p:nvPr/>
        </p:nvSpPr>
        <p:spPr bwMode="auto">
          <a:xfrm>
            <a:off x="8978900" y="4403725"/>
            <a:ext cx="2663825"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ctr" eaLnBrk="1" hangingPunct="1">
              <a:lnSpc>
                <a:spcPct val="100000"/>
              </a:lnSpc>
              <a:spcBef>
                <a:spcPct val="0"/>
              </a:spcBef>
              <a:buFontTx/>
              <a:buNone/>
            </a:pPr>
            <a:r>
              <a:rPr lang="tr-TR" altLang="tr-TR" sz="1600" b="1">
                <a:solidFill>
                  <a:srgbClr val="404040"/>
                </a:solidFill>
                <a:latin typeface="Open Sans" panose="020B0606030504020204" pitchFamily="34" charset="0"/>
                <a:cs typeface="Open Sans" panose="020B0606030504020204" pitchFamily="34" charset="0"/>
              </a:rPr>
              <a:t>Kadrolu Değerleme Uzmanı ile Hizmet Verilen İl Sayısı</a:t>
            </a:r>
            <a:endParaRPr lang="en-US" altLang="tr-TR" sz="1600" b="1">
              <a:solidFill>
                <a:srgbClr val="262626"/>
              </a:solidFill>
              <a:latin typeface="Open Sans" panose="020B0606030504020204" pitchFamily="34" charset="0"/>
              <a:cs typeface="Open Sans" panose="020B0606030504020204" pitchFamily="34" charset="0"/>
            </a:endParaRPr>
          </a:p>
        </p:txBody>
      </p:sp>
      <p:sp>
        <p:nvSpPr>
          <p:cNvPr id="31795" name="Rectangle 46">
            <a:extLst>
              <a:ext uri="{FF2B5EF4-FFF2-40B4-BE49-F238E27FC236}">
                <a16:creationId xmlns:a16="http://schemas.microsoft.com/office/drawing/2014/main" id="{B28B18B5-D375-B3C1-BC3B-6BD3575D5C9A}"/>
              </a:ext>
            </a:extLst>
          </p:cNvPr>
          <p:cNvSpPr>
            <a:spLocks noChangeArrowheads="1"/>
          </p:cNvSpPr>
          <p:nvPr/>
        </p:nvSpPr>
        <p:spPr bwMode="auto">
          <a:xfrm>
            <a:off x="10628313" y="3751263"/>
            <a:ext cx="76200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just" eaLnBrk="1" hangingPunct="1">
              <a:lnSpc>
                <a:spcPct val="100000"/>
              </a:lnSpc>
              <a:spcBef>
                <a:spcPct val="0"/>
              </a:spcBef>
              <a:buClr>
                <a:srgbClr val="E24848"/>
              </a:buClr>
              <a:buFontTx/>
              <a:buNone/>
            </a:pPr>
            <a:r>
              <a:rPr lang="tr-TR" altLang="tr-TR" sz="3600" b="1" noProof="1">
                <a:latin typeface="Open Sans"/>
                <a:ea typeface="Open Sans"/>
                <a:cs typeface="Open Sans"/>
              </a:rPr>
              <a:t>42</a:t>
            </a:r>
            <a:endParaRPr lang="tr-TR" altLang="tr-TR" sz="3600" b="1" noProof="1">
              <a:latin typeface="Open Sans" panose="020B0606030504020204" pitchFamily="34" charset="0"/>
              <a:cs typeface="Open Sans" panose="020B0606030504020204" pitchFamily="34" charset="0"/>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ayt Numarası Yer Tutucusu 1">
            <a:extLst>
              <a:ext uri="{FF2B5EF4-FFF2-40B4-BE49-F238E27FC236}">
                <a16:creationId xmlns:a16="http://schemas.microsoft.com/office/drawing/2014/main" id="{7F4401B3-359C-554B-EF84-1EF54319DFD9}"/>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nSpc>
                <a:spcPct val="100000"/>
              </a:lnSpc>
              <a:spcBef>
                <a:spcPct val="0"/>
              </a:spcBef>
              <a:buFontTx/>
              <a:buNone/>
            </a:pPr>
            <a:fld id="{78D621D6-2C1D-4420-983C-043D8145F246}" type="slidenum">
              <a:rPr lang="en-US" altLang="tr-TR" sz="1200" smtClean="0">
                <a:solidFill>
                  <a:srgbClr val="898989"/>
                </a:solidFill>
              </a:rPr>
              <a:pPr>
                <a:lnSpc>
                  <a:spcPct val="100000"/>
                </a:lnSpc>
                <a:spcBef>
                  <a:spcPct val="0"/>
                </a:spcBef>
                <a:buFontTx/>
                <a:buNone/>
              </a:pPr>
              <a:t>11</a:t>
            </a:fld>
            <a:endParaRPr lang="en-US" altLang="tr-TR" sz="1200">
              <a:solidFill>
                <a:srgbClr val="898989"/>
              </a:solidFill>
            </a:endParaRPr>
          </a:p>
        </p:txBody>
      </p:sp>
      <p:grpSp>
        <p:nvGrpSpPr>
          <p:cNvPr id="33795" name="Group 307">
            <a:extLst>
              <a:ext uri="{FF2B5EF4-FFF2-40B4-BE49-F238E27FC236}">
                <a16:creationId xmlns:a16="http://schemas.microsoft.com/office/drawing/2014/main" id="{87D62AB7-C0B2-4ACD-4119-BDA68C604544}"/>
              </a:ext>
            </a:extLst>
          </p:cNvPr>
          <p:cNvGrpSpPr>
            <a:grpSpLocks/>
          </p:cNvGrpSpPr>
          <p:nvPr/>
        </p:nvGrpSpPr>
        <p:grpSpPr bwMode="auto">
          <a:xfrm>
            <a:off x="-3175" y="6743700"/>
            <a:ext cx="12195175" cy="114300"/>
            <a:chOff x="-3175" y="4762500"/>
            <a:chExt cx="12195174" cy="2092323"/>
          </a:xfrm>
        </p:grpSpPr>
        <p:sp>
          <p:nvSpPr>
            <p:cNvPr id="5" name="Rectangle 308">
              <a:extLst>
                <a:ext uri="{FF2B5EF4-FFF2-40B4-BE49-F238E27FC236}">
                  <a16:creationId xmlns:a16="http://schemas.microsoft.com/office/drawing/2014/main" id="{71B4F372-4C06-3828-8ABD-145950D2669F}"/>
                </a:ext>
              </a:extLst>
            </p:cNvPr>
            <p:cNvSpPr/>
            <p:nvPr/>
          </p:nvSpPr>
          <p:spPr>
            <a:xfrm>
              <a:off x="-3175" y="4762500"/>
              <a:ext cx="2032000" cy="2092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309">
              <a:extLst>
                <a:ext uri="{FF2B5EF4-FFF2-40B4-BE49-F238E27FC236}">
                  <a16:creationId xmlns:a16="http://schemas.microsoft.com/office/drawing/2014/main" id="{B224E85B-8276-0933-988C-81B9061BA7F3}"/>
                </a:ext>
              </a:extLst>
            </p:cNvPr>
            <p:cNvSpPr/>
            <p:nvPr/>
          </p:nvSpPr>
          <p:spPr>
            <a:xfrm>
              <a:off x="2027238" y="4762500"/>
              <a:ext cx="2032000" cy="2092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Rectangle 310">
              <a:extLst>
                <a:ext uri="{FF2B5EF4-FFF2-40B4-BE49-F238E27FC236}">
                  <a16:creationId xmlns:a16="http://schemas.microsoft.com/office/drawing/2014/main" id="{5EE0441F-DBAB-888E-7B2A-1CB91CCD507C}"/>
                </a:ext>
              </a:extLst>
            </p:cNvPr>
            <p:cNvSpPr/>
            <p:nvPr/>
          </p:nvSpPr>
          <p:spPr>
            <a:xfrm>
              <a:off x="4059238" y="4762500"/>
              <a:ext cx="2032000" cy="2092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Rectangle 311">
              <a:extLst>
                <a:ext uri="{FF2B5EF4-FFF2-40B4-BE49-F238E27FC236}">
                  <a16:creationId xmlns:a16="http://schemas.microsoft.com/office/drawing/2014/main" id="{DE2CEB4D-260D-7EE1-9A57-7306E52ABE8D}"/>
                </a:ext>
              </a:extLst>
            </p:cNvPr>
            <p:cNvSpPr/>
            <p:nvPr/>
          </p:nvSpPr>
          <p:spPr>
            <a:xfrm>
              <a:off x="6089650" y="4762500"/>
              <a:ext cx="2032000" cy="2092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 name="Rectangle 312">
              <a:extLst>
                <a:ext uri="{FF2B5EF4-FFF2-40B4-BE49-F238E27FC236}">
                  <a16:creationId xmlns:a16="http://schemas.microsoft.com/office/drawing/2014/main" id="{1532D686-0045-0D68-CF14-83761F572D1D}"/>
                </a:ext>
              </a:extLst>
            </p:cNvPr>
            <p:cNvSpPr/>
            <p:nvPr/>
          </p:nvSpPr>
          <p:spPr>
            <a:xfrm>
              <a:off x="8118474" y="4762500"/>
              <a:ext cx="2032000" cy="2092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0" name="Rectangle 313">
              <a:extLst>
                <a:ext uri="{FF2B5EF4-FFF2-40B4-BE49-F238E27FC236}">
                  <a16:creationId xmlns:a16="http://schemas.microsoft.com/office/drawing/2014/main" id="{1968E6CE-0BEC-9A64-C181-25462886402E}"/>
                </a:ext>
              </a:extLst>
            </p:cNvPr>
            <p:cNvSpPr/>
            <p:nvPr/>
          </p:nvSpPr>
          <p:spPr>
            <a:xfrm>
              <a:off x="10148887" y="4762500"/>
              <a:ext cx="2043112" cy="20923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cxnSp>
        <p:nvCxnSpPr>
          <p:cNvPr id="11" name="Straight Connector 6">
            <a:extLst>
              <a:ext uri="{FF2B5EF4-FFF2-40B4-BE49-F238E27FC236}">
                <a16:creationId xmlns:a16="http://schemas.microsoft.com/office/drawing/2014/main" id="{45066B2F-7461-14FC-4E2F-70CC72449344}"/>
              </a:ext>
            </a:extLst>
          </p:cNvPr>
          <p:cNvCxnSpPr/>
          <p:nvPr/>
        </p:nvCxnSpPr>
        <p:spPr>
          <a:xfrm>
            <a:off x="11113" y="685800"/>
            <a:ext cx="124301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İçerik Yer Tutucusu 2">
            <a:extLst>
              <a:ext uri="{FF2B5EF4-FFF2-40B4-BE49-F238E27FC236}">
                <a16:creationId xmlns:a16="http://schemas.microsoft.com/office/drawing/2014/main" id="{FA9B5916-2331-EB6F-756E-D35B5325242D}"/>
              </a:ext>
            </a:extLst>
          </p:cNvPr>
          <p:cNvSpPr txBox="1">
            <a:spLocks/>
          </p:cNvSpPr>
          <p:nvPr/>
        </p:nvSpPr>
        <p:spPr>
          <a:xfrm>
            <a:off x="519113" y="107950"/>
            <a:ext cx="3976687" cy="51752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 typeface="Arial" panose="020B0604020202020204" pitchFamily="34" charset="0"/>
              <a:buNone/>
              <a:defRPr/>
            </a:pPr>
            <a:r>
              <a:rPr lang="tr-TR" b="1">
                <a:solidFill>
                  <a:schemeClr val="accent4">
                    <a:lumMod val="75000"/>
                  </a:schemeClr>
                </a:solidFill>
                <a:latin typeface="Open Sans" panose="020B0606030504020204" pitchFamily="34" charset="0"/>
                <a:ea typeface="Open Sans" panose="020B0606030504020204" pitchFamily="34" charset="0"/>
                <a:cs typeface="Open Sans" panose="020B0606030504020204" pitchFamily="34" charset="0"/>
              </a:rPr>
              <a:t>Sertifikalar</a:t>
            </a:r>
            <a:endParaRPr lang="tr-TR">
              <a:solidFill>
                <a:schemeClr val="accent4">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7">
            <a:extLst>
              <a:ext uri="{FF2B5EF4-FFF2-40B4-BE49-F238E27FC236}">
                <a16:creationId xmlns:a16="http://schemas.microsoft.com/office/drawing/2014/main" id="{0C102CB7-5216-04F2-9CDF-89BFF50FA68A}"/>
              </a:ext>
            </a:extLst>
          </p:cNvPr>
          <p:cNvSpPr/>
          <p:nvPr/>
        </p:nvSpPr>
        <p:spPr>
          <a:xfrm>
            <a:off x="684213" y="671513"/>
            <a:ext cx="623887" cy="2698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4" name="İçerik Yer Tutucusu 2">
            <a:extLst>
              <a:ext uri="{FF2B5EF4-FFF2-40B4-BE49-F238E27FC236}">
                <a16:creationId xmlns:a16="http://schemas.microsoft.com/office/drawing/2014/main" id="{29F2FF1F-D749-3801-591A-324AF152B9DC}"/>
              </a:ext>
            </a:extLst>
          </p:cNvPr>
          <p:cNvSpPr txBox="1">
            <a:spLocks/>
          </p:cNvSpPr>
          <p:nvPr/>
        </p:nvSpPr>
        <p:spPr>
          <a:xfrm>
            <a:off x="3340100" y="639763"/>
            <a:ext cx="7913688" cy="91757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 typeface="Arial" panose="020B0604020202020204" pitchFamily="34" charset="0"/>
              <a:buNone/>
              <a:defRPr/>
            </a:pPr>
            <a:r>
              <a:rPr lang="tr-TR" sz="1800" b="1" dirty="0">
                <a:ea typeface="Lato Light" panose="020F0502020204030203" pitchFamily="34" charset="0"/>
                <a:cs typeface="Lato Light" panose="020F0502020204030203" pitchFamily="34" charset="0"/>
              </a:rPr>
              <a:t>RICS Belgesi </a:t>
            </a:r>
          </a:p>
          <a:p>
            <a:pPr marL="0" indent="0" fontAlgn="auto">
              <a:spcAft>
                <a:spcPts val="0"/>
              </a:spcAft>
              <a:buFont typeface="Arial" panose="020B0604020202020204" pitchFamily="34" charset="0"/>
              <a:buNone/>
              <a:defRPr/>
            </a:pPr>
            <a:r>
              <a:rPr lang="tr-TR" sz="1800" b="1" dirty="0">
                <a:ea typeface="Lato Light" panose="020F0502020204030203" pitchFamily="34" charset="0"/>
                <a:cs typeface="Lato Light" panose="020F0502020204030203" pitchFamily="34" charset="0"/>
              </a:rPr>
              <a:t>(</a:t>
            </a:r>
            <a:r>
              <a:rPr lang="tr-TR" sz="1800" b="1" dirty="0" err="1">
                <a:ea typeface="Lato Light" panose="020F0502020204030203" pitchFamily="34" charset="0"/>
                <a:cs typeface="Lato Light" panose="020F0502020204030203" pitchFamily="34" charset="0"/>
              </a:rPr>
              <a:t>Royal</a:t>
            </a:r>
            <a:r>
              <a:rPr lang="tr-TR" sz="1800" b="1" dirty="0">
                <a:ea typeface="Lato Light" panose="020F0502020204030203" pitchFamily="34" charset="0"/>
                <a:cs typeface="Lato Light" panose="020F0502020204030203" pitchFamily="34" charset="0"/>
              </a:rPr>
              <a:t> </a:t>
            </a:r>
            <a:r>
              <a:rPr lang="tr-TR" sz="1800" b="1" dirty="0" err="1">
                <a:ea typeface="Lato Light" panose="020F0502020204030203" pitchFamily="34" charset="0"/>
                <a:cs typeface="Lato Light" panose="020F0502020204030203" pitchFamily="34" charset="0"/>
              </a:rPr>
              <a:t>Institution</a:t>
            </a:r>
            <a:r>
              <a:rPr lang="tr-TR" sz="1800" b="1" dirty="0">
                <a:ea typeface="Lato Light" panose="020F0502020204030203" pitchFamily="34" charset="0"/>
                <a:cs typeface="Lato Light" panose="020F0502020204030203" pitchFamily="34" charset="0"/>
              </a:rPr>
              <a:t> of </a:t>
            </a:r>
            <a:r>
              <a:rPr lang="tr-TR" sz="1800" b="1" dirty="0" err="1">
                <a:ea typeface="Lato Light" panose="020F0502020204030203" pitchFamily="34" charset="0"/>
                <a:cs typeface="Lato Light" panose="020F0502020204030203" pitchFamily="34" charset="0"/>
              </a:rPr>
              <a:t>Chartered</a:t>
            </a:r>
            <a:r>
              <a:rPr lang="tr-TR" sz="1800" b="1" dirty="0">
                <a:ea typeface="Lato Light" panose="020F0502020204030203" pitchFamily="34" charset="0"/>
                <a:cs typeface="Lato Light" panose="020F0502020204030203" pitchFamily="34" charset="0"/>
              </a:rPr>
              <a:t> </a:t>
            </a:r>
            <a:r>
              <a:rPr lang="tr-TR" sz="1800" b="1" dirty="0" err="1">
                <a:ea typeface="Lato Light" panose="020F0502020204030203" pitchFamily="34" charset="0"/>
                <a:cs typeface="Lato Light" panose="020F0502020204030203" pitchFamily="34" charset="0"/>
              </a:rPr>
              <a:t>Surveyors</a:t>
            </a:r>
            <a:r>
              <a:rPr lang="tr-TR" sz="1800" b="1" dirty="0">
                <a:ea typeface="Lato Light" panose="020F0502020204030203" pitchFamily="34" charset="0"/>
                <a:cs typeface="Lato Light" panose="020F0502020204030203" pitchFamily="34" charset="0"/>
              </a:rPr>
              <a:t>: Yeminli Uzmanlar Kraliyet Enstitüsü) </a:t>
            </a:r>
            <a:endParaRPr lang="tr-TR" sz="1800" b="1" dirty="0">
              <a:solidFill>
                <a:schemeClr val="bg2">
                  <a:lumMod val="10000"/>
                </a:schemeClr>
              </a:solidFill>
              <a:ea typeface="Lato Light" panose="020F0502020204030203" pitchFamily="34" charset="0"/>
              <a:cs typeface="Lato Light" panose="020F0502020204030203" pitchFamily="34" charset="0"/>
            </a:endParaRPr>
          </a:p>
        </p:txBody>
      </p:sp>
      <p:pic>
        <p:nvPicPr>
          <p:cNvPr id="33800" name="Picture 2" descr="Değerlemede RICS Farkı | NET Kurumsal Değerleme">
            <a:extLst>
              <a:ext uri="{FF2B5EF4-FFF2-40B4-BE49-F238E27FC236}">
                <a16:creationId xmlns:a16="http://schemas.microsoft.com/office/drawing/2014/main" id="{487D1894-A3CA-485E-1E45-0C989216C2A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30338" y="650875"/>
            <a:ext cx="1789112" cy="919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İçerik Yer Tutucusu 2">
            <a:extLst>
              <a:ext uri="{FF2B5EF4-FFF2-40B4-BE49-F238E27FC236}">
                <a16:creationId xmlns:a16="http://schemas.microsoft.com/office/drawing/2014/main" id="{BBDEDCED-A532-81A4-BE64-D169CD930204}"/>
              </a:ext>
            </a:extLst>
          </p:cNvPr>
          <p:cNvSpPr txBox="1">
            <a:spLocks/>
          </p:cNvSpPr>
          <p:nvPr/>
        </p:nvSpPr>
        <p:spPr>
          <a:xfrm>
            <a:off x="1266825" y="1698625"/>
            <a:ext cx="9872663" cy="1104900"/>
          </a:xfrm>
          <a:prstGeom prst="rect">
            <a:avLst/>
          </a:prstGeom>
        </p:spPr>
        <p:txBody>
          <a:bodyPr>
            <a:norm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just" eaLnBrk="1" hangingPunct="1">
              <a:lnSpc>
                <a:spcPct val="70000"/>
              </a:lnSpc>
              <a:buFont typeface="Arial" panose="020B0604020202020204" pitchFamily="34" charset="0"/>
              <a:buNone/>
            </a:pPr>
            <a:r>
              <a:rPr lang="tr-TR" altLang="en-US" sz="1500">
                <a:latin typeface="Calibri" panose="020F0502020204030204" pitchFamily="34" charset="0"/>
                <a:ea typeface="Calibri" panose="020F0502020204030204" pitchFamily="34" charset="0"/>
                <a:cs typeface="Times New Roman" panose="02020603050405020304" pitchFamily="18" charset="0"/>
              </a:rPr>
              <a:t>RICS (The Royal Institution of Chartered Surveyors), merkezi Londra'da bulunan, 1868 yılında İngiltere'de kurulmuş, Dünya çapında tanınan ve en geniş ağa sahip, mamur çevre, inşaat, arsa/arazi ve gayrimenkul alanlarında faaliyet gösteren bir meslek örgütüdür. Yaklaşık 150 ülkede, 134.000'den fazla üyesi bulunan, Taşınmaz Değerleme sektöründeki en saygın kuruluştur. Uluslararası Değerleme Standartları çerçevesinde hazırlanan, içerisinde taşınmaz ve makine değerlemesinin de bulunduğu 22 farklı uzmanlık alanında en yüksek seviyede etik ve profesyonel standartları teşvik etmeyi ve uygulamayı amaçlar.  </a:t>
            </a:r>
            <a:endParaRPr lang="tr-TR" altLang="en-US" sz="900" b="1">
              <a:solidFill>
                <a:srgbClr val="181717"/>
              </a:solidFill>
              <a:ea typeface="Calibri" panose="020F0502020204030204" pitchFamily="34" charset="0"/>
              <a:cs typeface="Times New Roman" panose="02020603050405020304" pitchFamily="18" charset="0"/>
            </a:endParaRPr>
          </a:p>
        </p:txBody>
      </p:sp>
      <p:sp>
        <p:nvSpPr>
          <p:cNvPr id="33802" name="İçerik Yer Tutucusu 2">
            <a:extLst>
              <a:ext uri="{FF2B5EF4-FFF2-40B4-BE49-F238E27FC236}">
                <a16:creationId xmlns:a16="http://schemas.microsoft.com/office/drawing/2014/main" id="{F869CCBF-89FA-60DD-4571-1B6BD133C2A5}"/>
              </a:ext>
            </a:extLst>
          </p:cNvPr>
          <p:cNvSpPr txBox="1">
            <a:spLocks noChangeArrowheads="1"/>
          </p:cNvSpPr>
          <p:nvPr/>
        </p:nvSpPr>
        <p:spPr bwMode="auto">
          <a:xfrm>
            <a:off x="1266825" y="2803525"/>
            <a:ext cx="9874250" cy="2576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just" eaLnBrk="1" hangingPunct="1">
              <a:buFont typeface="Arial" panose="020B0604020202020204" pitchFamily="34" charset="0"/>
              <a:buNone/>
            </a:pPr>
            <a:r>
              <a:rPr lang="tr-TR" altLang="tr-TR" sz="1800" dirty="0">
                <a:latin typeface="Calibri" panose="020F0502020204030204" pitchFamily="34" charset="0"/>
                <a:cs typeface="Calibri" panose="020F0502020204030204" pitchFamily="34" charset="0"/>
              </a:rPr>
              <a:t>27 Haziran 2022 itibariyle şirketimiz kadrosunda bulunan 3 kişiyle, </a:t>
            </a:r>
            <a:r>
              <a:rPr lang="tr-TR" altLang="tr-TR" sz="1800" b="1" dirty="0">
                <a:latin typeface="Calibri" panose="020F0502020204030204" pitchFamily="34" charset="0"/>
                <a:cs typeface="Calibri" panose="020F0502020204030204" pitchFamily="34" charset="0"/>
              </a:rPr>
              <a:t>RICS </a:t>
            </a:r>
            <a:r>
              <a:rPr lang="tr-TR" altLang="tr-TR" sz="1800" dirty="0">
                <a:latin typeface="Calibri" panose="020F0502020204030204" pitchFamily="34" charset="0"/>
                <a:cs typeface="Calibri" panose="020F0502020204030204" pitchFamily="34" charset="0"/>
              </a:rPr>
              <a:t>tarafından verilen yetki sertifikasına sahip olmuştur.  An itibariyle şirketimizin 6 personelimiz ile sertifikamız süresi devam etmektedir.</a:t>
            </a:r>
          </a:p>
          <a:p>
            <a:pPr algn="just" eaLnBrk="1" hangingPunct="1">
              <a:buFont typeface="Arial" panose="020B0604020202020204" pitchFamily="34" charset="0"/>
              <a:buNone/>
            </a:pPr>
            <a:r>
              <a:rPr lang="tr-TR" altLang="tr-TR" sz="1800" dirty="0">
                <a:latin typeface="Calibri" panose="020F0502020204030204" pitchFamily="34" charset="0"/>
                <a:cs typeface="Calibri" panose="020F0502020204030204" pitchFamily="34" charset="0"/>
              </a:rPr>
              <a:t>Vizyon firmasını daha da ileriye götürecek ve uluslararası alanda değerleme standartlarına uygun değerleme hizmeti vermek amacıyla şirket olarak </a:t>
            </a:r>
            <a:r>
              <a:rPr lang="tr-TR" altLang="tr-TR" sz="1800" dirty="0">
                <a:latin typeface="Calibri" panose="020F0502020204030204" pitchFamily="34" charset="0"/>
                <a:ea typeface="Calibri" panose="020F0502020204030204" pitchFamily="34" charset="0"/>
                <a:cs typeface="Times New Roman" panose="02020603050405020304" pitchFamily="18" charset="0"/>
              </a:rPr>
              <a:t>RICS </a:t>
            </a:r>
            <a:r>
              <a:rPr lang="tr-TR" altLang="tr-TR" sz="1800" dirty="0" err="1">
                <a:latin typeface="Calibri" panose="020F0502020204030204" pitchFamily="34" charset="0"/>
                <a:ea typeface="Calibri" panose="020F0502020204030204" pitchFamily="34" charset="0"/>
                <a:cs typeface="Times New Roman" panose="02020603050405020304" pitchFamily="18" charset="0"/>
              </a:rPr>
              <a:t>Akrediteli</a:t>
            </a:r>
            <a:r>
              <a:rPr lang="tr-TR" altLang="tr-TR" sz="1800" dirty="0">
                <a:latin typeface="Calibri" panose="020F0502020204030204" pitchFamily="34" charset="0"/>
                <a:ea typeface="Calibri" panose="020F0502020204030204" pitchFamily="34" charset="0"/>
                <a:cs typeface="Times New Roman" panose="02020603050405020304" pitchFamily="18" charset="0"/>
              </a:rPr>
              <a:t> bir firma olarak yaptığımız değerleme görevlerimizde bu etik ve profesyonel standartları uyguladığımızı taahhüt ediyoruz.</a:t>
            </a:r>
            <a:endParaRPr lang="tr-TR" altLang="tr-TR" sz="1800" dirty="0">
              <a:latin typeface="Calibri" panose="020F0502020204030204" pitchFamily="34" charset="0"/>
              <a:cs typeface="Calibri" panose="020F0502020204030204" pitchFamily="34" charset="0"/>
            </a:endParaRPr>
          </a:p>
          <a:p>
            <a:pPr algn="just" eaLnBrk="1" hangingPunct="1">
              <a:buFont typeface="Arial" panose="020B0604020202020204" pitchFamily="34" charset="0"/>
              <a:buNone/>
            </a:pPr>
            <a:r>
              <a:rPr lang="tr-TR" altLang="tr-TR" sz="1800" dirty="0">
                <a:latin typeface="Calibri" panose="020F0502020204030204" pitchFamily="34" charset="0"/>
                <a:cs typeface="Calibri" panose="020F0502020204030204" pitchFamily="34" charset="0"/>
              </a:rPr>
              <a:t>Bireysel olarak aşağıda isimleri verilen kişiler RICS Standartlarında rapor imzalamaya yetkilidir. </a:t>
            </a:r>
          </a:p>
          <a:p>
            <a:pPr algn="just" eaLnBrk="1" hangingPunct="1">
              <a:buFont typeface="Arial" panose="020B0604020202020204" pitchFamily="34" charset="0"/>
              <a:buNone/>
            </a:pPr>
            <a:endParaRPr lang="tr-TR" altLang="tr-TR" sz="1800" dirty="0">
              <a:latin typeface="Calibri" panose="020F0502020204030204" pitchFamily="34" charset="0"/>
              <a:cs typeface="Calibri" panose="020F0502020204030204" pitchFamily="34" charset="0"/>
            </a:endParaRPr>
          </a:p>
        </p:txBody>
      </p:sp>
      <p:sp>
        <p:nvSpPr>
          <p:cNvPr id="33833" name="Rectangle 47">
            <a:extLst>
              <a:ext uri="{FF2B5EF4-FFF2-40B4-BE49-F238E27FC236}">
                <a16:creationId xmlns:a16="http://schemas.microsoft.com/office/drawing/2014/main" id="{78320C35-77EC-0FAF-F484-CBE04CFA3082}"/>
              </a:ext>
            </a:extLst>
          </p:cNvPr>
          <p:cNvSpPr>
            <a:spLocks noChangeArrowheads="1"/>
          </p:cNvSpPr>
          <p:nvPr/>
        </p:nvSpPr>
        <p:spPr bwMode="auto">
          <a:xfrm>
            <a:off x="4063311" y="5159375"/>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nSpc>
                <a:spcPct val="100000"/>
              </a:lnSpc>
              <a:spcBef>
                <a:spcPct val="0"/>
              </a:spcBef>
              <a:buFontTx/>
              <a:buNone/>
            </a:pPr>
            <a:endParaRPr lang="tr-TR" altLang="tr-TR" sz="1800"/>
          </a:p>
        </p:txBody>
      </p:sp>
      <p:pic>
        <p:nvPicPr>
          <p:cNvPr id="15" name="Resim 14">
            <a:extLst>
              <a:ext uri="{FF2B5EF4-FFF2-40B4-BE49-F238E27FC236}">
                <a16:creationId xmlns:a16="http://schemas.microsoft.com/office/drawing/2014/main" id="{437BD166-B884-4EAC-99E6-ABD87B201822}"/>
              </a:ext>
            </a:extLst>
          </p:cNvPr>
          <p:cNvPicPr>
            <a:picLocks noChangeAspect="1"/>
          </p:cNvPicPr>
          <p:nvPr/>
        </p:nvPicPr>
        <p:blipFill>
          <a:blip r:embed="rId3"/>
          <a:stretch>
            <a:fillRect/>
          </a:stretch>
        </p:blipFill>
        <p:spPr>
          <a:xfrm>
            <a:off x="4027199" y="4940065"/>
            <a:ext cx="4124901" cy="1686160"/>
          </a:xfrm>
          <a:prstGeom prst="rect">
            <a:avLst/>
          </a:prstGeom>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ayt Numarası Yer Tutucusu 1">
            <a:extLst>
              <a:ext uri="{FF2B5EF4-FFF2-40B4-BE49-F238E27FC236}">
                <a16:creationId xmlns:a16="http://schemas.microsoft.com/office/drawing/2014/main" id="{7F881EA2-2F40-F52E-312B-9C96EA1A9E46}"/>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nSpc>
                <a:spcPct val="100000"/>
              </a:lnSpc>
              <a:spcBef>
                <a:spcPct val="0"/>
              </a:spcBef>
              <a:buFontTx/>
              <a:buNone/>
            </a:pPr>
            <a:fld id="{D53F08E6-C663-4847-917E-E4D088F03C76}" type="slidenum">
              <a:rPr lang="en-US" altLang="tr-TR" sz="1200" smtClean="0">
                <a:solidFill>
                  <a:srgbClr val="898989"/>
                </a:solidFill>
              </a:rPr>
              <a:pPr>
                <a:lnSpc>
                  <a:spcPct val="100000"/>
                </a:lnSpc>
                <a:spcBef>
                  <a:spcPct val="0"/>
                </a:spcBef>
                <a:buFontTx/>
                <a:buNone/>
              </a:pPr>
              <a:t>12</a:t>
            </a:fld>
            <a:endParaRPr lang="en-US" altLang="tr-TR" sz="1200">
              <a:solidFill>
                <a:srgbClr val="898989"/>
              </a:solidFill>
            </a:endParaRPr>
          </a:p>
        </p:txBody>
      </p:sp>
      <p:grpSp>
        <p:nvGrpSpPr>
          <p:cNvPr id="34819" name="Group 307">
            <a:extLst>
              <a:ext uri="{FF2B5EF4-FFF2-40B4-BE49-F238E27FC236}">
                <a16:creationId xmlns:a16="http://schemas.microsoft.com/office/drawing/2014/main" id="{CA755276-3E51-BE8C-C636-FDA328366277}"/>
              </a:ext>
            </a:extLst>
          </p:cNvPr>
          <p:cNvGrpSpPr>
            <a:grpSpLocks/>
          </p:cNvGrpSpPr>
          <p:nvPr/>
        </p:nvGrpSpPr>
        <p:grpSpPr bwMode="auto">
          <a:xfrm>
            <a:off x="-3175" y="6743700"/>
            <a:ext cx="12195175" cy="114300"/>
            <a:chOff x="-3175" y="4762500"/>
            <a:chExt cx="12195174" cy="2092323"/>
          </a:xfrm>
        </p:grpSpPr>
        <p:sp>
          <p:nvSpPr>
            <p:cNvPr id="5" name="Rectangle 308">
              <a:extLst>
                <a:ext uri="{FF2B5EF4-FFF2-40B4-BE49-F238E27FC236}">
                  <a16:creationId xmlns:a16="http://schemas.microsoft.com/office/drawing/2014/main" id="{FB947954-DBA4-62CA-9157-705F99F3C445}"/>
                </a:ext>
              </a:extLst>
            </p:cNvPr>
            <p:cNvSpPr/>
            <p:nvPr/>
          </p:nvSpPr>
          <p:spPr>
            <a:xfrm>
              <a:off x="-3175" y="4762500"/>
              <a:ext cx="2032000" cy="2092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309">
              <a:extLst>
                <a:ext uri="{FF2B5EF4-FFF2-40B4-BE49-F238E27FC236}">
                  <a16:creationId xmlns:a16="http://schemas.microsoft.com/office/drawing/2014/main" id="{CEA58A0E-43DE-772B-1BF7-78FE13C2F593}"/>
                </a:ext>
              </a:extLst>
            </p:cNvPr>
            <p:cNvSpPr/>
            <p:nvPr/>
          </p:nvSpPr>
          <p:spPr>
            <a:xfrm>
              <a:off x="2027238" y="4762500"/>
              <a:ext cx="2032000" cy="2092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Rectangle 310">
              <a:extLst>
                <a:ext uri="{FF2B5EF4-FFF2-40B4-BE49-F238E27FC236}">
                  <a16:creationId xmlns:a16="http://schemas.microsoft.com/office/drawing/2014/main" id="{A566EC70-F16E-8649-7C3C-C834E9291BA6}"/>
                </a:ext>
              </a:extLst>
            </p:cNvPr>
            <p:cNvSpPr/>
            <p:nvPr/>
          </p:nvSpPr>
          <p:spPr>
            <a:xfrm>
              <a:off x="4059238" y="4762500"/>
              <a:ext cx="2032000" cy="2092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Rectangle 311">
              <a:extLst>
                <a:ext uri="{FF2B5EF4-FFF2-40B4-BE49-F238E27FC236}">
                  <a16:creationId xmlns:a16="http://schemas.microsoft.com/office/drawing/2014/main" id="{EA177772-1E3E-213F-F68B-DBDDAA491EE7}"/>
                </a:ext>
              </a:extLst>
            </p:cNvPr>
            <p:cNvSpPr/>
            <p:nvPr/>
          </p:nvSpPr>
          <p:spPr>
            <a:xfrm>
              <a:off x="6089650" y="4762500"/>
              <a:ext cx="2032000" cy="2092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 name="Rectangle 312">
              <a:extLst>
                <a:ext uri="{FF2B5EF4-FFF2-40B4-BE49-F238E27FC236}">
                  <a16:creationId xmlns:a16="http://schemas.microsoft.com/office/drawing/2014/main" id="{40D92178-1DE6-A716-516A-8C3C95915DC1}"/>
                </a:ext>
              </a:extLst>
            </p:cNvPr>
            <p:cNvSpPr/>
            <p:nvPr/>
          </p:nvSpPr>
          <p:spPr>
            <a:xfrm>
              <a:off x="8118474" y="4762500"/>
              <a:ext cx="2032000" cy="2092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0" name="Rectangle 313">
              <a:extLst>
                <a:ext uri="{FF2B5EF4-FFF2-40B4-BE49-F238E27FC236}">
                  <a16:creationId xmlns:a16="http://schemas.microsoft.com/office/drawing/2014/main" id="{5D965657-514B-F02C-73F2-BE6E4F80FEB6}"/>
                </a:ext>
              </a:extLst>
            </p:cNvPr>
            <p:cNvSpPr/>
            <p:nvPr/>
          </p:nvSpPr>
          <p:spPr>
            <a:xfrm>
              <a:off x="10148887" y="4762500"/>
              <a:ext cx="2043112" cy="20923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cxnSp>
        <p:nvCxnSpPr>
          <p:cNvPr id="11" name="Straight Connector 6">
            <a:extLst>
              <a:ext uri="{FF2B5EF4-FFF2-40B4-BE49-F238E27FC236}">
                <a16:creationId xmlns:a16="http://schemas.microsoft.com/office/drawing/2014/main" id="{31E1BDAB-D6F8-FC69-12A0-CC58FA60A7AB}"/>
              </a:ext>
            </a:extLst>
          </p:cNvPr>
          <p:cNvCxnSpPr/>
          <p:nvPr/>
        </p:nvCxnSpPr>
        <p:spPr>
          <a:xfrm>
            <a:off x="11113" y="685800"/>
            <a:ext cx="124301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4821" name="İçerik Yer Tutucusu 2">
            <a:extLst>
              <a:ext uri="{FF2B5EF4-FFF2-40B4-BE49-F238E27FC236}">
                <a16:creationId xmlns:a16="http://schemas.microsoft.com/office/drawing/2014/main" id="{043F3D22-48B0-4285-E4C5-2645C2832922}"/>
              </a:ext>
            </a:extLst>
          </p:cNvPr>
          <p:cNvSpPr txBox="1">
            <a:spLocks noChangeArrowheads="1"/>
          </p:cNvSpPr>
          <p:nvPr/>
        </p:nvSpPr>
        <p:spPr bwMode="auto">
          <a:xfrm>
            <a:off x="519113" y="107950"/>
            <a:ext cx="6276975"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80000"/>
              </a:lnSpc>
              <a:buFont typeface="Arial" panose="020B0604020202020204" pitchFamily="34" charset="0"/>
              <a:buNone/>
            </a:pPr>
            <a:r>
              <a:rPr lang="tr-TR" altLang="tr-TR" sz="2400" b="1">
                <a:solidFill>
                  <a:srgbClr val="AD119B"/>
                </a:solidFill>
                <a:latin typeface="Open Sans" panose="020B0606030504020204" pitchFamily="34" charset="0"/>
                <a:cs typeface="Open Sans" panose="020B0606030504020204" pitchFamily="34" charset="0"/>
              </a:rPr>
              <a:t>Kadrolu Personel ile Hizmet Verilen İller</a:t>
            </a:r>
            <a:endParaRPr lang="tr-TR" altLang="tr-TR" sz="2400">
              <a:solidFill>
                <a:srgbClr val="AD119B"/>
              </a:solidFill>
              <a:latin typeface="Open Sans" panose="020B0606030504020204" pitchFamily="34" charset="0"/>
              <a:cs typeface="Open Sans" panose="020B0606030504020204" pitchFamily="34" charset="0"/>
            </a:endParaRPr>
          </a:p>
        </p:txBody>
      </p:sp>
      <p:sp>
        <p:nvSpPr>
          <p:cNvPr id="13" name="Rectangle 7">
            <a:extLst>
              <a:ext uri="{FF2B5EF4-FFF2-40B4-BE49-F238E27FC236}">
                <a16:creationId xmlns:a16="http://schemas.microsoft.com/office/drawing/2014/main" id="{43DB6F6D-24EB-AE8E-CC8E-4D8A0FA5C87B}"/>
              </a:ext>
            </a:extLst>
          </p:cNvPr>
          <p:cNvSpPr/>
          <p:nvPr/>
        </p:nvSpPr>
        <p:spPr>
          <a:xfrm>
            <a:off x="684213" y="671513"/>
            <a:ext cx="623887" cy="2698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4" name="İçerik Yer Tutucusu 2">
            <a:extLst>
              <a:ext uri="{FF2B5EF4-FFF2-40B4-BE49-F238E27FC236}">
                <a16:creationId xmlns:a16="http://schemas.microsoft.com/office/drawing/2014/main" id="{163EEEA7-DE81-D621-4DA5-FDE436E16546}"/>
              </a:ext>
            </a:extLst>
          </p:cNvPr>
          <p:cNvSpPr txBox="1">
            <a:spLocks/>
          </p:cNvSpPr>
          <p:nvPr/>
        </p:nvSpPr>
        <p:spPr>
          <a:xfrm>
            <a:off x="1119188" y="1477963"/>
            <a:ext cx="7913687" cy="91757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 typeface="Arial" panose="020B0604020202020204" pitchFamily="34" charset="0"/>
              <a:buNone/>
              <a:defRPr/>
            </a:pPr>
            <a:endParaRPr lang="tr-TR" sz="1800" b="1">
              <a:solidFill>
                <a:schemeClr val="bg2">
                  <a:lumMod val="10000"/>
                </a:schemeClr>
              </a:solidFill>
              <a:ea typeface="Lato Light" panose="020F0502020204030203" pitchFamily="34" charset="0"/>
              <a:cs typeface="Lato Light" panose="020F0502020204030203" pitchFamily="34" charset="0"/>
            </a:endParaRPr>
          </a:p>
        </p:txBody>
      </p:sp>
      <p:sp>
        <p:nvSpPr>
          <p:cNvPr id="19" name="İçerik Yer Tutucusu 2">
            <a:extLst>
              <a:ext uri="{FF2B5EF4-FFF2-40B4-BE49-F238E27FC236}">
                <a16:creationId xmlns:a16="http://schemas.microsoft.com/office/drawing/2014/main" id="{8E550C03-79A0-DE24-2CED-DA2257140977}"/>
              </a:ext>
            </a:extLst>
          </p:cNvPr>
          <p:cNvSpPr txBox="1">
            <a:spLocks/>
          </p:cNvSpPr>
          <p:nvPr/>
        </p:nvSpPr>
        <p:spPr>
          <a:xfrm>
            <a:off x="1254125" y="1155700"/>
            <a:ext cx="9872663" cy="1622425"/>
          </a:xfrm>
          <a:prstGeom prst="rect">
            <a:avLst/>
          </a:prstGeom>
        </p:spPr>
        <p:txBody>
          <a:bodyPr>
            <a:norm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just" eaLnBrk="1" hangingPunct="1">
              <a:buFont typeface="Arial" panose="020B0604020202020204" pitchFamily="34" charset="0"/>
              <a:buNone/>
            </a:pPr>
            <a:r>
              <a:rPr lang="tr-TR" altLang="en-US" sz="1800" dirty="0">
                <a:solidFill>
                  <a:srgbClr val="181717"/>
                </a:solidFill>
                <a:latin typeface="Calibri" panose="020F0502020204030204" pitchFamily="34" charset="0"/>
                <a:ea typeface="Calibri" panose="020F0502020204030204" pitchFamily="34" charset="0"/>
                <a:cs typeface="Times New Roman" panose="02020603050405020304" pitchFamily="18" charset="0"/>
              </a:rPr>
              <a:t>Gayrimenkul Değerleme Uzmanının yaşadığı il ve çevresine hizmet vermesi değerlemenin sağlıklı yapılması açısından değerlidir.  Bu durum kadrolu personel ile yapıldığı zaman daha sağlıklı değerleme raporları ortaya çıkmaktadır. Firmamız bu durumu önemsediğinden şu aşamada büyük ve kritik illerde kadrolu Gayrimenkul Değerleme uzmanı ile çalışmaktadır. </a:t>
            </a:r>
          </a:p>
          <a:p>
            <a:pPr algn="just" eaLnBrk="1" hangingPunct="1">
              <a:buFont typeface="Arial" panose="020B0604020202020204" pitchFamily="34" charset="0"/>
              <a:buNone/>
            </a:pPr>
            <a:r>
              <a:rPr lang="tr-TR" altLang="en-US" sz="1800" dirty="0">
                <a:solidFill>
                  <a:srgbClr val="181717"/>
                </a:solidFill>
                <a:latin typeface="Calibri" panose="020F0502020204030204" pitchFamily="34" charset="0"/>
                <a:ea typeface="Calibri" panose="020F0502020204030204" pitchFamily="34" charset="0"/>
                <a:cs typeface="Times New Roman" panose="02020603050405020304" pitchFamily="18" charset="0"/>
              </a:rPr>
              <a:t>An itibariyle Değerleme uzmanının olduğu 75 ilin 40 ilinde Kadrolu Değerleme Uzmanı ile çalışmaktayız.  </a:t>
            </a:r>
            <a:endParaRPr lang="tr-TR" altLang="en-US" sz="1100" dirty="0">
              <a:solidFill>
                <a:srgbClr val="181717"/>
              </a:solidFill>
              <a:ea typeface="Lato Light" panose="020F0502020204030203" pitchFamily="34" charset="0"/>
              <a:cs typeface="Lato Light" panose="020F0502020204030203" pitchFamily="34" charset="0"/>
            </a:endParaRPr>
          </a:p>
        </p:txBody>
      </p:sp>
      <p:sp>
        <p:nvSpPr>
          <p:cNvPr id="34825" name="Rectangle 47">
            <a:extLst>
              <a:ext uri="{FF2B5EF4-FFF2-40B4-BE49-F238E27FC236}">
                <a16:creationId xmlns:a16="http://schemas.microsoft.com/office/drawing/2014/main" id="{C419E9CA-E1DC-EA93-FDC0-94508C453179}"/>
              </a:ext>
            </a:extLst>
          </p:cNvPr>
          <p:cNvSpPr>
            <a:spLocks noChangeArrowheads="1"/>
          </p:cNvSpPr>
          <p:nvPr/>
        </p:nvSpPr>
        <p:spPr bwMode="auto">
          <a:xfrm>
            <a:off x="4059238" y="5159375"/>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nSpc>
                <a:spcPct val="100000"/>
              </a:lnSpc>
              <a:spcBef>
                <a:spcPct val="0"/>
              </a:spcBef>
              <a:buFontTx/>
              <a:buNone/>
            </a:pPr>
            <a:endParaRPr lang="tr-TR" altLang="tr-TR" sz="1800"/>
          </a:p>
        </p:txBody>
      </p:sp>
      <p:sp>
        <p:nvSpPr>
          <p:cNvPr id="18" name="İçerik Yer Tutucusu 2">
            <a:extLst>
              <a:ext uri="{FF2B5EF4-FFF2-40B4-BE49-F238E27FC236}">
                <a16:creationId xmlns:a16="http://schemas.microsoft.com/office/drawing/2014/main" id="{CD0FD07B-4639-427D-8B8B-8FC4055351BF}"/>
              </a:ext>
            </a:extLst>
          </p:cNvPr>
          <p:cNvSpPr txBox="1">
            <a:spLocks/>
          </p:cNvSpPr>
          <p:nvPr/>
        </p:nvSpPr>
        <p:spPr>
          <a:xfrm>
            <a:off x="1153318" y="3213170"/>
            <a:ext cx="9872663" cy="1622425"/>
          </a:xfrm>
          <a:prstGeom prst="rect">
            <a:avLst/>
          </a:prstGeom>
        </p:spPr>
        <p:txBody>
          <a:bodyPr>
            <a:norm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just" eaLnBrk="1" hangingPunct="1">
              <a:buFont typeface="Arial" panose="020B0604020202020204" pitchFamily="34" charset="0"/>
              <a:buNone/>
            </a:pPr>
            <a:endParaRPr lang="tr-TR" altLang="en-US" sz="1800" dirty="0">
              <a:solidFill>
                <a:srgbClr val="181717"/>
              </a:solidFill>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24" name="Tablo 23">
            <a:extLst>
              <a:ext uri="{FF2B5EF4-FFF2-40B4-BE49-F238E27FC236}">
                <a16:creationId xmlns:a16="http://schemas.microsoft.com/office/drawing/2014/main" id="{316134B4-16CE-411D-9B43-D05E12DBDA61}"/>
              </a:ext>
            </a:extLst>
          </p:cNvPr>
          <p:cNvGraphicFramePr>
            <a:graphicFrameLocks noGrp="1"/>
          </p:cNvGraphicFramePr>
          <p:nvPr>
            <p:extLst>
              <p:ext uri="{D42A27DB-BD31-4B8C-83A1-F6EECF244321}">
                <p14:modId xmlns:p14="http://schemas.microsoft.com/office/powerpoint/2010/main" val="3402279966"/>
              </p:ext>
            </p:extLst>
          </p:nvPr>
        </p:nvGraphicFramePr>
        <p:xfrm>
          <a:off x="3826565" y="2892287"/>
          <a:ext cx="5206311" cy="2487747"/>
        </p:xfrm>
        <a:graphic>
          <a:graphicData uri="http://schemas.openxmlformats.org/drawingml/2006/table">
            <a:tbl>
              <a:tblPr/>
              <a:tblGrid>
                <a:gridCol w="750792">
                  <a:extLst>
                    <a:ext uri="{9D8B030D-6E8A-4147-A177-3AD203B41FA5}">
                      <a16:colId xmlns:a16="http://schemas.microsoft.com/office/drawing/2014/main" val="1768214878"/>
                    </a:ext>
                  </a:extLst>
                </a:gridCol>
                <a:gridCol w="849256">
                  <a:extLst>
                    <a:ext uri="{9D8B030D-6E8A-4147-A177-3AD203B41FA5}">
                      <a16:colId xmlns:a16="http://schemas.microsoft.com/office/drawing/2014/main" val="82107375"/>
                    </a:ext>
                  </a:extLst>
                </a:gridCol>
                <a:gridCol w="836948">
                  <a:extLst>
                    <a:ext uri="{9D8B030D-6E8A-4147-A177-3AD203B41FA5}">
                      <a16:colId xmlns:a16="http://schemas.microsoft.com/office/drawing/2014/main" val="613308319"/>
                    </a:ext>
                  </a:extLst>
                </a:gridCol>
                <a:gridCol w="873873">
                  <a:extLst>
                    <a:ext uri="{9D8B030D-6E8A-4147-A177-3AD203B41FA5}">
                      <a16:colId xmlns:a16="http://schemas.microsoft.com/office/drawing/2014/main" val="2594880705"/>
                    </a:ext>
                  </a:extLst>
                </a:gridCol>
                <a:gridCol w="947721">
                  <a:extLst>
                    <a:ext uri="{9D8B030D-6E8A-4147-A177-3AD203B41FA5}">
                      <a16:colId xmlns:a16="http://schemas.microsoft.com/office/drawing/2014/main" val="1760892057"/>
                    </a:ext>
                  </a:extLst>
                </a:gridCol>
                <a:gridCol w="947721">
                  <a:extLst>
                    <a:ext uri="{9D8B030D-6E8A-4147-A177-3AD203B41FA5}">
                      <a16:colId xmlns:a16="http://schemas.microsoft.com/office/drawing/2014/main" val="2817981033"/>
                    </a:ext>
                  </a:extLst>
                </a:gridCol>
              </a:tblGrid>
              <a:tr h="294884">
                <a:tc gridSpan="6">
                  <a:txBody>
                    <a:bodyPr/>
                    <a:lstStyle/>
                    <a:p>
                      <a:pPr algn="ctr" fontAlgn="ctr"/>
                      <a:r>
                        <a:rPr lang="tr-TR" sz="1800" b="1" i="0" u="none" strike="noStrike" dirty="0">
                          <a:solidFill>
                            <a:srgbClr val="FFFFFF"/>
                          </a:solidFill>
                          <a:effectLst/>
                          <a:latin typeface="Calibri" panose="020F0502020204030204" pitchFamily="34" charset="0"/>
                        </a:rPr>
                        <a:t>Kadrolu Personel ile Hizmet Verilen İller</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63634"/>
                    </a:solidFill>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extLst>
                  <a:ext uri="{0D108BD9-81ED-4DB2-BD59-A6C34878D82A}">
                    <a16:rowId xmlns:a16="http://schemas.microsoft.com/office/drawing/2014/main" val="2353948092"/>
                  </a:ext>
                </a:extLst>
              </a:tr>
              <a:tr h="270757">
                <a:tc>
                  <a:txBody>
                    <a:bodyPr/>
                    <a:lstStyle/>
                    <a:p>
                      <a:pPr algn="l" fontAlgn="ctr"/>
                      <a:r>
                        <a:rPr lang="tr-TR" sz="1300" b="1" i="0" u="none" strike="noStrike">
                          <a:solidFill>
                            <a:srgbClr val="000000"/>
                          </a:solidFill>
                          <a:effectLst/>
                          <a:latin typeface="Calibri" panose="020F0502020204030204" pitchFamily="34" charset="0"/>
                        </a:rPr>
                        <a:t>Adana</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tr-TR" sz="1300" b="1" i="0" u="none" strike="noStrike">
                          <a:solidFill>
                            <a:srgbClr val="000000"/>
                          </a:solidFill>
                          <a:effectLst/>
                          <a:latin typeface="Calibri" panose="020F0502020204030204" pitchFamily="34" charset="0"/>
                        </a:rPr>
                        <a:t>Batma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tr-TR" sz="1300" b="1" i="0" u="none" strike="noStrike">
                          <a:solidFill>
                            <a:srgbClr val="000000"/>
                          </a:solidFill>
                          <a:effectLst/>
                          <a:latin typeface="Calibri" panose="020F0502020204030204" pitchFamily="34" charset="0"/>
                        </a:rPr>
                        <a:t>Düzc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tr-TR" sz="1300" b="1" i="0" u="none" strike="noStrike">
                          <a:solidFill>
                            <a:srgbClr val="000000"/>
                          </a:solidFill>
                          <a:effectLst/>
                          <a:latin typeface="Calibri" panose="020F0502020204030204" pitchFamily="34" charset="0"/>
                        </a:rPr>
                        <a:t>İzmi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D5ED"/>
                    </a:solidFill>
                  </a:tcPr>
                </a:tc>
                <a:tc>
                  <a:txBody>
                    <a:bodyPr/>
                    <a:lstStyle/>
                    <a:p>
                      <a:pPr algn="l" fontAlgn="ctr"/>
                      <a:r>
                        <a:rPr lang="tr-TR" sz="1300" b="1" i="0" u="none" strike="noStrike">
                          <a:solidFill>
                            <a:srgbClr val="000000"/>
                          </a:solidFill>
                          <a:effectLst/>
                          <a:latin typeface="Calibri" panose="020F0502020204030204" pitchFamily="34" charset="0"/>
                        </a:rPr>
                        <a:t>Mardi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tr-TR" sz="1300" b="1" i="0" u="none" strike="noStrike">
                          <a:solidFill>
                            <a:srgbClr val="000000"/>
                          </a:solidFill>
                          <a:effectLst/>
                          <a:latin typeface="Calibri" panose="020F0502020204030204" pitchFamily="34" charset="0"/>
                        </a:rPr>
                        <a:t>Siirt</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01321105"/>
                  </a:ext>
                </a:extLst>
              </a:tr>
              <a:tr h="270757">
                <a:tc>
                  <a:txBody>
                    <a:bodyPr/>
                    <a:lstStyle/>
                    <a:p>
                      <a:pPr algn="l" fontAlgn="ctr"/>
                      <a:r>
                        <a:rPr lang="tr-TR" sz="1300" b="1" i="0" u="none" strike="noStrike">
                          <a:solidFill>
                            <a:srgbClr val="000000"/>
                          </a:solidFill>
                          <a:effectLst/>
                          <a:latin typeface="Calibri" panose="020F0502020204030204" pitchFamily="34" charset="0"/>
                        </a:rPr>
                        <a:t>Afyon</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tr-TR" sz="1300" b="1" i="0" u="none" strike="noStrike">
                          <a:solidFill>
                            <a:srgbClr val="000000"/>
                          </a:solidFill>
                          <a:effectLst/>
                          <a:latin typeface="Calibri" panose="020F0502020204030204" pitchFamily="34" charset="0"/>
                        </a:rPr>
                        <a:t>Bingö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tr-TR" sz="1300" b="1" i="0" u="none" strike="noStrike">
                          <a:solidFill>
                            <a:srgbClr val="000000"/>
                          </a:solidFill>
                          <a:effectLst/>
                          <a:latin typeface="Calibri" panose="020F0502020204030204" pitchFamily="34" charset="0"/>
                        </a:rPr>
                        <a:t>Edirn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tr-TR" sz="1300" b="1" i="0" u="none" strike="noStrike" dirty="0">
                          <a:solidFill>
                            <a:srgbClr val="000000"/>
                          </a:solidFill>
                          <a:effectLst/>
                          <a:latin typeface="Calibri" panose="020F0502020204030204" pitchFamily="34" charset="0"/>
                        </a:rPr>
                        <a:t>Karabük</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tr-TR" sz="1300" b="1" i="0" u="none" strike="noStrike">
                          <a:solidFill>
                            <a:srgbClr val="000000"/>
                          </a:solidFill>
                          <a:effectLst/>
                          <a:latin typeface="Calibri" panose="020F0502020204030204" pitchFamily="34" charset="0"/>
                        </a:rPr>
                        <a:t>Mersi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tr-TR" sz="1300" b="1" i="0" u="none" strike="noStrike">
                          <a:solidFill>
                            <a:srgbClr val="000000"/>
                          </a:solidFill>
                          <a:effectLst/>
                          <a:latin typeface="Calibri" panose="020F0502020204030204" pitchFamily="34" charset="0"/>
                        </a:rPr>
                        <a:t>Şırnak</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31213096"/>
                  </a:ext>
                </a:extLst>
              </a:tr>
              <a:tr h="281480">
                <a:tc>
                  <a:txBody>
                    <a:bodyPr/>
                    <a:lstStyle/>
                    <a:p>
                      <a:pPr algn="l" fontAlgn="ctr"/>
                      <a:r>
                        <a:rPr lang="tr-TR" sz="1300" b="1" i="0" u="none" strike="noStrike">
                          <a:solidFill>
                            <a:srgbClr val="000000"/>
                          </a:solidFill>
                          <a:effectLst/>
                          <a:latin typeface="Calibri" panose="020F0502020204030204" pitchFamily="34" charset="0"/>
                        </a:rPr>
                        <a:t>Amasya</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tr-TR" sz="1300" b="1" i="0" u="none" strike="noStrike">
                          <a:solidFill>
                            <a:srgbClr val="000000"/>
                          </a:solidFill>
                          <a:effectLst/>
                          <a:latin typeface="Calibri" panose="020F0502020204030204" pitchFamily="34" charset="0"/>
                        </a:rPr>
                        <a:t>Burs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tr-TR" sz="1300" b="1" i="0" u="none" strike="noStrike">
                          <a:solidFill>
                            <a:srgbClr val="000000"/>
                          </a:solidFill>
                          <a:effectLst/>
                          <a:latin typeface="Calibri" panose="020F0502020204030204" pitchFamily="34" charset="0"/>
                        </a:rPr>
                        <a:t>Erzuru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D5ED"/>
                    </a:solidFill>
                  </a:tcPr>
                </a:tc>
                <a:tc>
                  <a:txBody>
                    <a:bodyPr/>
                    <a:lstStyle/>
                    <a:p>
                      <a:pPr algn="l" fontAlgn="ctr"/>
                      <a:r>
                        <a:rPr lang="tr-TR" sz="1300" b="1" i="0" u="none" strike="noStrike">
                          <a:solidFill>
                            <a:srgbClr val="000000"/>
                          </a:solidFill>
                          <a:effectLst/>
                          <a:latin typeface="Calibri" panose="020F0502020204030204" pitchFamily="34" charset="0"/>
                        </a:rPr>
                        <a:t>Kayser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tr-TR" sz="1300" b="1" i="0" u="none" strike="noStrike">
                          <a:solidFill>
                            <a:srgbClr val="000000"/>
                          </a:solidFill>
                          <a:effectLst/>
                          <a:latin typeface="Calibri" panose="020F0502020204030204" pitchFamily="34" charset="0"/>
                        </a:rPr>
                        <a:t>Muğl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tr-TR" sz="1300" b="1" i="0" u="none" strike="noStrike">
                          <a:solidFill>
                            <a:srgbClr val="000000"/>
                          </a:solidFill>
                          <a:effectLst/>
                          <a:latin typeface="Calibri" panose="020F0502020204030204" pitchFamily="34" charset="0"/>
                        </a:rPr>
                        <a:t>Tekirdağ</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15333727"/>
                  </a:ext>
                </a:extLst>
              </a:tr>
              <a:tr h="281480">
                <a:tc>
                  <a:txBody>
                    <a:bodyPr/>
                    <a:lstStyle/>
                    <a:p>
                      <a:pPr algn="l" fontAlgn="ctr"/>
                      <a:r>
                        <a:rPr lang="tr-TR" sz="1300" b="1" i="0" u="none" strike="noStrike">
                          <a:solidFill>
                            <a:srgbClr val="000000"/>
                          </a:solidFill>
                          <a:effectLst/>
                          <a:latin typeface="Calibri" panose="020F0502020204030204" pitchFamily="34" charset="0"/>
                        </a:rPr>
                        <a:t>Ankara</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D5ED"/>
                    </a:solidFill>
                  </a:tcPr>
                </a:tc>
                <a:tc>
                  <a:txBody>
                    <a:bodyPr/>
                    <a:lstStyle/>
                    <a:p>
                      <a:pPr algn="l" fontAlgn="ctr"/>
                      <a:r>
                        <a:rPr lang="tr-TR" sz="1300" b="1" i="0" u="none" strike="noStrike">
                          <a:solidFill>
                            <a:srgbClr val="000000"/>
                          </a:solidFill>
                          <a:effectLst/>
                          <a:latin typeface="Calibri" panose="020F0502020204030204" pitchFamily="34" charset="0"/>
                        </a:rPr>
                        <a:t>Çanakka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tr-TR" sz="1300" b="1" i="0" u="none" strike="noStrike">
                          <a:solidFill>
                            <a:srgbClr val="000000"/>
                          </a:solidFill>
                          <a:effectLst/>
                          <a:latin typeface="Calibri" panose="020F0502020204030204" pitchFamily="34" charset="0"/>
                        </a:rPr>
                        <a:t>Eskişehi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tr-TR" sz="1300" b="1" i="0" u="none" strike="noStrike">
                          <a:solidFill>
                            <a:srgbClr val="000000"/>
                          </a:solidFill>
                          <a:effectLst/>
                          <a:latin typeface="Calibri" panose="020F0502020204030204" pitchFamily="34" charset="0"/>
                        </a:rPr>
                        <a:t>Kırklarel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tr-TR" sz="1300" b="1" i="0" u="none" strike="noStrike" dirty="0">
                          <a:solidFill>
                            <a:srgbClr val="000000"/>
                          </a:solidFill>
                          <a:effectLst/>
                          <a:latin typeface="Calibri" panose="020F0502020204030204" pitchFamily="34" charset="0"/>
                        </a:rPr>
                        <a:t>Niğd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tr-TR" sz="1300" b="1" i="0" u="none" strike="noStrike">
                          <a:solidFill>
                            <a:srgbClr val="000000"/>
                          </a:solidFill>
                          <a:effectLst/>
                          <a:latin typeface="Calibri" panose="020F0502020204030204" pitchFamily="34" charset="0"/>
                        </a:rPr>
                        <a:t>Trabzon</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58810732"/>
                  </a:ext>
                </a:extLst>
              </a:tr>
              <a:tr h="281480">
                <a:tc>
                  <a:txBody>
                    <a:bodyPr/>
                    <a:lstStyle/>
                    <a:p>
                      <a:pPr algn="l" fontAlgn="ctr"/>
                      <a:r>
                        <a:rPr lang="tr-TR" sz="1300" b="1" i="0" u="none" strike="noStrike">
                          <a:solidFill>
                            <a:srgbClr val="000000"/>
                          </a:solidFill>
                          <a:effectLst/>
                          <a:latin typeface="Calibri" panose="020F0502020204030204" pitchFamily="34" charset="0"/>
                        </a:rPr>
                        <a:t>Antalya</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D5ED"/>
                    </a:solidFill>
                  </a:tcPr>
                </a:tc>
                <a:tc>
                  <a:txBody>
                    <a:bodyPr/>
                    <a:lstStyle/>
                    <a:p>
                      <a:pPr algn="l" fontAlgn="ctr"/>
                      <a:r>
                        <a:rPr lang="tr-TR" sz="1300" b="1" i="0" u="none" strike="noStrike">
                          <a:solidFill>
                            <a:srgbClr val="000000"/>
                          </a:solidFill>
                          <a:effectLst/>
                          <a:latin typeface="Calibri" panose="020F0502020204030204" pitchFamily="34" charset="0"/>
                        </a:rPr>
                        <a:t>Çoru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tr-TR" sz="1300" b="1" i="0" u="none" strike="noStrike">
                          <a:solidFill>
                            <a:srgbClr val="000000"/>
                          </a:solidFill>
                          <a:effectLst/>
                          <a:latin typeface="Calibri" panose="020F0502020204030204" pitchFamily="34" charset="0"/>
                        </a:rPr>
                        <a:t>Gaziante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tr-TR" sz="1300" b="1" i="0" u="none" strike="noStrike" dirty="0">
                          <a:solidFill>
                            <a:srgbClr val="000000"/>
                          </a:solidFill>
                          <a:effectLst/>
                          <a:latin typeface="Calibri" panose="020F0502020204030204" pitchFamily="34" charset="0"/>
                        </a:rPr>
                        <a:t>Kocael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tr-TR" sz="1300" b="1" i="0" u="none" strike="noStrike" dirty="0">
                          <a:solidFill>
                            <a:srgbClr val="000000"/>
                          </a:solidFill>
                          <a:effectLst/>
                          <a:latin typeface="Calibri" panose="020F0502020204030204" pitchFamily="34" charset="0"/>
                        </a:rPr>
                        <a:t>Ordu</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tr-TR" sz="1300" b="1" i="0" u="none" strike="noStrike">
                          <a:solidFill>
                            <a:srgbClr val="000000"/>
                          </a:solidFill>
                          <a:effectLst/>
                          <a:latin typeface="Calibri" panose="020F0502020204030204" pitchFamily="34" charset="0"/>
                        </a:rPr>
                        <a:t>Yalov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09021693"/>
                  </a:ext>
                </a:extLst>
              </a:tr>
              <a:tr h="270757">
                <a:tc>
                  <a:txBody>
                    <a:bodyPr/>
                    <a:lstStyle/>
                    <a:p>
                      <a:pPr algn="l" fontAlgn="ctr"/>
                      <a:r>
                        <a:rPr lang="tr-TR" sz="1300" b="1" i="0" u="none" strike="noStrike">
                          <a:solidFill>
                            <a:srgbClr val="000000"/>
                          </a:solidFill>
                          <a:effectLst/>
                          <a:latin typeface="Calibri" panose="020F0502020204030204" pitchFamily="34" charset="0"/>
                        </a:rPr>
                        <a:t>Aydın</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tr-TR" sz="1300" b="1" i="0" u="none" strike="noStrike">
                          <a:solidFill>
                            <a:srgbClr val="000000"/>
                          </a:solidFill>
                          <a:effectLst/>
                          <a:latin typeface="Calibri" panose="020F0502020204030204" pitchFamily="34" charset="0"/>
                        </a:rPr>
                        <a:t>Denizl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tr-TR" sz="1300" b="1" i="0" u="none" strike="noStrike">
                          <a:solidFill>
                            <a:srgbClr val="000000"/>
                          </a:solidFill>
                          <a:effectLst/>
                          <a:latin typeface="Calibri" panose="020F0502020204030204" pitchFamily="34" charset="0"/>
                        </a:rPr>
                        <a:t>Iğdı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tr-TR" sz="1300" b="1" i="0" u="none" strike="noStrike">
                          <a:solidFill>
                            <a:srgbClr val="000000"/>
                          </a:solidFill>
                          <a:effectLst/>
                          <a:latin typeface="Calibri" panose="020F0502020204030204" pitchFamily="34" charset="0"/>
                        </a:rPr>
                        <a:t>Kony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tr-TR" sz="1300" b="1" i="0" u="none" strike="noStrike">
                          <a:solidFill>
                            <a:srgbClr val="000000"/>
                          </a:solidFill>
                          <a:effectLst/>
                          <a:latin typeface="Calibri" panose="020F0502020204030204" pitchFamily="34" charset="0"/>
                        </a:rPr>
                        <a:t>Sakary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tr-TR" sz="1300" b="1"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79801656"/>
                  </a:ext>
                </a:extLst>
              </a:tr>
              <a:tr h="281480">
                <a:tc>
                  <a:txBody>
                    <a:bodyPr/>
                    <a:lstStyle/>
                    <a:p>
                      <a:pPr algn="l" fontAlgn="ctr"/>
                      <a:r>
                        <a:rPr lang="tr-TR" sz="1300" b="1" i="0" u="none" strike="noStrike">
                          <a:solidFill>
                            <a:srgbClr val="000000"/>
                          </a:solidFill>
                          <a:effectLst/>
                          <a:latin typeface="Calibri" panose="020F0502020204030204" pitchFamily="34" charset="0"/>
                        </a:rPr>
                        <a:t>Balıkesir</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r>
                        <a:rPr lang="tr-TR" sz="1300" b="1" i="0" u="none" strike="noStrike">
                          <a:solidFill>
                            <a:srgbClr val="000000"/>
                          </a:solidFill>
                          <a:effectLst/>
                          <a:latin typeface="Calibri" panose="020F0502020204030204" pitchFamily="34" charset="0"/>
                        </a:rPr>
                        <a:t>Diyarbakı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D5ED"/>
                    </a:solidFill>
                  </a:tcPr>
                </a:tc>
                <a:tc>
                  <a:txBody>
                    <a:bodyPr/>
                    <a:lstStyle/>
                    <a:p>
                      <a:pPr algn="l" fontAlgn="ctr"/>
                      <a:r>
                        <a:rPr lang="tr-TR" sz="1300" b="1" i="0" u="none" strike="noStrike">
                          <a:solidFill>
                            <a:srgbClr val="000000"/>
                          </a:solidFill>
                          <a:effectLst/>
                          <a:latin typeface="Calibri" panose="020F0502020204030204" pitchFamily="34" charset="0"/>
                        </a:rPr>
                        <a:t>İstanbu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D5ED"/>
                    </a:solidFill>
                  </a:tcPr>
                </a:tc>
                <a:tc>
                  <a:txBody>
                    <a:bodyPr/>
                    <a:lstStyle/>
                    <a:p>
                      <a:pPr algn="l" fontAlgn="ctr"/>
                      <a:r>
                        <a:rPr lang="tr-TR" sz="1300" b="1" i="0" u="none" strike="noStrike">
                          <a:solidFill>
                            <a:srgbClr val="000000"/>
                          </a:solidFill>
                          <a:effectLst/>
                          <a:latin typeface="Calibri" panose="020F0502020204030204" pitchFamily="34" charset="0"/>
                        </a:rPr>
                        <a:t>Manis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r>
                        <a:rPr lang="tr-TR" sz="1300" b="1" i="0" u="none" strike="noStrike">
                          <a:solidFill>
                            <a:srgbClr val="000000"/>
                          </a:solidFill>
                          <a:effectLst/>
                          <a:latin typeface="Calibri" panose="020F0502020204030204" pitchFamily="34" charset="0"/>
                        </a:rPr>
                        <a:t>Samsu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D5ED"/>
                    </a:solidFill>
                  </a:tcPr>
                </a:tc>
                <a:tc>
                  <a:txBody>
                    <a:bodyPr/>
                    <a:lstStyle/>
                    <a:p>
                      <a:pPr algn="l" fontAlgn="ctr"/>
                      <a:r>
                        <a:rPr lang="tr-TR" sz="1300" b="1" i="0" u="none" strike="noStrike" dirty="0">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2206614"/>
                  </a:ext>
                </a:extLst>
              </a:tr>
              <a:tr h="254672">
                <a:tc>
                  <a:txBody>
                    <a:bodyPr/>
                    <a:lstStyle/>
                    <a:p>
                      <a:pPr algn="l" fontAlgn="ctr"/>
                      <a:r>
                        <a:rPr lang="tr-TR" sz="1300" b="1" i="0" u="none" strike="noStrike">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D5ED"/>
                    </a:solidFill>
                  </a:tcPr>
                </a:tc>
                <a:tc gridSpan="5">
                  <a:txBody>
                    <a:bodyPr/>
                    <a:lstStyle/>
                    <a:p>
                      <a:pPr algn="l" fontAlgn="ctr"/>
                      <a:r>
                        <a:rPr lang="tr-TR" sz="1300" b="0" i="0" u="none" strike="noStrike" dirty="0">
                          <a:solidFill>
                            <a:srgbClr val="000000"/>
                          </a:solidFill>
                          <a:effectLst/>
                          <a:latin typeface="Calibri" panose="020F0502020204030204" pitchFamily="34" charset="0"/>
                        </a:rPr>
                        <a:t>Bu renk boyalı alanlardaki iller Bölge ve Şube Müdürlükleri</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extLst>
                  <a:ext uri="{0D108BD9-81ED-4DB2-BD59-A6C34878D82A}">
                    <a16:rowId xmlns:a16="http://schemas.microsoft.com/office/drawing/2014/main" val="1833185688"/>
                  </a:ext>
                </a:extLst>
              </a:tr>
            </a:tbl>
          </a:graphicData>
        </a:graphic>
      </p:graphicFrame>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ayt Numarası Yer Tutucusu 1">
            <a:extLst>
              <a:ext uri="{FF2B5EF4-FFF2-40B4-BE49-F238E27FC236}">
                <a16:creationId xmlns:a16="http://schemas.microsoft.com/office/drawing/2014/main" id="{C0A4CC8C-2B34-4D7D-F223-8BBCAF6FE66E}"/>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nSpc>
                <a:spcPct val="100000"/>
              </a:lnSpc>
              <a:spcBef>
                <a:spcPct val="0"/>
              </a:spcBef>
              <a:buFontTx/>
              <a:buNone/>
            </a:pPr>
            <a:fld id="{34BA733B-23C8-4D6A-86B5-89CCF90491F4}" type="slidenum">
              <a:rPr lang="en-US" altLang="tr-TR" sz="1200" smtClean="0">
                <a:solidFill>
                  <a:srgbClr val="898989"/>
                </a:solidFill>
              </a:rPr>
              <a:pPr>
                <a:lnSpc>
                  <a:spcPct val="100000"/>
                </a:lnSpc>
                <a:spcBef>
                  <a:spcPct val="0"/>
                </a:spcBef>
                <a:buFontTx/>
                <a:buNone/>
              </a:pPr>
              <a:t>13</a:t>
            </a:fld>
            <a:endParaRPr lang="en-US" altLang="tr-TR" sz="1200">
              <a:solidFill>
                <a:srgbClr val="898989"/>
              </a:solidFill>
            </a:endParaRPr>
          </a:p>
        </p:txBody>
      </p:sp>
      <p:grpSp>
        <p:nvGrpSpPr>
          <p:cNvPr id="35843" name="Group 307">
            <a:extLst>
              <a:ext uri="{FF2B5EF4-FFF2-40B4-BE49-F238E27FC236}">
                <a16:creationId xmlns:a16="http://schemas.microsoft.com/office/drawing/2014/main" id="{6353E624-120E-B617-0ACD-00C873A17F90}"/>
              </a:ext>
            </a:extLst>
          </p:cNvPr>
          <p:cNvGrpSpPr>
            <a:grpSpLocks/>
          </p:cNvGrpSpPr>
          <p:nvPr/>
        </p:nvGrpSpPr>
        <p:grpSpPr bwMode="auto">
          <a:xfrm>
            <a:off x="-3175" y="6743700"/>
            <a:ext cx="12195175" cy="114300"/>
            <a:chOff x="-3175" y="4762500"/>
            <a:chExt cx="12195174" cy="2092323"/>
          </a:xfrm>
        </p:grpSpPr>
        <p:sp>
          <p:nvSpPr>
            <p:cNvPr id="5" name="Rectangle 308">
              <a:extLst>
                <a:ext uri="{FF2B5EF4-FFF2-40B4-BE49-F238E27FC236}">
                  <a16:creationId xmlns:a16="http://schemas.microsoft.com/office/drawing/2014/main" id="{66A54D07-1341-F5B5-4241-DEA60C1B4FD9}"/>
                </a:ext>
              </a:extLst>
            </p:cNvPr>
            <p:cNvSpPr/>
            <p:nvPr/>
          </p:nvSpPr>
          <p:spPr>
            <a:xfrm>
              <a:off x="-3175" y="4762500"/>
              <a:ext cx="2032000" cy="2092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309">
              <a:extLst>
                <a:ext uri="{FF2B5EF4-FFF2-40B4-BE49-F238E27FC236}">
                  <a16:creationId xmlns:a16="http://schemas.microsoft.com/office/drawing/2014/main" id="{EE809AFA-4EEB-679A-92A3-561652A63EA2}"/>
                </a:ext>
              </a:extLst>
            </p:cNvPr>
            <p:cNvSpPr/>
            <p:nvPr/>
          </p:nvSpPr>
          <p:spPr>
            <a:xfrm>
              <a:off x="2027238" y="4762500"/>
              <a:ext cx="2032000" cy="2092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Rectangle 310">
              <a:extLst>
                <a:ext uri="{FF2B5EF4-FFF2-40B4-BE49-F238E27FC236}">
                  <a16:creationId xmlns:a16="http://schemas.microsoft.com/office/drawing/2014/main" id="{898F9C53-AB49-6FF2-2513-37AB2FC55FD5}"/>
                </a:ext>
              </a:extLst>
            </p:cNvPr>
            <p:cNvSpPr/>
            <p:nvPr/>
          </p:nvSpPr>
          <p:spPr>
            <a:xfrm>
              <a:off x="4059238" y="4762500"/>
              <a:ext cx="2032000" cy="2092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Rectangle 311">
              <a:extLst>
                <a:ext uri="{FF2B5EF4-FFF2-40B4-BE49-F238E27FC236}">
                  <a16:creationId xmlns:a16="http://schemas.microsoft.com/office/drawing/2014/main" id="{387254AD-1D4D-25D5-A2BA-7254FA0C4CD7}"/>
                </a:ext>
              </a:extLst>
            </p:cNvPr>
            <p:cNvSpPr/>
            <p:nvPr/>
          </p:nvSpPr>
          <p:spPr>
            <a:xfrm>
              <a:off x="6089650" y="4762500"/>
              <a:ext cx="2032000" cy="2092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 name="Rectangle 312">
              <a:extLst>
                <a:ext uri="{FF2B5EF4-FFF2-40B4-BE49-F238E27FC236}">
                  <a16:creationId xmlns:a16="http://schemas.microsoft.com/office/drawing/2014/main" id="{4903D18C-3F7B-CE87-361A-D15C789F96EF}"/>
                </a:ext>
              </a:extLst>
            </p:cNvPr>
            <p:cNvSpPr/>
            <p:nvPr/>
          </p:nvSpPr>
          <p:spPr>
            <a:xfrm>
              <a:off x="8118474" y="4762500"/>
              <a:ext cx="2032000" cy="2092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0" name="Rectangle 313">
              <a:extLst>
                <a:ext uri="{FF2B5EF4-FFF2-40B4-BE49-F238E27FC236}">
                  <a16:creationId xmlns:a16="http://schemas.microsoft.com/office/drawing/2014/main" id="{5A7FAC4A-13D0-3122-5596-B776335B3782}"/>
                </a:ext>
              </a:extLst>
            </p:cNvPr>
            <p:cNvSpPr/>
            <p:nvPr/>
          </p:nvSpPr>
          <p:spPr>
            <a:xfrm>
              <a:off x="10148887" y="4762500"/>
              <a:ext cx="2043112" cy="20923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
        <p:nvSpPr>
          <p:cNvPr id="12" name="İçerik Yer Tutucusu 2">
            <a:extLst>
              <a:ext uri="{FF2B5EF4-FFF2-40B4-BE49-F238E27FC236}">
                <a16:creationId xmlns:a16="http://schemas.microsoft.com/office/drawing/2014/main" id="{0C1BB265-9EA4-334F-422E-36A1EF248D32}"/>
              </a:ext>
            </a:extLst>
          </p:cNvPr>
          <p:cNvSpPr txBox="1">
            <a:spLocks/>
          </p:cNvSpPr>
          <p:nvPr/>
        </p:nvSpPr>
        <p:spPr>
          <a:xfrm>
            <a:off x="482600" y="109538"/>
            <a:ext cx="3643313" cy="51752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 typeface="Arial" panose="020B0604020202020204" pitchFamily="34" charset="0"/>
              <a:buNone/>
              <a:defRPr/>
            </a:pPr>
            <a:r>
              <a:rPr lang="tr-TR" b="1">
                <a:solidFill>
                  <a:schemeClr val="accent4">
                    <a:lumMod val="75000"/>
                  </a:schemeClr>
                </a:solidFill>
                <a:latin typeface="Open Sans" panose="020B0606030504020204" pitchFamily="34" charset="0"/>
                <a:ea typeface="Open Sans" panose="020B0606030504020204" pitchFamily="34" charset="0"/>
                <a:cs typeface="Open Sans" panose="020B0606030504020204" pitchFamily="34" charset="0"/>
              </a:rPr>
              <a:t>Referanslar</a:t>
            </a:r>
            <a:endParaRPr lang="tr-TR">
              <a:solidFill>
                <a:schemeClr val="accent4">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4" name="Straight Connector 6">
            <a:extLst>
              <a:ext uri="{FF2B5EF4-FFF2-40B4-BE49-F238E27FC236}">
                <a16:creationId xmlns:a16="http://schemas.microsoft.com/office/drawing/2014/main" id="{50F5FA13-F5B0-2BA9-C145-A3E86EB4ADB4}"/>
              </a:ext>
            </a:extLst>
          </p:cNvPr>
          <p:cNvCxnSpPr/>
          <p:nvPr/>
        </p:nvCxnSpPr>
        <p:spPr>
          <a:xfrm>
            <a:off x="3175" y="685800"/>
            <a:ext cx="124301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Rectangle 7">
            <a:extLst>
              <a:ext uri="{FF2B5EF4-FFF2-40B4-BE49-F238E27FC236}">
                <a16:creationId xmlns:a16="http://schemas.microsoft.com/office/drawing/2014/main" id="{BD1F66EE-50C9-3066-A5BC-E8F8B65D9F5E}"/>
              </a:ext>
            </a:extLst>
          </p:cNvPr>
          <p:cNvSpPr/>
          <p:nvPr/>
        </p:nvSpPr>
        <p:spPr>
          <a:xfrm>
            <a:off x="676275" y="671513"/>
            <a:ext cx="623888" cy="2698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26" name="Resim 25">
            <a:extLst>
              <a:ext uri="{FF2B5EF4-FFF2-40B4-BE49-F238E27FC236}">
                <a16:creationId xmlns:a16="http://schemas.microsoft.com/office/drawing/2014/main" id="{DFC0AA20-7699-427F-A2CB-7908FE0768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0019" y="997472"/>
            <a:ext cx="11701981" cy="5687490"/>
          </a:xfrm>
          <a:prstGeom prst="rect">
            <a:avLst/>
          </a:prstGeom>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ayt Numarası Yer Tutucusu 1">
            <a:extLst>
              <a:ext uri="{FF2B5EF4-FFF2-40B4-BE49-F238E27FC236}">
                <a16:creationId xmlns:a16="http://schemas.microsoft.com/office/drawing/2014/main" id="{5E461C6D-4C21-3CB1-EBB4-F4FF4D8C31A7}"/>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nSpc>
                <a:spcPct val="100000"/>
              </a:lnSpc>
              <a:spcBef>
                <a:spcPct val="0"/>
              </a:spcBef>
              <a:buFontTx/>
              <a:buNone/>
            </a:pPr>
            <a:fld id="{C3049264-7789-459A-A032-8E69C1534417}" type="slidenum">
              <a:rPr lang="en-US" altLang="tr-TR" sz="1200" smtClean="0">
                <a:solidFill>
                  <a:srgbClr val="898989"/>
                </a:solidFill>
              </a:rPr>
              <a:pPr>
                <a:lnSpc>
                  <a:spcPct val="100000"/>
                </a:lnSpc>
                <a:spcBef>
                  <a:spcPct val="0"/>
                </a:spcBef>
                <a:buFontTx/>
                <a:buNone/>
              </a:pPr>
              <a:t>14</a:t>
            </a:fld>
            <a:endParaRPr lang="en-US" altLang="tr-TR" sz="1200">
              <a:solidFill>
                <a:srgbClr val="898989"/>
              </a:solidFill>
            </a:endParaRPr>
          </a:p>
        </p:txBody>
      </p:sp>
      <p:grpSp>
        <p:nvGrpSpPr>
          <p:cNvPr id="36867" name="Group 307">
            <a:extLst>
              <a:ext uri="{FF2B5EF4-FFF2-40B4-BE49-F238E27FC236}">
                <a16:creationId xmlns:a16="http://schemas.microsoft.com/office/drawing/2014/main" id="{19B8BF05-040C-4C3D-76F0-C2645921610D}"/>
              </a:ext>
            </a:extLst>
          </p:cNvPr>
          <p:cNvGrpSpPr>
            <a:grpSpLocks/>
          </p:cNvGrpSpPr>
          <p:nvPr/>
        </p:nvGrpSpPr>
        <p:grpSpPr bwMode="auto">
          <a:xfrm>
            <a:off x="-3175" y="6743700"/>
            <a:ext cx="12195175" cy="114300"/>
            <a:chOff x="-3175" y="4762500"/>
            <a:chExt cx="12195174" cy="2092323"/>
          </a:xfrm>
        </p:grpSpPr>
        <p:sp>
          <p:nvSpPr>
            <p:cNvPr id="5" name="Rectangle 308">
              <a:extLst>
                <a:ext uri="{FF2B5EF4-FFF2-40B4-BE49-F238E27FC236}">
                  <a16:creationId xmlns:a16="http://schemas.microsoft.com/office/drawing/2014/main" id="{367A8182-0C8B-97E9-D965-FACD7C878F73}"/>
                </a:ext>
              </a:extLst>
            </p:cNvPr>
            <p:cNvSpPr/>
            <p:nvPr/>
          </p:nvSpPr>
          <p:spPr>
            <a:xfrm>
              <a:off x="-3175" y="4762500"/>
              <a:ext cx="2032000" cy="2092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309">
              <a:extLst>
                <a:ext uri="{FF2B5EF4-FFF2-40B4-BE49-F238E27FC236}">
                  <a16:creationId xmlns:a16="http://schemas.microsoft.com/office/drawing/2014/main" id="{8BDAC1C6-4856-B27F-AF10-187AB3522795}"/>
                </a:ext>
              </a:extLst>
            </p:cNvPr>
            <p:cNvSpPr/>
            <p:nvPr/>
          </p:nvSpPr>
          <p:spPr>
            <a:xfrm>
              <a:off x="2027238" y="4762500"/>
              <a:ext cx="2032000" cy="2092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Rectangle 310">
              <a:extLst>
                <a:ext uri="{FF2B5EF4-FFF2-40B4-BE49-F238E27FC236}">
                  <a16:creationId xmlns:a16="http://schemas.microsoft.com/office/drawing/2014/main" id="{1BBEEF40-ACCA-1C4B-DBDC-F1B3745E5E8A}"/>
                </a:ext>
              </a:extLst>
            </p:cNvPr>
            <p:cNvSpPr/>
            <p:nvPr/>
          </p:nvSpPr>
          <p:spPr>
            <a:xfrm>
              <a:off x="4059238" y="4762500"/>
              <a:ext cx="2032000" cy="2092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Rectangle 311">
              <a:extLst>
                <a:ext uri="{FF2B5EF4-FFF2-40B4-BE49-F238E27FC236}">
                  <a16:creationId xmlns:a16="http://schemas.microsoft.com/office/drawing/2014/main" id="{F59324DC-C73A-9F13-16AD-6269BECEA186}"/>
                </a:ext>
              </a:extLst>
            </p:cNvPr>
            <p:cNvSpPr/>
            <p:nvPr/>
          </p:nvSpPr>
          <p:spPr>
            <a:xfrm>
              <a:off x="6089650" y="4762500"/>
              <a:ext cx="2032000" cy="2092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 name="Rectangle 312">
              <a:extLst>
                <a:ext uri="{FF2B5EF4-FFF2-40B4-BE49-F238E27FC236}">
                  <a16:creationId xmlns:a16="http://schemas.microsoft.com/office/drawing/2014/main" id="{5D2FC4C3-3FED-879D-0131-EEA458164ADA}"/>
                </a:ext>
              </a:extLst>
            </p:cNvPr>
            <p:cNvSpPr/>
            <p:nvPr/>
          </p:nvSpPr>
          <p:spPr>
            <a:xfrm>
              <a:off x="8118474" y="4762500"/>
              <a:ext cx="2032000" cy="2092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0" name="Rectangle 313">
              <a:extLst>
                <a:ext uri="{FF2B5EF4-FFF2-40B4-BE49-F238E27FC236}">
                  <a16:creationId xmlns:a16="http://schemas.microsoft.com/office/drawing/2014/main" id="{C4A4662D-4C29-3E58-4596-EA05720C31F3}"/>
                </a:ext>
              </a:extLst>
            </p:cNvPr>
            <p:cNvSpPr/>
            <p:nvPr/>
          </p:nvSpPr>
          <p:spPr>
            <a:xfrm>
              <a:off x="10148887" y="4762500"/>
              <a:ext cx="2043112" cy="20923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
        <p:nvSpPr>
          <p:cNvPr id="12" name="İçerik Yer Tutucusu 2">
            <a:extLst>
              <a:ext uri="{FF2B5EF4-FFF2-40B4-BE49-F238E27FC236}">
                <a16:creationId xmlns:a16="http://schemas.microsoft.com/office/drawing/2014/main" id="{5D7496E4-8E33-7FEF-6820-759E44869B00}"/>
              </a:ext>
            </a:extLst>
          </p:cNvPr>
          <p:cNvSpPr txBox="1">
            <a:spLocks/>
          </p:cNvSpPr>
          <p:nvPr/>
        </p:nvSpPr>
        <p:spPr>
          <a:xfrm>
            <a:off x="500063" y="107950"/>
            <a:ext cx="3643312" cy="51752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 typeface="Arial" panose="020B0604020202020204" pitchFamily="34" charset="0"/>
              <a:buNone/>
              <a:defRPr/>
            </a:pPr>
            <a:r>
              <a:rPr lang="tr-TR" b="1">
                <a:solidFill>
                  <a:schemeClr val="accent4">
                    <a:lumMod val="75000"/>
                  </a:schemeClr>
                </a:solidFill>
                <a:latin typeface="Open Sans" panose="020B0606030504020204" pitchFamily="34" charset="0"/>
                <a:ea typeface="Open Sans" panose="020B0606030504020204" pitchFamily="34" charset="0"/>
                <a:cs typeface="Open Sans" panose="020B0606030504020204" pitchFamily="34" charset="0"/>
              </a:rPr>
              <a:t>Referanslar</a:t>
            </a:r>
            <a:endParaRPr lang="tr-TR">
              <a:solidFill>
                <a:schemeClr val="accent4">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8" name="Straight Connector 6">
            <a:extLst>
              <a:ext uri="{FF2B5EF4-FFF2-40B4-BE49-F238E27FC236}">
                <a16:creationId xmlns:a16="http://schemas.microsoft.com/office/drawing/2014/main" id="{4535DACE-4B1F-4481-5BEC-8BCFC74FFF6F}"/>
              </a:ext>
            </a:extLst>
          </p:cNvPr>
          <p:cNvCxnSpPr/>
          <p:nvPr/>
        </p:nvCxnSpPr>
        <p:spPr>
          <a:xfrm>
            <a:off x="7938" y="684213"/>
            <a:ext cx="124301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Rectangle 7">
            <a:extLst>
              <a:ext uri="{FF2B5EF4-FFF2-40B4-BE49-F238E27FC236}">
                <a16:creationId xmlns:a16="http://schemas.microsoft.com/office/drawing/2014/main" id="{4B407CD3-C58C-854F-5D2C-2EE0DF909FF2}"/>
              </a:ext>
            </a:extLst>
          </p:cNvPr>
          <p:cNvSpPr/>
          <p:nvPr/>
        </p:nvSpPr>
        <p:spPr>
          <a:xfrm>
            <a:off x="681038" y="660400"/>
            <a:ext cx="623887" cy="269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3" name="Resim 2">
            <a:extLst>
              <a:ext uri="{FF2B5EF4-FFF2-40B4-BE49-F238E27FC236}">
                <a16:creationId xmlns:a16="http://schemas.microsoft.com/office/drawing/2014/main" id="{DFAC627E-8983-46B2-8F9B-6C8389480031}"/>
              </a:ext>
            </a:extLst>
          </p:cNvPr>
          <p:cNvPicPr>
            <a:picLocks noChangeAspect="1"/>
          </p:cNvPicPr>
          <p:nvPr/>
        </p:nvPicPr>
        <p:blipFill>
          <a:blip r:embed="rId2"/>
          <a:stretch>
            <a:fillRect/>
          </a:stretch>
        </p:blipFill>
        <p:spPr>
          <a:xfrm>
            <a:off x="1142308" y="766391"/>
            <a:ext cx="9907383" cy="5325218"/>
          </a:xfrm>
          <a:prstGeom prst="rect">
            <a:avLst/>
          </a:prstGeom>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ayt Numarası Yer Tutucusu 1">
            <a:extLst>
              <a:ext uri="{FF2B5EF4-FFF2-40B4-BE49-F238E27FC236}">
                <a16:creationId xmlns:a16="http://schemas.microsoft.com/office/drawing/2014/main" id="{6F8EE75C-1B4F-9E7A-F8F3-8FCDFDE18516}"/>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nSpc>
                <a:spcPct val="100000"/>
              </a:lnSpc>
              <a:spcBef>
                <a:spcPct val="0"/>
              </a:spcBef>
              <a:buFontTx/>
              <a:buNone/>
            </a:pPr>
            <a:fld id="{C989613A-F730-495C-ABD0-71FC0905E08B}" type="slidenum">
              <a:rPr lang="en-US" altLang="tr-TR" sz="1200" smtClean="0">
                <a:solidFill>
                  <a:srgbClr val="898989"/>
                </a:solidFill>
              </a:rPr>
              <a:pPr>
                <a:lnSpc>
                  <a:spcPct val="100000"/>
                </a:lnSpc>
                <a:spcBef>
                  <a:spcPct val="0"/>
                </a:spcBef>
                <a:buFontTx/>
                <a:buNone/>
              </a:pPr>
              <a:t>15</a:t>
            </a:fld>
            <a:endParaRPr lang="en-US" altLang="tr-TR" sz="1200">
              <a:solidFill>
                <a:srgbClr val="898989"/>
              </a:solidFill>
            </a:endParaRPr>
          </a:p>
        </p:txBody>
      </p:sp>
      <p:grpSp>
        <p:nvGrpSpPr>
          <p:cNvPr id="37892" name="Group 307">
            <a:extLst>
              <a:ext uri="{FF2B5EF4-FFF2-40B4-BE49-F238E27FC236}">
                <a16:creationId xmlns:a16="http://schemas.microsoft.com/office/drawing/2014/main" id="{A762144A-8DB5-705E-E54A-EA3DA0A7D940}"/>
              </a:ext>
            </a:extLst>
          </p:cNvPr>
          <p:cNvGrpSpPr>
            <a:grpSpLocks/>
          </p:cNvGrpSpPr>
          <p:nvPr/>
        </p:nvGrpSpPr>
        <p:grpSpPr bwMode="auto">
          <a:xfrm>
            <a:off x="-3175" y="6743700"/>
            <a:ext cx="12195175" cy="114300"/>
            <a:chOff x="-3175" y="4762500"/>
            <a:chExt cx="12195174" cy="2092323"/>
          </a:xfrm>
        </p:grpSpPr>
        <p:sp>
          <p:nvSpPr>
            <p:cNvPr id="5" name="Rectangle 308">
              <a:extLst>
                <a:ext uri="{FF2B5EF4-FFF2-40B4-BE49-F238E27FC236}">
                  <a16:creationId xmlns:a16="http://schemas.microsoft.com/office/drawing/2014/main" id="{390D232D-046D-E062-5486-B8449AB43A93}"/>
                </a:ext>
              </a:extLst>
            </p:cNvPr>
            <p:cNvSpPr/>
            <p:nvPr/>
          </p:nvSpPr>
          <p:spPr>
            <a:xfrm>
              <a:off x="-3175" y="4762500"/>
              <a:ext cx="2032000" cy="2092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309">
              <a:extLst>
                <a:ext uri="{FF2B5EF4-FFF2-40B4-BE49-F238E27FC236}">
                  <a16:creationId xmlns:a16="http://schemas.microsoft.com/office/drawing/2014/main" id="{919BAECF-A8D7-4BCD-E2DA-0B3C73379F1D}"/>
                </a:ext>
              </a:extLst>
            </p:cNvPr>
            <p:cNvSpPr/>
            <p:nvPr/>
          </p:nvSpPr>
          <p:spPr>
            <a:xfrm>
              <a:off x="2027238" y="4762500"/>
              <a:ext cx="2032000" cy="2092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Rectangle 310">
              <a:extLst>
                <a:ext uri="{FF2B5EF4-FFF2-40B4-BE49-F238E27FC236}">
                  <a16:creationId xmlns:a16="http://schemas.microsoft.com/office/drawing/2014/main" id="{0E601139-BC76-AE27-A90C-0845E7412360}"/>
                </a:ext>
              </a:extLst>
            </p:cNvPr>
            <p:cNvSpPr/>
            <p:nvPr/>
          </p:nvSpPr>
          <p:spPr>
            <a:xfrm>
              <a:off x="4059238" y="4762500"/>
              <a:ext cx="2032000" cy="2092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Rectangle 311">
              <a:extLst>
                <a:ext uri="{FF2B5EF4-FFF2-40B4-BE49-F238E27FC236}">
                  <a16:creationId xmlns:a16="http://schemas.microsoft.com/office/drawing/2014/main" id="{C00DBF3F-C9F2-90AF-296F-268D84A62E89}"/>
                </a:ext>
              </a:extLst>
            </p:cNvPr>
            <p:cNvSpPr/>
            <p:nvPr/>
          </p:nvSpPr>
          <p:spPr>
            <a:xfrm>
              <a:off x="6089650" y="4762500"/>
              <a:ext cx="2032000" cy="2092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 name="Rectangle 312">
              <a:extLst>
                <a:ext uri="{FF2B5EF4-FFF2-40B4-BE49-F238E27FC236}">
                  <a16:creationId xmlns:a16="http://schemas.microsoft.com/office/drawing/2014/main" id="{AE309C43-6DEA-5984-E8B6-07D1E96444FD}"/>
                </a:ext>
              </a:extLst>
            </p:cNvPr>
            <p:cNvSpPr/>
            <p:nvPr/>
          </p:nvSpPr>
          <p:spPr>
            <a:xfrm>
              <a:off x="8118474" y="4762500"/>
              <a:ext cx="2032000" cy="2092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0" name="Rectangle 313">
              <a:extLst>
                <a:ext uri="{FF2B5EF4-FFF2-40B4-BE49-F238E27FC236}">
                  <a16:creationId xmlns:a16="http://schemas.microsoft.com/office/drawing/2014/main" id="{8D120521-FF1E-B607-C665-3215D2812668}"/>
                </a:ext>
              </a:extLst>
            </p:cNvPr>
            <p:cNvSpPr/>
            <p:nvPr/>
          </p:nvSpPr>
          <p:spPr>
            <a:xfrm>
              <a:off x="10148887" y="4762500"/>
              <a:ext cx="2043112" cy="20923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cxnSp>
        <p:nvCxnSpPr>
          <p:cNvPr id="11" name="Straight Connector 6">
            <a:extLst>
              <a:ext uri="{FF2B5EF4-FFF2-40B4-BE49-F238E27FC236}">
                <a16:creationId xmlns:a16="http://schemas.microsoft.com/office/drawing/2014/main" id="{894FC399-3E8F-6AD9-F5F9-E42D35B00C95}"/>
              </a:ext>
            </a:extLst>
          </p:cNvPr>
          <p:cNvCxnSpPr/>
          <p:nvPr/>
        </p:nvCxnSpPr>
        <p:spPr>
          <a:xfrm>
            <a:off x="11113" y="685800"/>
            <a:ext cx="124301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İçerik Yer Tutucusu 2">
            <a:extLst>
              <a:ext uri="{FF2B5EF4-FFF2-40B4-BE49-F238E27FC236}">
                <a16:creationId xmlns:a16="http://schemas.microsoft.com/office/drawing/2014/main" id="{499F6E50-AF03-9AEB-B2F6-48B4B0C58F05}"/>
              </a:ext>
            </a:extLst>
          </p:cNvPr>
          <p:cNvSpPr txBox="1">
            <a:spLocks/>
          </p:cNvSpPr>
          <p:nvPr/>
        </p:nvSpPr>
        <p:spPr>
          <a:xfrm>
            <a:off x="519113" y="107950"/>
            <a:ext cx="3644900" cy="51752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 typeface="Arial" panose="020B0604020202020204" pitchFamily="34" charset="0"/>
              <a:buNone/>
              <a:defRPr/>
            </a:pPr>
            <a:r>
              <a:rPr lang="tr-TR" b="1">
                <a:solidFill>
                  <a:schemeClr val="accent4">
                    <a:lumMod val="75000"/>
                  </a:schemeClr>
                </a:solidFill>
                <a:latin typeface="Open Sans" panose="020B0606030504020204" pitchFamily="34" charset="0"/>
                <a:ea typeface="Open Sans" panose="020B0606030504020204" pitchFamily="34" charset="0"/>
                <a:cs typeface="Open Sans" panose="020B0606030504020204" pitchFamily="34" charset="0"/>
              </a:rPr>
              <a:t>Referanslar</a:t>
            </a:r>
            <a:endParaRPr lang="tr-TR">
              <a:solidFill>
                <a:schemeClr val="accent4">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7">
            <a:extLst>
              <a:ext uri="{FF2B5EF4-FFF2-40B4-BE49-F238E27FC236}">
                <a16:creationId xmlns:a16="http://schemas.microsoft.com/office/drawing/2014/main" id="{7C0FF15A-723B-E064-A826-2C763B018591}"/>
              </a:ext>
            </a:extLst>
          </p:cNvPr>
          <p:cNvSpPr/>
          <p:nvPr/>
        </p:nvSpPr>
        <p:spPr>
          <a:xfrm>
            <a:off x="684213" y="671513"/>
            <a:ext cx="623887" cy="2698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4" name="İçerik Yer Tutucusu 2">
            <a:extLst>
              <a:ext uri="{FF2B5EF4-FFF2-40B4-BE49-F238E27FC236}">
                <a16:creationId xmlns:a16="http://schemas.microsoft.com/office/drawing/2014/main" id="{516FB914-DABD-0E28-36EA-7CAC4D4D9409}"/>
              </a:ext>
            </a:extLst>
          </p:cNvPr>
          <p:cNvSpPr txBox="1">
            <a:spLocks/>
          </p:cNvSpPr>
          <p:nvPr/>
        </p:nvSpPr>
        <p:spPr>
          <a:xfrm>
            <a:off x="1392238" y="490538"/>
            <a:ext cx="4938712" cy="39052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 typeface="Arial" panose="020B0604020202020204" pitchFamily="34" charset="0"/>
              <a:buNone/>
              <a:defRPr/>
            </a:pPr>
            <a:r>
              <a:rPr lang="tr-TR" sz="1800" b="1">
                <a:solidFill>
                  <a:schemeClr val="bg2">
                    <a:lumMod val="10000"/>
                  </a:schemeClr>
                </a:solidFill>
              </a:rPr>
              <a:t>KENTSEL DÖNÜŞÜM VE ÖZEL PROJELER</a:t>
            </a:r>
          </a:p>
        </p:txBody>
      </p:sp>
      <p:pic>
        <p:nvPicPr>
          <p:cNvPr id="21" name="Resim 20">
            <a:extLst>
              <a:ext uri="{FF2B5EF4-FFF2-40B4-BE49-F238E27FC236}">
                <a16:creationId xmlns:a16="http://schemas.microsoft.com/office/drawing/2014/main" id="{ECC7F18E-677C-4321-8CB3-A72CAF416C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8463" y="881062"/>
            <a:ext cx="11190831" cy="5843861"/>
          </a:xfrm>
          <a:prstGeom prst="rect">
            <a:avLst/>
          </a:prstGeom>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914" name="Group 307">
            <a:extLst>
              <a:ext uri="{FF2B5EF4-FFF2-40B4-BE49-F238E27FC236}">
                <a16:creationId xmlns:a16="http://schemas.microsoft.com/office/drawing/2014/main" id="{CE456102-E61B-973A-25F8-D2A1EF571A56}"/>
              </a:ext>
            </a:extLst>
          </p:cNvPr>
          <p:cNvGrpSpPr>
            <a:grpSpLocks/>
          </p:cNvGrpSpPr>
          <p:nvPr/>
        </p:nvGrpSpPr>
        <p:grpSpPr bwMode="auto">
          <a:xfrm>
            <a:off x="-3175" y="6743700"/>
            <a:ext cx="12195175" cy="114300"/>
            <a:chOff x="-3175" y="4762500"/>
            <a:chExt cx="12195174" cy="2092323"/>
          </a:xfrm>
        </p:grpSpPr>
        <p:sp>
          <p:nvSpPr>
            <p:cNvPr id="5" name="Rectangle 308">
              <a:extLst>
                <a:ext uri="{FF2B5EF4-FFF2-40B4-BE49-F238E27FC236}">
                  <a16:creationId xmlns:a16="http://schemas.microsoft.com/office/drawing/2014/main" id="{F9789EDE-12BB-DB1D-10F4-A2D249119133}"/>
                </a:ext>
              </a:extLst>
            </p:cNvPr>
            <p:cNvSpPr/>
            <p:nvPr/>
          </p:nvSpPr>
          <p:spPr>
            <a:xfrm>
              <a:off x="-3175" y="4762500"/>
              <a:ext cx="2032000" cy="2092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309">
              <a:extLst>
                <a:ext uri="{FF2B5EF4-FFF2-40B4-BE49-F238E27FC236}">
                  <a16:creationId xmlns:a16="http://schemas.microsoft.com/office/drawing/2014/main" id="{A0FA674F-711C-29BA-582C-E4A5F8C49822}"/>
                </a:ext>
              </a:extLst>
            </p:cNvPr>
            <p:cNvSpPr/>
            <p:nvPr/>
          </p:nvSpPr>
          <p:spPr>
            <a:xfrm>
              <a:off x="2027238" y="4762500"/>
              <a:ext cx="2032000" cy="2092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Rectangle 310">
              <a:extLst>
                <a:ext uri="{FF2B5EF4-FFF2-40B4-BE49-F238E27FC236}">
                  <a16:creationId xmlns:a16="http://schemas.microsoft.com/office/drawing/2014/main" id="{C59243FA-7B11-D772-95CC-4DD1080A1819}"/>
                </a:ext>
              </a:extLst>
            </p:cNvPr>
            <p:cNvSpPr/>
            <p:nvPr/>
          </p:nvSpPr>
          <p:spPr>
            <a:xfrm>
              <a:off x="4059238" y="4762500"/>
              <a:ext cx="2032000" cy="2092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Rectangle 311">
              <a:extLst>
                <a:ext uri="{FF2B5EF4-FFF2-40B4-BE49-F238E27FC236}">
                  <a16:creationId xmlns:a16="http://schemas.microsoft.com/office/drawing/2014/main" id="{3CCE0CEF-E4D7-5378-9A4F-05E42C093754}"/>
                </a:ext>
              </a:extLst>
            </p:cNvPr>
            <p:cNvSpPr/>
            <p:nvPr/>
          </p:nvSpPr>
          <p:spPr>
            <a:xfrm>
              <a:off x="6089650" y="4762500"/>
              <a:ext cx="2032000" cy="2092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 name="Rectangle 312">
              <a:extLst>
                <a:ext uri="{FF2B5EF4-FFF2-40B4-BE49-F238E27FC236}">
                  <a16:creationId xmlns:a16="http://schemas.microsoft.com/office/drawing/2014/main" id="{A710A5C2-EC50-F9CE-6DDF-31D24AD789B8}"/>
                </a:ext>
              </a:extLst>
            </p:cNvPr>
            <p:cNvSpPr/>
            <p:nvPr/>
          </p:nvSpPr>
          <p:spPr>
            <a:xfrm>
              <a:off x="8118474" y="4762500"/>
              <a:ext cx="2032000" cy="2092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0" name="Rectangle 313">
              <a:extLst>
                <a:ext uri="{FF2B5EF4-FFF2-40B4-BE49-F238E27FC236}">
                  <a16:creationId xmlns:a16="http://schemas.microsoft.com/office/drawing/2014/main" id="{C5A23237-9EA4-DA07-9B2A-26AA36BED365}"/>
                </a:ext>
              </a:extLst>
            </p:cNvPr>
            <p:cNvSpPr/>
            <p:nvPr/>
          </p:nvSpPr>
          <p:spPr>
            <a:xfrm>
              <a:off x="10148887" y="4762500"/>
              <a:ext cx="2043112" cy="20923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cxnSp>
        <p:nvCxnSpPr>
          <p:cNvPr id="84" name="Straight Connector 6">
            <a:extLst>
              <a:ext uri="{FF2B5EF4-FFF2-40B4-BE49-F238E27FC236}">
                <a16:creationId xmlns:a16="http://schemas.microsoft.com/office/drawing/2014/main" id="{0BFC55A3-4319-108D-D9E9-55F6AE887A88}"/>
              </a:ext>
            </a:extLst>
          </p:cNvPr>
          <p:cNvCxnSpPr/>
          <p:nvPr/>
        </p:nvCxnSpPr>
        <p:spPr>
          <a:xfrm>
            <a:off x="11113" y="684213"/>
            <a:ext cx="124301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8916" name="İçerik Yer Tutucusu 2">
            <a:extLst>
              <a:ext uri="{FF2B5EF4-FFF2-40B4-BE49-F238E27FC236}">
                <a16:creationId xmlns:a16="http://schemas.microsoft.com/office/drawing/2014/main" id="{2FFD68D6-5534-B810-56F7-2BBD46B4314C}"/>
              </a:ext>
            </a:extLst>
          </p:cNvPr>
          <p:cNvSpPr txBox="1">
            <a:spLocks noChangeArrowheads="1"/>
          </p:cNvSpPr>
          <p:nvPr/>
        </p:nvSpPr>
        <p:spPr bwMode="auto">
          <a:xfrm>
            <a:off x="519113" y="106363"/>
            <a:ext cx="4913312"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buFont typeface="Arial" panose="020B0604020202020204" pitchFamily="34" charset="0"/>
              <a:buNone/>
            </a:pPr>
            <a:r>
              <a:rPr lang="tr-TR" altLang="tr-TR" sz="2600" b="1">
                <a:solidFill>
                  <a:srgbClr val="AD119B"/>
                </a:solidFill>
                <a:latin typeface="Open Sans" panose="020B0606030504020204" pitchFamily="34" charset="0"/>
                <a:cs typeface="Open Sans" panose="020B0606030504020204" pitchFamily="34" charset="0"/>
              </a:rPr>
              <a:t>Bağlı Olduğumuz Kurumlar</a:t>
            </a:r>
            <a:endParaRPr lang="tr-TR" altLang="tr-TR" sz="2600">
              <a:solidFill>
                <a:srgbClr val="AD119B"/>
              </a:solidFill>
              <a:latin typeface="Open Sans" panose="020B0606030504020204" pitchFamily="34" charset="0"/>
              <a:cs typeface="Open Sans" panose="020B0606030504020204" pitchFamily="34" charset="0"/>
            </a:endParaRPr>
          </a:p>
        </p:txBody>
      </p:sp>
      <p:sp>
        <p:nvSpPr>
          <p:cNvPr id="87" name="Rectangle 7">
            <a:extLst>
              <a:ext uri="{FF2B5EF4-FFF2-40B4-BE49-F238E27FC236}">
                <a16:creationId xmlns:a16="http://schemas.microsoft.com/office/drawing/2014/main" id="{5A09DB9D-A8AF-D27A-8E90-79B1CD193F25}"/>
              </a:ext>
            </a:extLst>
          </p:cNvPr>
          <p:cNvSpPr/>
          <p:nvPr/>
        </p:nvSpPr>
        <p:spPr>
          <a:xfrm>
            <a:off x="684213" y="669925"/>
            <a:ext cx="623887" cy="269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38918" name="Resim 2">
            <a:extLst>
              <a:ext uri="{FF2B5EF4-FFF2-40B4-BE49-F238E27FC236}">
                <a16:creationId xmlns:a16="http://schemas.microsoft.com/office/drawing/2014/main" id="{9A5CFAD9-2394-3D6C-7F46-AAD3EBB90CF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6374" y="736600"/>
            <a:ext cx="10627393" cy="596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ayt Numarası Yer Tutucusu 1">
            <a:extLst>
              <a:ext uri="{FF2B5EF4-FFF2-40B4-BE49-F238E27FC236}">
                <a16:creationId xmlns:a16="http://schemas.microsoft.com/office/drawing/2014/main" id="{EEC6DDA1-190E-8856-B805-40DB8255534E}"/>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nSpc>
                <a:spcPct val="100000"/>
              </a:lnSpc>
              <a:spcBef>
                <a:spcPct val="0"/>
              </a:spcBef>
              <a:buFontTx/>
              <a:buNone/>
            </a:pPr>
            <a:fld id="{FCDAD8E6-6BDF-4C5B-8EBB-AB0B683BD96D}" type="slidenum">
              <a:rPr lang="en-US" altLang="tr-TR" sz="1200" smtClean="0">
                <a:solidFill>
                  <a:srgbClr val="898989"/>
                </a:solidFill>
              </a:rPr>
              <a:pPr>
                <a:lnSpc>
                  <a:spcPct val="100000"/>
                </a:lnSpc>
                <a:spcBef>
                  <a:spcPct val="0"/>
                </a:spcBef>
                <a:buFontTx/>
                <a:buNone/>
              </a:pPr>
              <a:t>17</a:t>
            </a:fld>
            <a:endParaRPr lang="en-US" altLang="tr-TR" sz="1200">
              <a:solidFill>
                <a:srgbClr val="898989"/>
              </a:solidFill>
            </a:endParaRPr>
          </a:p>
        </p:txBody>
      </p:sp>
      <p:cxnSp>
        <p:nvCxnSpPr>
          <p:cNvPr id="4" name="Straight Connector 6">
            <a:extLst>
              <a:ext uri="{FF2B5EF4-FFF2-40B4-BE49-F238E27FC236}">
                <a16:creationId xmlns:a16="http://schemas.microsoft.com/office/drawing/2014/main" id="{DE43F53E-9DF9-EF03-4DA4-B2A8464FF473}"/>
              </a:ext>
            </a:extLst>
          </p:cNvPr>
          <p:cNvCxnSpPr/>
          <p:nvPr/>
        </p:nvCxnSpPr>
        <p:spPr>
          <a:xfrm flipV="1">
            <a:off x="2170113" y="957263"/>
            <a:ext cx="495300" cy="1587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9940" name="İçerik Yer Tutucusu 2">
            <a:extLst>
              <a:ext uri="{FF2B5EF4-FFF2-40B4-BE49-F238E27FC236}">
                <a16:creationId xmlns:a16="http://schemas.microsoft.com/office/drawing/2014/main" id="{479EBC26-BC73-C332-660F-91AD10B30540}"/>
              </a:ext>
            </a:extLst>
          </p:cNvPr>
          <p:cNvSpPr txBox="1">
            <a:spLocks noChangeArrowheads="1"/>
          </p:cNvSpPr>
          <p:nvPr/>
        </p:nvSpPr>
        <p:spPr bwMode="auto">
          <a:xfrm>
            <a:off x="2281238" y="571500"/>
            <a:ext cx="2314575" cy="36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buFont typeface="Arial" panose="020B0604020202020204" pitchFamily="34" charset="0"/>
              <a:buNone/>
            </a:pPr>
            <a:r>
              <a:rPr lang="tr-TR" altLang="tr-TR" sz="1800" b="1">
                <a:solidFill>
                  <a:srgbClr val="AD119B"/>
                </a:solidFill>
                <a:latin typeface="Open Sans" panose="020B0606030504020204" pitchFamily="34" charset="0"/>
                <a:cs typeface="Open Sans" panose="020B0606030504020204" pitchFamily="34" charset="0"/>
              </a:rPr>
              <a:t>BDDK YETKİ YAZISI</a:t>
            </a:r>
            <a:endParaRPr lang="tr-TR" altLang="tr-TR" sz="1800">
              <a:solidFill>
                <a:srgbClr val="AD119B"/>
              </a:solidFill>
              <a:latin typeface="Open Sans" panose="020B0606030504020204" pitchFamily="34" charset="0"/>
              <a:cs typeface="Open Sans" panose="020B0606030504020204" pitchFamily="34" charset="0"/>
            </a:endParaRPr>
          </a:p>
        </p:txBody>
      </p:sp>
      <p:sp>
        <p:nvSpPr>
          <p:cNvPr id="7" name="Rectangle 7">
            <a:extLst>
              <a:ext uri="{FF2B5EF4-FFF2-40B4-BE49-F238E27FC236}">
                <a16:creationId xmlns:a16="http://schemas.microsoft.com/office/drawing/2014/main" id="{186D4695-AB37-61BB-4491-82A03399C737}"/>
              </a:ext>
            </a:extLst>
          </p:cNvPr>
          <p:cNvSpPr/>
          <p:nvPr/>
        </p:nvSpPr>
        <p:spPr>
          <a:xfrm>
            <a:off x="2333625" y="947738"/>
            <a:ext cx="420688" cy="2698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9942" name="Rectangle 2">
            <a:extLst>
              <a:ext uri="{FF2B5EF4-FFF2-40B4-BE49-F238E27FC236}">
                <a16:creationId xmlns:a16="http://schemas.microsoft.com/office/drawing/2014/main" id="{29995E4C-3C0A-8B7D-900E-602C59E3AA0C}"/>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p>
        </p:txBody>
      </p:sp>
      <p:pic>
        <p:nvPicPr>
          <p:cNvPr id="56322" name="Picture 2">
            <a:extLst>
              <a:ext uri="{FF2B5EF4-FFF2-40B4-BE49-F238E27FC236}">
                <a16:creationId xmlns:a16="http://schemas.microsoft.com/office/drawing/2014/main" id="{AE1B4793-DA12-2099-EE0F-C5F65D85B2AC}"/>
              </a:ext>
            </a:extLst>
          </p:cNvPr>
          <p:cNvPicPr>
            <a:picLocks noChangeAspect="1" noChangeArrowheads="1"/>
          </p:cNvPicPr>
          <p:nvPr/>
        </p:nvPicPr>
        <p:blipFill>
          <a:blip r:embed="rId2"/>
          <a:stretch>
            <a:fillRect/>
          </a:stretch>
        </p:blipFill>
        <p:spPr bwMode="auto">
          <a:xfrm>
            <a:off x="1902269" y="1085772"/>
            <a:ext cx="3755558" cy="531458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nvGrpSpPr>
          <p:cNvPr id="39944" name="Group 307">
            <a:extLst>
              <a:ext uri="{FF2B5EF4-FFF2-40B4-BE49-F238E27FC236}">
                <a16:creationId xmlns:a16="http://schemas.microsoft.com/office/drawing/2014/main" id="{CB162040-3085-F49B-71EE-AF0A45EFB6B8}"/>
              </a:ext>
            </a:extLst>
          </p:cNvPr>
          <p:cNvGrpSpPr>
            <a:grpSpLocks/>
          </p:cNvGrpSpPr>
          <p:nvPr/>
        </p:nvGrpSpPr>
        <p:grpSpPr bwMode="auto">
          <a:xfrm>
            <a:off x="-3175" y="6743700"/>
            <a:ext cx="12195175" cy="114300"/>
            <a:chOff x="-3175" y="4762500"/>
            <a:chExt cx="12195174" cy="2092323"/>
          </a:xfrm>
        </p:grpSpPr>
        <p:sp>
          <p:nvSpPr>
            <p:cNvPr id="11" name="Rectangle 308">
              <a:extLst>
                <a:ext uri="{FF2B5EF4-FFF2-40B4-BE49-F238E27FC236}">
                  <a16:creationId xmlns:a16="http://schemas.microsoft.com/office/drawing/2014/main" id="{F2FDF1B0-994C-61F4-EBF3-8F7A84B4E783}"/>
                </a:ext>
              </a:extLst>
            </p:cNvPr>
            <p:cNvSpPr/>
            <p:nvPr/>
          </p:nvSpPr>
          <p:spPr>
            <a:xfrm>
              <a:off x="-3175" y="4762500"/>
              <a:ext cx="2032000" cy="2092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2" name="Rectangle 309">
              <a:extLst>
                <a:ext uri="{FF2B5EF4-FFF2-40B4-BE49-F238E27FC236}">
                  <a16:creationId xmlns:a16="http://schemas.microsoft.com/office/drawing/2014/main" id="{2AE8E12F-ED42-AD5C-9517-CA25F4634468}"/>
                </a:ext>
              </a:extLst>
            </p:cNvPr>
            <p:cNvSpPr/>
            <p:nvPr/>
          </p:nvSpPr>
          <p:spPr>
            <a:xfrm>
              <a:off x="2027238" y="4762500"/>
              <a:ext cx="2032000" cy="2092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3" name="Rectangle 310">
              <a:extLst>
                <a:ext uri="{FF2B5EF4-FFF2-40B4-BE49-F238E27FC236}">
                  <a16:creationId xmlns:a16="http://schemas.microsoft.com/office/drawing/2014/main" id="{A2FC6111-558C-CD1D-F610-69863420E02E}"/>
                </a:ext>
              </a:extLst>
            </p:cNvPr>
            <p:cNvSpPr/>
            <p:nvPr/>
          </p:nvSpPr>
          <p:spPr>
            <a:xfrm>
              <a:off x="4059238" y="4762500"/>
              <a:ext cx="2032000" cy="2092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4" name="Rectangle 311">
              <a:extLst>
                <a:ext uri="{FF2B5EF4-FFF2-40B4-BE49-F238E27FC236}">
                  <a16:creationId xmlns:a16="http://schemas.microsoft.com/office/drawing/2014/main" id="{CBB17931-A04C-EBA2-73CD-22635E8B5900}"/>
                </a:ext>
              </a:extLst>
            </p:cNvPr>
            <p:cNvSpPr/>
            <p:nvPr/>
          </p:nvSpPr>
          <p:spPr>
            <a:xfrm>
              <a:off x="6089650" y="4762500"/>
              <a:ext cx="2032000" cy="2092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5" name="Rectangle 312">
              <a:extLst>
                <a:ext uri="{FF2B5EF4-FFF2-40B4-BE49-F238E27FC236}">
                  <a16:creationId xmlns:a16="http://schemas.microsoft.com/office/drawing/2014/main" id="{7141EBE8-60EB-CB19-5CB9-24E2B2C4A248}"/>
                </a:ext>
              </a:extLst>
            </p:cNvPr>
            <p:cNvSpPr/>
            <p:nvPr/>
          </p:nvSpPr>
          <p:spPr>
            <a:xfrm>
              <a:off x="8118474" y="4762500"/>
              <a:ext cx="2032000" cy="2092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6" name="Rectangle 313">
              <a:extLst>
                <a:ext uri="{FF2B5EF4-FFF2-40B4-BE49-F238E27FC236}">
                  <a16:creationId xmlns:a16="http://schemas.microsoft.com/office/drawing/2014/main" id="{E3C8C1C0-B749-8CCF-7C04-37A6E80CF296}"/>
                </a:ext>
              </a:extLst>
            </p:cNvPr>
            <p:cNvSpPr/>
            <p:nvPr/>
          </p:nvSpPr>
          <p:spPr>
            <a:xfrm>
              <a:off x="10148887" y="4762500"/>
              <a:ext cx="2043112" cy="20923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pic>
        <p:nvPicPr>
          <p:cNvPr id="17" name="Picture 2">
            <a:extLst>
              <a:ext uri="{FF2B5EF4-FFF2-40B4-BE49-F238E27FC236}">
                <a16:creationId xmlns:a16="http://schemas.microsoft.com/office/drawing/2014/main" id="{A0AD90D2-2E21-A54D-86A0-056B917C9FB1}"/>
              </a:ext>
            </a:extLst>
          </p:cNvPr>
          <p:cNvPicPr>
            <a:picLocks noChangeAspect="1" noChangeArrowheads="1"/>
          </p:cNvPicPr>
          <p:nvPr/>
        </p:nvPicPr>
        <p:blipFill>
          <a:blip r:embed="rId3"/>
          <a:stretch>
            <a:fillRect/>
          </a:stretch>
        </p:blipFill>
        <p:spPr bwMode="auto">
          <a:xfrm>
            <a:off x="6712577" y="1054618"/>
            <a:ext cx="3733749" cy="536487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cxnSp>
        <p:nvCxnSpPr>
          <p:cNvPr id="20" name="Straight Connector 6">
            <a:extLst>
              <a:ext uri="{FF2B5EF4-FFF2-40B4-BE49-F238E27FC236}">
                <a16:creationId xmlns:a16="http://schemas.microsoft.com/office/drawing/2014/main" id="{8E6BA93E-588A-035C-7648-B4144CC9766E}"/>
              </a:ext>
            </a:extLst>
          </p:cNvPr>
          <p:cNvCxnSpPr/>
          <p:nvPr/>
        </p:nvCxnSpPr>
        <p:spPr>
          <a:xfrm flipV="1">
            <a:off x="6694488" y="935038"/>
            <a:ext cx="495300" cy="1587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9947" name="İçerik Yer Tutucusu 2">
            <a:extLst>
              <a:ext uri="{FF2B5EF4-FFF2-40B4-BE49-F238E27FC236}">
                <a16:creationId xmlns:a16="http://schemas.microsoft.com/office/drawing/2014/main" id="{47BFE540-28D5-490C-FF27-79E39915793B}"/>
              </a:ext>
            </a:extLst>
          </p:cNvPr>
          <p:cNvSpPr txBox="1">
            <a:spLocks noChangeArrowheads="1"/>
          </p:cNvSpPr>
          <p:nvPr/>
        </p:nvSpPr>
        <p:spPr bwMode="auto">
          <a:xfrm>
            <a:off x="6805613" y="549275"/>
            <a:ext cx="23145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buFont typeface="Arial" panose="020B0604020202020204" pitchFamily="34" charset="0"/>
              <a:buNone/>
            </a:pPr>
            <a:r>
              <a:rPr lang="tr-TR" altLang="tr-TR" sz="1800" b="1">
                <a:solidFill>
                  <a:srgbClr val="AD119B"/>
                </a:solidFill>
                <a:latin typeface="Open Sans" panose="020B0606030504020204" pitchFamily="34" charset="0"/>
                <a:cs typeface="Open Sans" panose="020B0606030504020204" pitchFamily="34" charset="0"/>
              </a:rPr>
              <a:t>SPK YETKİ YAZISI</a:t>
            </a:r>
            <a:endParaRPr lang="tr-TR" altLang="tr-TR" sz="1800">
              <a:solidFill>
                <a:srgbClr val="AD119B"/>
              </a:solidFill>
              <a:latin typeface="Open Sans" panose="020B0606030504020204" pitchFamily="34" charset="0"/>
              <a:cs typeface="Open Sans" panose="020B0606030504020204" pitchFamily="34" charset="0"/>
            </a:endParaRPr>
          </a:p>
        </p:txBody>
      </p:sp>
      <p:sp>
        <p:nvSpPr>
          <p:cNvPr id="22" name="Rectangle 7">
            <a:extLst>
              <a:ext uri="{FF2B5EF4-FFF2-40B4-BE49-F238E27FC236}">
                <a16:creationId xmlns:a16="http://schemas.microsoft.com/office/drawing/2014/main" id="{B99305E2-B385-6DBE-8EB9-CB48AC54B744}"/>
              </a:ext>
            </a:extLst>
          </p:cNvPr>
          <p:cNvSpPr/>
          <p:nvPr/>
        </p:nvSpPr>
        <p:spPr>
          <a:xfrm>
            <a:off x="6858000" y="927100"/>
            <a:ext cx="420688" cy="269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ayt Numarası Yer Tutucusu 1">
            <a:extLst>
              <a:ext uri="{FF2B5EF4-FFF2-40B4-BE49-F238E27FC236}">
                <a16:creationId xmlns:a16="http://schemas.microsoft.com/office/drawing/2014/main" id="{20B691DB-DEC0-57EB-7A4E-A1E2CFD7EAA0}"/>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nSpc>
                <a:spcPct val="100000"/>
              </a:lnSpc>
              <a:spcBef>
                <a:spcPct val="0"/>
              </a:spcBef>
              <a:buFontTx/>
              <a:buNone/>
            </a:pPr>
            <a:fld id="{C4EBDFAC-490B-4CB5-8FCC-93E5E9FB4921}" type="slidenum">
              <a:rPr lang="en-US" altLang="tr-TR" sz="1200" smtClean="0">
                <a:solidFill>
                  <a:srgbClr val="898989"/>
                </a:solidFill>
              </a:rPr>
              <a:pPr>
                <a:lnSpc>
                  <a:spcPct val="100000"/>
                </a:lnSpc>
                <a:spcBef>
                  <a:spcPct val="0"/>
                </a:spcBef>
                <a:buFontTx/>
                <a:buNone/>
              </a:pPr>
              <a:t>18</a:t>
            </a:fld>
            <a:endParaRPr lang="en-US" altLang="tr-TR" sz="1200">
              <a:solidFill>
                <a:srgbClr val="898989"/>
              </a:solidFill>
            </a:endParaRPr>
          </a:p>
        </p:txBody>
      </p:sp>
      <p:sp>
        <p:nvSpPr>
          <p:cNvPr id="40963" name="Rectangle 2">
            <a:extLst>
              <a:ext uri="{FF2B5EF4-FFF2-40B4-BE49-F238E27FC236}">
                <a16:creationId xmlns:a16="http://schemas.microsoft.com/office/drawing/2014/main" id="{86C1FBA5-6B6C-60E2-66AF-7B0E0CDCE8AA}"/>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p>
        </p:txBody>
      </p:sp>
      <p:grpSp>
        <p:nvGrpSpPr>
          <p:cNvPr id="40964" name="Group 307">
            <a:extLst>
              <a:ext uri="{FF2B5EF4-FFF2-40B4-BE49-F238E27FC236}">
                <a16:creationId xmlns:a16="http://schemas.microsoft.com/office/drawing/2014/main" id="{934F4BAC-489C-724E-5C08-88C6A8CE105F}"/>
              </a:ext>
            </a:extLst>
          </p:cNvPr>
          <p:cNvGrpSpPr>
            <a:grpSpLocks/>
          </p:cNvGrpSpPr>
          <p:nvPr/>
        </p:nvGrpSpPr>
        <p:grpSpPr bwMode="auto">
          <a:xfrm>
            <a:off x="-3175" y="6743700"/>
            <a:ext cx="12195175" cy="114300"/>
            <a:chOff x="-3175" y="4762500"/>
            <a:chExt cx="12195174" cy="2092323"/>
          </a:xfrm>
        </p:grpSpPr>
        <p:sp>
          <p:nvSpPr>
            <p:cNvPr id="11" name="Rectangle 308">
              <a:extLst>
                <a:ext uri="{FF2B5EF4-FFF2-40B4-BE49-F238E27FC236}">
                  <a16:creationId xmlns:a16="http://schemas.microsoft.com/office/drawing/2014/main" id="{A9445D15-E117-01A4-2071-A732BC54EA03}"/>
                </a:ext>
              </a:extLst>
            </p:cNvPr>
            <p:cNvSpPr/>
            <p:nvPr/>
          </p:nvSpPr>
          <p:spPr>
            <a:xfrm>
              <a:off x="-3175" y="4762500"/>
              <a:ext cx="2032000" cy="2092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2" name="Rectangle 309">
              <a:extLst>
                <a:ext uri="{FF2B5EF4-FFF2-40B4-BE49-F238E27FC236}">
                  <a16:creationId xmlns:a16="http://schemas.microsoft.com/office/drawing/2014/main" id="{964A9B58-6CBB-62CC-E448-FADA4EB30DAA}"/>
                </a:ext>
              </a:extLst>
            </p:cNvPr>
            <p:cNvSpPr/>
            <p:nvPr/>
          </p:nvSpPr>
          <p:spPr>
            <a:xfrm>
              <a:off x="2027238" y="4762500"/>
              <a:ext cx="2032000" cy="2092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3" name="Rectangle 310">
              <a:extLst>
                <a:ext uri="{FF2B5EF4-FFF2-40B4-BE49-F238E27FC236}">
                  <a16:creationId xmlns:a16="http://schemas.microsoft.com/office/drawing/2014/main" id="{0529217E-9CE4-2775-6D93-0306726976A5}"/>
                </a:ext>
              </a:extLst>
            </p:cNvPr>
            <p:cNvSpPr/>
            <p:nvPr/>
          </p:nvSpPr>
          <p:spPr>
            <a:xfrm>
              <a:off x="4059238" y="4762500"/>
              <a:ext cx="2032000" cy="2092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4" name="Rectangle 311">
              <a:extLst>
                <a:ext uri="{FF2B5EF4-FFF2-40B4-BE49-F238E27FC236}">
                  <a16:creationId xmlns:a16="http://schemas.microsoft.com/office/drawing/2014/main" id="{A63CE13E-38A4-E8C9-44E6-A50FAECC75B6}"/>
                </a:ext>
              </a:extLst>
            </p:cNvPr>
            <p:cNvSpPr/>
            <p:nvPr/>
          </p:nvSpPr>
          <p:spPr>
            <a:xfrm>
              <a:off x="6089650" y="4762500"/>
              <a:ext cx="2032000" cy="2092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5" name="Rectangle 312">
              <a:extLst>
                <a:ext uri="{FF2B5EF4-FFF2-40B4-BE49-F238E27FC236}">
                  <a16:creationId xmlns:a16="http://schemas.microsoft.com/office/drawing/2014/main" id="{585CD700-F270-1B3E-E947-4BFC39D7AF00}"/>
                </a:ext>
              </a:extLst>
            </p:cNvPr>
            <p:cNvSpPr/>
            <p:nvPr/>
          </p:nvSpPr>
          <p:spPr>
            <a:xfrm>
              <a:off x="8118474" y="4762500"/>
              <a:ext cx="2032000" cy="2092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6" name="Rectangle 313">
              <a:extLst>
                <a:ext uri="{FF2B5EF4-FFF2-40B4-BE49-F238E27FC236}">
                  <a16:creationId xmlns:a16="http://schemas.microsoft.com/office/drawing/2014/main" id="{C5328B8A-CDCF-D68E-66FF-9E4AFC7603FE}"/>
                </a:ext>
              </a:extLst>
            </p:cNvPr>
            <p:cNvSpPr/>
            <p:nvPr/>
          </p:nvSpPr>
          <p:spPr>
            <a:xfrm>
              <a:off x="10148887" y="4762500"/>
              <a:ext cx="2043112" cy="20923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cxnSp>
        <p:nvCxnSpPr>
          <p:cNvPr id="27" name="Straight Connector 6">
            <a:extLst>
              <a:ext uri="{FF2B5EF4-FFF2-40B4-BE49-F238E27FC236}">
                <a16:creationId xmlns:a16="http://schemas.microsoft.com/office/drawing/2014/main" id="{C744808B-9F05-93A9-99F6-DD313C91B737}"/>
              </a:ext>
            </a:extLst>
          </p:cNvPr>
          <p:cNvCxnSpPr/>
          <p:nvPr/>
        </p:nvCxnSpPr>
        <p:spPr>
          <a:xfrm flipV="1">
            <a:off x="2155825" y="969963"/>
            <a:ext cx="495300" cy="1587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966" name="İçerik Yer Tutucusu 2">
            <a:extLst>
              <a:ext uri="{FF2B5EF4-FFF2-40B4-BE49-F238E27FC236}">
                <a16:creationId xmlns:a16="http://schemas.microsoft.com/office/drawing/2014/main" id="{012E241E-80B7-88C2-61C8-F5FA8253F875}"/>
              </a:ext>
            </a:extLst>
          </p:cNvPr>
          <p:cNvSpPr txBox="1">
            <a:spLocks noChangeArrowheads="1"/>
          </p:cNvSpPr>
          <p:nvPr/>
        </p:nvSpPr>
        <p:spPr bwMode="auto">
          <a:xfrm>
            <a:off x="2266950" y="582613"/>
            <a:ext cx="32146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buFont typeface="Arial" panose="020B0604020202020204" pitchFamily="34" charset="0"/>
              <a:buNone/>
            </a:pPr>
            <a:r>
              <a:rPr lang="tr-TR" altLang="tr-TR" sz="1800" b="1">
                <a:solidFill>
                  <a:srgbClr val="AD119B"/>
                </a:solidFill>
                <a:latin typeface="Open Sans" panose="020B0606030504020204" pitchFamily="34" charset="0"/>
                <a:cs typeface="Open Sans" panose="020B0606030504020204" pitchFamily="34" charset="0"/>
              </a:rPr>
              <a:t>RICS BELGESİ</a:t>
            </a:r>
          </a:p>
        </p:txBody>
      </p:sp>
      <p:sp>
        <p:nvSpPr>
          <p:cNvPr id="29" name="Rectangle 7">
            <a:extLst>
              <a:ext uri="{FF2B5EF4-FFF2-40B4-BE49-F238E27FC236}">
                <a16:creationId xmlns:a16="http://schemas.microsoft.com/office/drawing/2014/main" id="{EA351F3B-DE9E-9234-0399-85D639935204}"/>
              </a:ext>
            </a:extLst>
          </p:cNvPr>
          <p:cNvSpPr/>
          <p:nvPr/>
        </p:nvSpPr>
        <p:spPr>
          <a:xfrm>
            <a:off x="2319338" y="960438"/>
            <a:ext cx="420687" cy="2698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23" name="Straight Connector 6">
            <a:extLst>
              <a:ext uri="{FF2B5EF4-FFF2-40B4-BE49-F238E27FC236}">
                <a16:creationId xmlns:a16="http://schemas.microsoft.com/office/drawing/2014/main" id="{79C7045D-D1B5-0CD0-BE68-D5580D4C05F1}"/>
              </a:ext>
            </a:extLst>
          </p:cNvPr>
          <p:cNvCxnSpPr/>
          <p:nvPr/>
        </p:nvCxnSpPr>
        <p:spPr>
          <a:xfrm flipV="1">
            <a:off x="6692900" y="965200"/>
            <a:ext cx="495300" cy="1587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969" name="İçerik Yer Tutucusu 2">
            <a:extLst>
              <a:ext uri="{FF2B5EF4-FFF2-40B4-BE49-F238E27FC236}">
                <a16:creationId xmlns:a16="http://schemas.microsoft.com/office/drawing/2014/main" id="{B54E0362-2CCF-B50F-DED6-EC6DEC1BBCBF}"/>
              </a:ext>
            </a:extLst>
          </p:cNvPr>
          <p:cNvSpPr txBox="1">
            <a:spLocks noChangeArrowheads="1"/>
          </p:cNvSpPr>
          <p:nvPr/>
        </p:nvSpPr>
        <p:spPr bwMode="auto">
          <a:xfrm>
            <a:off x="6804025" y="579438"/>
            <a:ext cx="41275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buFont typeface="Arial" panose="020B0604020202020204" pitchFamily="34" charset="0"/>
              <a:buNone/>
            </a:pPr>
            <a:r>
              <a:rPr lang="tr-TR" altLang="tr-TR" sz="1800" b="1">
                <a:solidFill>
                  <a:srgbClr val="AD119B"/>
                </a:solidFill>
                <a:latin typeface="Open Sans" panose="020B0606030504020204" pitchFamily="34" charset="0"/>
                <a:cs typeface="Open Sans" panose="020B0606030504020204" pitchFamily="34" charset="0"/>
              </a:rPr>
              <a:t>MESLEKİ SORUMLULUK SİGORTASI</a:t>
            </a:r>
          </a:p>
        </p:txBody>
      </p:sp>
      <p:sp>
        <p:nvSpPr>
          <p:cNvPr id="25" name="Rectangle 7">
            <a:extLst>
              <a:ext uri="{FF2B5EF4-FFF2-40B4-BE49-F238E27FC236}">
                <a16:creationId xmlns:a16="http://schemas.microsoft.com/office/drawing/2014/main" id="{0E65F5BE-02E9-7672-888B-D7492E74589B}"/>
              </a:ext>
            </a:extLst>
          </p:cNvPr>
          <p:cNvSpPr/>
          <p:nvPr/>
        </p:nvSpPr>
        <p:spPr>
          <a:xfrm>
            <a:off x="6856413" y="957263"/>
            <a:ext cx="420687" cy="2698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3" name="Resim 2">
            <a:extLst>
              <a:ext uri="{FF2B5EF4-FFF2-40B4-BE49-F238E27FC236}">
                <a16:creationId xmlns:a16="http://schemas.microsoft.com/office/drawing/2014/main" id="{564E5B0B-783B-495D-B7E8-27F87865171D}"/>
              </a:ext>
            </a:extLst>
          </p:cNvPr>
          <p:cNvPicPr>
            <a:picLocks noChangeAspect="1"/>
          </p:cNvPicPr>
          <p:nvPr/>
        </p:nvPicPr>
        <p:blipFill>
          <a:blip r:embed="rId2"/>
          <a:stretch>
            <a:fillRect/>
          </a:stretch>
        </p:blipFill>
        <p:spPr>
          <a:xfrm>
            <a:off x="6827538" y="1009586"/>
            <a:ext cx="3875756" cy="5500472"/>
          </a:xfrm>
          <a:prstGeom prst="rect">
            <a:avLst/>
          </a:prstGeom>
        </p:spPr>
      </p:pic>
      <p:pic>
        <p:nvPicPr>
          <p:cNvPr id="5" name="Resim 4">
            <a:extLst>
              <a:ext uri="{FF2B5EF4-FFF2-40B4-BE49-F238E27FC236}">
                <a16:creationId xmlns:a16="http://schemas.microsoft.com/office/drawing/2014/main" id="{728F6EA0-F02A-4EA8-8B8B-934D323F2538}"/>
              </a:ext>
            </a:extLst>
          </p:cNvPr>
          <p:cNvPicPr>
            <a:picLocks noChangeAspect="1"/>
          </p:cNvPicPr>
          <p:nvPr/>
        </p:nvPicPr>
        <p:blipFill rotWithShape="1">
          <a:blip r:embed="rId3"/>
          <a:srcRect l="1412" t="1136" r="2103" b="1545"/>
          <a:stretch/>
        </p:blipFill>
        <p:spPr>
          <a:xfrm>
            <a:off x="2319338" y="1055262"/>
            <a:ext cx="3814762" cy="5383076"/>
          </a:xfrm>
          <a:prstGeom prst="rect">
            <a:avLst/>
          </a:prstGeom>
          <a:ln w="25400">
            <a:solidFill>
              <a:srgbClr val="00B0F0"/>
            </a:solidFill>
          </a:ln>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ayt Numarası Yer Tutucusu 1">
            <a:extLst>
              <a:ext uri="{FF2B5EF4-FFF2-40B4-BE49-F238E27FC236}">
                <a16:creationId xmlns:a16="http://schemas.microsoft.com/office/drawing/2014/main" id="{6E4CBFD4-F43D-0E1B-35BB-3F07B32817F6}"/>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nSpc>
                <a:spcPct val="100000"/>
              </a:lnSpc>
              <a:spcBef>
                <a:spcPct val="0"/>
              </a:spcBef>
              <a:buFontTx/>
              <a:buNone/>
            </a:pPr>
            <a:fld id="{056858C9-0AF7-47A6-B2E9-183BE3A30193}" type="slidenum">
              <a:rPr lang="en-US" altLang="tr-TR" sz="1200" smtClean="0">
                <a:solidFill>
                  <a:srgbClr val="898989"/>
                </a:solidFill>
              </a:rPr>
              <a:pPr>
                <a:lnSpc>
                  <a:spcPct val="100000"/>
                </a:lnSpc>
                <a:spcBef>
                  <a:spcPct val="0"/>
                </a:spcBef>
                <a:buFontTx/>
                <a:buNone/>
              </a:pPr>
              <a:t>19</a:t>
            </a:fld>
            <a:endParaRPr lang="en-US" altLang="tr-TR" sz="1200">
              <a:solidFill>
                <a:srgbClr val="898989"/>
              </a:solidFill>
            </a:endParaRPr>
          </a:p>
        </p:txBody>
      </p:sp>
      <p:sp>
        <p:nvSpPr>
          <p:cNvPr id="34" name="TextBox 14">
            <a:extLst>
              <a:ext uri="{FF2B5EF4-FFF2-40B4-BE49-F238E27FC236}">
                <a16:creationId xmlns:a16="http://schemas.microsoft.com/office/drawing/2014/main" id="{880A3E59-45C2-568A-AB64-860D3AB80CFE}"/>
              </a:ext>
            </a:extLst>
          </p:cNvPr>
          <p:cNvSpPr txBox="1"/>
          <p:nvPr/>
        </p:nvSpPr>
        <p:spPr>
          <a:xfrm>
            <a:off x="1947863" y="3605213"/>
            <a:ext cx="2801937" cy="246062"/>
          </a:xfrm>
          <a:prstGeom prst="rect">
            <a:avLst/>
          </a:prstGeom>
          <a:noFill/>
        </p:spPr>
        <p:txBody>
          <a:bodyPr>
            <a:spAutoFit/>
          </a:bodyPr>
          <a:lstStyle/>
          <a:p>
            <a:pPr eaLnBrk="1" fontAlgn="auto" hangingPunct="1">
              <a:spcBef>
                <a:spcPts val="0"/>
              </a:spcBef>
              <a:spcAft>
                <a:spcPts val="0"/>
              </a:spcAft>
              <a:defRPr/>
            </a:pPr>
            <a:r>
              <a:rPr lang="tr-TR" sz="1000" dirty="0">
                <a:solidFill>
                  <a:schemeClr val="bg2">
                    <a:lumMod val="10000"/>
                  </a:schemeClr>
                </a:solidFill>
                <a:latin typeface="Open Sans" pitchFamily="34" charset="0"/>
                <a:ea typeface="Open Sans" pitchFamily="34" charset="0"/>
                <a:cs typeface="Open Sans" pitchFamily="34" charset="0"/>
              </a:rPr>
              <a:t>vizyon@vizyongd.com</a:t>
            </a:r>
            <a:endParaRPr lang="id-ID" sz="1000" dirty="0">
              <a:solidFill>
                <a:schemeClr val="bg2">
                  <a:lumMod val="10000"/>
                </a:schemeClr>
              </a:solidFill>
              <a:latin typeface="Open Sans" pitchFamily="34" charset="0"/>
              <a:ea typeface="Open Sans" pitchFamily="34" charset="0"/>
              <a:cs typeface="Open Sans" pitchFamily="34" charset="0"/>
            </a:endParaRPr>
          </a:p>
        </p:txBody>
      </p:sp>
      <p:sp>
        <p:nvSpPr>
          <p:cNvPr id="35" name="TextBox 15">
            <a:extLst>
              <a:ext uri="{FF2B5EF4-FFF2-40B4-BE49-F238E27FC236}">
                <a16:creationId xmlns:a16="http://schemas.microsoft.com/office/drawing/2014/main" id="{E788DE79-5401-18EF-1304-E893622C7299}"/>
              </a:ext>
            </a:extLst>
          </p:cNvPr>
          <p:cNvSpPr txBox="1"/>
          <p:nvPr/>
        </p:nvSpPr>
        <p:spPr>
          <a:xfrm>
            <a:off x="1938338" y="3898900"/>
            <a:ext cx="2811462" cy="246063"/>
          </a:xfrm>
          <a:prstGeom prst="rect">
            <a:avLst/>
          </a:prstGeom>
          <a:noFill/>
        </p:spPr>
        <p:txBody>
          <a:bodyPr>
            <a:spAutoFit/>
          </a:bodyPr>
          <a:lstStyle/>
          <a:p>
            <a:pPr eaLnBrk="1" fontAlgn="auto" hangingPunct="1">
              <a:spcBef>
                <a:spcPts val="0"/>
              </a:spcBef>
              <a:spcAft>
                <a:spcPts val="0"/>
              </a:spcAft>
              <a:defRPr/>
            </a:pPr>
            <a:r>
              <a:rPr lang="tr-TR" sz="1000">
                <a:latin typeface="Open Sans" pitchFamily="34" charset="0"/>
                <a:ea typeface="Open Sans" pitchFamily="34" charset="0"/>
                <a:cs typeface="Open Sans" pitchFamily="34" charset="0"/>
              </a:rPr>
              <a:t>(0312) 472 24 15</a:t>
            </a:r>
            <a:endParaRPr lang="id-ID" sz="1000">
              <a:solidFill>
                <a:schemeClr val="bg2">
                  <a:lumMod val="10000"/>
                </a:schemeClr>
              </a:solidFill>
              <a:latin typeface="Open Sans" pitchFamily="34" charset="0"/>
              <a:ea typeface="Open Sans" pitchFamily="34" charset="0"/>
              <a:cs typeface="Open Sans" pitchFamily="34" charset="0"/>
            </a:endParaRPr>
          </a:p>
        </p:txBody>
      </p:sp>
      <p:grpSp>
        <p:nvGrpSpPr>
          <p:cNvPr id="36" name="Grup 35">
            <a:extLst>
              <a:ext uri="{FF2B5EF4-FFF2-40B4-BE49-F238E27FC236}">
                <a16:creationId xmlns:a16="http://schemas.microsoft.com/office/drawing/2014/main" id="{61423806-D2E0-F39F-BFBD-5B7BD29246C1}"/>
              </a:ext>
            </a:extLst>
          </p:cNvPr>
          <p:cNvGrpSpPr/>
          <p:nvPr/>
        </p:nvGrpSpPr>
        <p:grpSpPr>
          <a:xfrm flipH="1">
            <a:off x="1746171" y="3664088"/>
            <a:ext cx="198435" cy="128471"/>
            <a:chOff x="5682010" y="5792554"/>
            <a:chExt cx="304839" cy="191785"/>
          </a:xfrm>
          <a:solidFill>
            <a:schemeClr val="accent2">
              <a:lumMod val="60000"/>
              <a:lumOff val="40000"/>
            </a:schemeClr>
          </a:solidFill>
        </p:grpSpPr>
        <p:sp>
          <p:nvSpPr>
            <p:cNvPr id="37" name="Freeform 108">
              <a:extLst>
                <a:ext uri="{FF2B5EF4-FFF2-40B4-BE49-F238E27FC236}">
                  <a16:creationId xmlns:a16="http://schemas.microsoft.com/office/drawing/2014/main" id="{D0C0649C-CF76-E652-1675-B163A503E01A}"/>
                </a:ext>
              </a:extLst>
            </p:cNvPr>
            <p:cNvSpPr>
              <a:spLocks/>
            </p:cNvSpPr>
            <p:nvPr/>
          </p:nvSpPr>
          <p:spPr bwMode="auto">
            <a:xfrm>
              <a:off x="5700184" y="5792554"/>
              <a:ext cx="272538" cy="121128"/>
            </a:xfrm>
            <a:custGeom>
              <a:avLst/>
              <a:gdLst>
                <a:gd name="T0" fmla="*/ 135 w 135"/>
                <a:gd name="T1" fmla="*/ 0 h 60"/>
                <a:gd name="T2" fmla="*/ 132 w 135"/>
                <a:gd name="T3" fmla="*/ 0 h 60"/>
                <a:gd name="T4" fmla="*/ 0 w 135"/>
                <a:gd name="T5" fmla="*/ 0 h 60"/>
                <a:gd name="T6" fmla="*/ 0 w 135"/>
                <a:gd name="T7" fmla="*/ 0 h 60"/>
                <a:gd name="T8" fmla="*/ 66 w 135"/>
                <a:gd name="T9" fmla="*/ 60 h 60"/>
                <a:gd name="T10" fmla="*/ 135 w 135"/>
                <a:gd name="T11" fmla="*/ 0 h 60"/>
              </a:gdLst>
              <a:ahLst/>
              <a:cxnLst>
                <a:cxn ang="0">
                  <a:pos x="T0" y="T1"/>
                </a:cxn>
                <a:cxn ang="0">
                  <a:pos x="T2" y="T3"/>
                </a:cxn>
                <a:cxn ang="0">
                  <a:pos x="T4" y="T5"/>
                </a:cxn>
                <a:cxn ang="0">
                  <a:pos x="T6" y="T7"/>
                </a:cxn>
                <a:cxn ang="0">
                  <a:pos x="T8" y="T9"/>
                </a:cxn>
                <a:cxn ang="0">
                  <a:pos x="T10" y="T11"/>
                </a:cxn>
              </a:cxnLst>
              <a:rect l="0" t="0" r="r" b="b"/>
              <a:pathLst>
                <a:path w="135" h="60">
                  <a:moveTo>
                    <a:pt x="135" y="0"/>
                  </a:moveTo>
                  <a:lnTo>
                    <a:pt x="132" y="0"/>
                  </a:lnTo>
                  <a:lnTo>
                    <a:pt x="0" y="0"/>
                  </a:lnTo>
                  <a:lnTo>
                    <a:pt x="0" y="0"/>
                  </a:lnTo>
                  <a:lnTo>
                    <a:pt x="66" y="60"/>
                  </a:lnTo>
                  <a:lnTo>
                    <a:pt x="135" y="0"/>
                  </a:ln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38" name="Freeform 109">
              <a:extLst>
                <a:ext uri="{FF2B5EF4-FFF2-40B4-BE49-F238E27FC236}">
                  <a16:creationId xmlns:a16="http://schemas.microsoft.com/office/drawing/2014/main" id="{9FAFD1D4-6CA6-C19F-E97A-8E29A16DA2AA}"/>
                </a:ext>
              </a:extLst>
            </p:cNvPr>
            <p:cNvSpPr>
              <a:spLocks/>
            </p:cNvSpPr>
            <p:nvPr/>
          </p:nvSpPr>
          <p:spPr bwMode="auto">
            <a:xfrm>
              <a:off x="5891965" y="5808704"/>
              <a:ext cx="94884" cy="165541"/>
            </a:xfrm>
            <a:custGeom>
              <a:avLst/>
              <a:gdLst>
                <a:gd name="T0" fmla="*/ 20 w 20"/>
                <a:gd name="T1" fmla="*/ 0 h 35"/>
                <a:gd name="T2" fmla="*/ 0 w 20"/>
                <a:gd name="T3" fmla="*/ 17 h 35"/>
                <a:gd name="T4" fmla="*/ 19 w 20"/>
                <a:gd name="T5" fmla="*/ 35 h 35"/>
                <a:gd name="T6" fmla="*/ 20 w 20"/>
                <a:gd name="T7" fmla="*/ 33 h 35"/>
                <a:gd name="T8" fmla="*/ 20 w 20"/>
                <a:gd name="T9" fmla="*/ 1 h 35"/>
                <a:gd name="T10" fmla="*/ 20 w 20"/>
                <a:gd name="T11" fmla="*/ 0 h 35"/>
              </a:gdLst>
              <a:ahLst/>
              <a:cxnLst>
                <a:cxn ang="0">
                  <a:pos x="T0" y="T1"/>
                </a:cxn>
                <a:cxn ang="0">
                  <a:pos x="T2" y="T3"/>
                </a:cxn>
                <a:cxn ang="0">
                  <a:pos x="T4" y="T5"/>
                </a:cxn>
                <a:cxn ang="0">
                  <a:pos x="T6" y="T7"/>
                </a:cxn>
                <a:cxn ang="0">
                  <a:pos x="T8" y="T9"/>
                </a:cxn>
                <a:cxn ang="0">
                  <a:pos x="T10" y="T11"/>
                </a:cxn>
              </a:cxnLst>
              <a:rect l="0" t="0" r="r" b="b"/>
              <a:pathLst>
                <a:path w="20" h="35">
                  <a:moveTo>
                    <a:pt x="20" y="0"/>
                  </a:moveTo>
                  <a:cubicBezTo>
                    <a:pt x="0" y="17"/>
                    <a:pt x="0" y="17"/>
                    <a:pt x="0" y="17"/>
                  </a:cubicBezTo>
                  <a:cubicBezTo>
                    <a:pt x="19" y="35"/>
                    <a:pt x="19" y="35"/>
                    <a:pt x="19" y="35"/>
                  </a:cubicBezTo>
                  <a:cubicBezTo>
                    <a:pt x="20" y="34"/>
                    <a:pt x="20" y="34"/>
                    <a:pt x="20" y="33"/>
                  </a:cubicBezTo>
                  <a:cubicBezTo>
                    <a:pt x="20" y="1"/>
                    <a:pt x="20" y="1"/>
                    <a:pt x="20" y="1"/>
                  </a:cubicBezTo>
                  <a:cubicBezTo>
                    <a:pt x="20" y="1"/>
                    <a:pt x="20" y="0"/>
                    <a:pt x="20" y="0"/>
                  </a:cubicBez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39" name="Freeform 110">
              <a:extLst>
                <a:ext uri="{FF2B5EF4-FFF2-40B4-BE49-F238E27FC236}">
                  <a16:creationId xmlns:a16="http://schemas.microsoft.com/office/drawing/2014/main" id="{C0046B25-C95B-30C9-8105-464FFC3F3CCD}"/>
                </a:ext>
              </a:extLst>
            </p:cNvPr>
            <p:cNvSpPr>
              <a:spLocks/>
            </p:cNvSpPr>
            <p:nvPr/>
          </p:nvSpPr>
          <p:spPr bwMode="auto">
            <a:xfrm>
              <a:off x="5682010" y="5802647"/>
              <a:ext cx="94884" cy="171598"/>
            </a:xfrm>
            <a:custGeom>
              <a:avLst/>
              <a:gdLst>
                <a:gd name="T0" fmla="*/ 0 w 20"/>
                <a:gd name="T1" fmla="*/ 0 h 36"/>
                <a:gd name="T2" fmla="*/ 0 w 20"/>
                <a:gd name="T3" fmla="*/ 2 h 36"/>
                <a:gd name="T4" fmla="*/ 0 w 20"/>
                <a:gd name="T5" fmla="*/ 34 h 36"/>
                <a:gd name="T6" fmla="*/ 0 w 20"/>
                <a:gd name="T7" fmla="*/ 36 h 36"/>
                <a:gd name="T8" fmla="*/ 20 w 20"/>
                <a:gd name="T9" fmla="*/ 18 h 36"/>
                <a:gd name="T10" fmla="*/ 0 w 20"/>
                <a:gd name="T11" fmla="*/ 0 h 36"/>
              </a:gdLst>
              <a:ahLst/>
              <a:cxnLst>
                <a:cxn ang="0">
                  <a:pos x="T0" y="T1"/>
                </a:cxn>
                <a:cxn ang="0">
                  <a:pos x="T2" y="T3"/>
                </a:cxn>
                <a:cxn ang="0">
                  <a:pos x="T4" y="T5"/>
                </a:cxn>
                <a:cxn ang="0">
                  <a:pos x="T6" y="T7"/>
                </a:cxn>
                <a:cxn ang="0">
                  <a:pos x="T8" y="T9"/>
                </a:cxn>
                <a:cxn ang="0">
                  <a:pos x="T10" y="T11"/>
                </a:cxn>
              </a:cxnLst>
              <a:rect l="0" t="0" r="r" b="b"/>
              <a:pathLst>
                <a:path w="20" h="36">
                  <a:moveTo>
                    <a:pt x="0" y="0"/>
                  </a:moveTo>
                  <a:cubicBezTo>
                    <a:pt x="0" y="1"/>
                    <a:pt x="0" y="1"/>
                    <a:pt x="0" y="2"/>
                  </a:cubicBezTo>
                  <a:cubicBezTo>
                    <a:pt x="0" y="34"/>
                    <a:pt x="0" y="34"/>
                    <a:pt x="0" y="34"/>
                  </a:cubicBezTo>
                  <a:cubicBezTo>
                    <a:pt x="0" y="35"/>
                    <a:pt x="0" y="35"/>
                    <a:pt x="0" y="36"/>
                  </a:cubicBezTo>
                  <a:cubicBezTo>
                    <a:pt x="20" y="18"/>
                    <a:pt x="20" y="18"/>
                    <a:pt x="20" y="18"/>
                  </a:cubicBezTo>
                  <a:lnTo>
                    <a:pt x="0" y="0"/>
                  </a:ln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40" name="Freeform 111">
              <a:extLst>
                <a:ext uri="{FF2B5EF4-FFF2-40B4-BE49-F238E27FC236}">
                  <a16:creationId xmlns:a16="http://schemas.microsoft.com/office/drawing/2014/main" id="{5438C338-629A-4500-EC0F-993FBFC3E2AC}"/>
                </a:ext>
              </a:extLst>
            </p:cNvPr>
            <p:cNvSpPr>
              <a:spLocks/>
            </p:cNvSpPr>
            <p:nvPr/>
          </p:nvSpPr>
          <p:spPr bwMode="auto">
            <a:xfrm>
              <a:off x="5700179" y="5903587"/>
              <a:ext cx="266481" cy="80752"/>
            </a:xfrm>
            <a:custGeom>
              <a:avLst/>
              <a:gdLst>
                <a:gd name="T0" fmla="*/ 66 w 132"/>
                <a:gd name="T1" fmla="*/ 19 h 40"/>
                <a:gd name="T2" fmla="*/ 45 w 132"/>
                <a:gd name="T3" fmla="*/ 0 h 40"/>
                <a:gd name="T4" fmla="*/ 0 w 132"/>
                <a:gd name="T5" fmla="*/ 40 h 40"/>
                <a:gd name="T6" fmla="*/ 0 w 132"/>
                <a:gd name="T7" fmla="*/ 40 h 40"/>
                <a:gd name="T8" fmla="*/ 132 w 132"/>
                <a:gd name="T9" fmla="*/ 40 h 40"/>
                <a:gd name="T10" fmla="*/ 88 w 132"/>
                <a:gd name="T11" fmla="*/ 0 h 40"/>
                <a:gd name="T12" fmla="*/ 66 w 132"/>
                <a:gd name="T13" fmla="*/ 19 h 40"/>
              </a:gdLst>
              <a:ahLst/>
              <a:cxnLst>
                <a:cxn ang="0">
                  <a:pos x="T0" y="T1"/>
                </a:cxn>
                <a:cxn ang="0">
                  <a:pos x="T2" y="T3"/>
                </a:cxn>
                <a:cxn ang="0">
                  <a:pos x="T4" y="T5"/>
                </a:cxn>
                <a:cxn ang="0">
                  <a:pos x="T6" y="T7"/>
                </a:cxn>
                <a:cxn ang="0">
                  <a:pos x="T8" y="T9"/>
                </a:cxn>
                <a:cxn ang="0">
                  <a:pos x="T10" y="T11"/>
                </a:cxn>
                <a:cxn ang="0">
                  <a:pos x="T12" y="T13"/>
                </a:cxn>
              </a:cxnLst>
              <a:rect l="0" t="0" r="r" b="b"/>
              <a:pathLst>
                <a:path w="132" h="40">
                  <a:moveTo>
                    <a:pt x="66" y="19"/>
                  </a:moveTo>
                  <a:lnTo>
                    <a:pt x="45" y="0"/>
                  </a:lnTo>
                  <a:lnTo>
                    <a:pt x="0" y="40"/>
                  </a:lnTo>
                  <a:lnTo>
                    <a:pt x="0" y="40"/>
                  </a:lnTo>
                  <a:lnTo>
                    <a:pt x="132" y="40"/>
                  </a:lnTo>
                  <a:lnTo>
                    <a:pt x="88" y="0"/>
                  </a:lnTo>
                  <a:lnTo>
                    <a:pt x="66" y="19"/>
                  </a:ln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grpSp>
      <p:sp>
        <p:nvSpPr>
          <p:cNvPr id="41" name="Freeform 165">
            <a:extLst>
              <a:ext uri="{FF2B5EF4-FFF2-40B4-BE49-F238E27FC236}">
                <a16:creationId xmlns:a16="http://schemas.microsoft.com/office/drawing/2014/main" id="{3978DFF7-CD74-3379-805C-6B4A1579D89B}"/>
              </a:ext>
            </a:extLst>
          </p:cNvPr>
          <p:cNvSpPr>
            <a:spLocks noEditPoints="1"/>
          </p:cNvSpPr>
          <p:nvPr/>
        </p:nvSpPr>
        <p:spPr bwMode="auto">
          <a:xfrm flipH="1">
            <a:off x="1755775" y="3313113"/>
            <a:ext cx="190500" cy="196850"/>
          </a:xfrm>
          <a:custGeom>
            <a:avLst/>
            <a:gdLst>
              <a:gd name="T0" fmla="*/ 76 w 151"/>
              <a:gd name="T1" fmla="*/ 0 h 152"/>
              <a:gd name="T2" fmla="*/ 9 w 151"/>
              <a:gd name="T3" fmla="*/ 142 h 152"/>
              <a:gd name="T4" fmla="*/ 0 w 151"/>
              <a:gd name="T5" fmla="*/ 152 h 152"/>
              <a:gd name="T6" fmla="*/ 151 w 151"/>
              <a:gd name="T7" fmla="*/ 38 h 152"/>
              <a:gd name="T8" fmla="*/ 57 w 151"/>
              <a:gd name="T9" fmla="*/ 142 h 152"/>
              <a:gd name="T10" fmla="*/ 28 w 151"/>
              <a:gd name="T11" fmla="*/ 123 h 152"/>
              <a:gd name="T12" fmla="*/ 57 w 151"/>
              <a:gd name="T13" fmla="*/ 142 h 152"/>
              <a:gd name="T14" fmla="*/ 19 w 151"/>
              <a:gd name="T15" fmla="*/ 104 h 152"/>
              <a:gd name="T16" fmla="*/ 66 w 151"/>
              <a:gd name="T17" fmla="*/ 95 h 152"/>
              <a:gd name="T18" fmla="*/ 66 w 151"/>
              <a:gd name="T19" fmla="*/ 85 h 152"/>
              <a:gd name="T20" fmla="*/ 19 w 151"/>
              <a:gd name="T21" fmla="*/ 76 h 152"/>
              <a:gd name="T22" fmla="*/ 66 w 151"/>
              <a:gd name="T23" fmla="*/ 85 h 152"/>
              <a:gd name="T24" fmla="*/ 19 w 151"/>
              <a:gd name="T25" fmla="*/ 66 h 152"/>
              <a:gd name="T26" fmla="*/ 66 w 151"/>
              <a:gd name="T27" fmla="*/ 57 h 152"/>
              <a:gd name="T28" fmla="*/ 66 w 151"/>
              <a:gd name="T29" fmla="*/ 47 h 152"/>
              <a:gd name="T30" fmla="*/ 19 w 151"/>
              <a:gd name="T31" fmla="*/ 38 h 152"/>
              <a:gd name="T32" fmla="*/ 66 w 151"/>
              <a:gd name="T33" fmla="*/ 47 h 152"/>
              <a:gd name="T34" fmla="*/ 19 w 151"/>
              <a:gd name="T35" fmla="*/ 29 h 152"/>
              <a:gd name="T36" fmla="*/ 66 w 151"/>
              <a:gd name="T37" fmla="*/ 19 h 152"/>
              <a:gd name="T38" fmla="*/ 113 w 151"/>
              <a:gd name="T39" fmla="*/ 133 h 152"/>
              <a:gd name="T40" fmla="*/ 95 w 151"/>
              <a:gd name="T41" fmla="*/ 114 h 152"/>
              <a:gd name="T42" fmla="*/ 113 w 151"/>
              <a:gd name="T43" fmla="*/ 133 h 152"/>
              <a:gd name="T44" fmla="*/ 95 w 151"/>
              <a:gd name="T45" fmla="*/ 104 h 152"/>
              <a:gd name="T46" fmla="*/ 113 w 151"/>
              <a:gd name="T47" fmla="*/ 85 h 152"/>
              <a:gd name="T48" fmla="*/ 113 w 151"/>
              <a:gd name="T49" fmla="*/ 76 h 152"/>
              <a:gd name="T50" fmla="*/ 95 w 151"/>
              <a:gd name="T51" fmla="*/ 57 h 152"/>
              <a:gd name="T52" fmla="*/ 113 w 151"/>
              <a:gd name="T53" fmla="*/ 76 h 152"/>
              <a:gd name="T54" fmla="*/ 123 w 151"/>
              <a:gd name="T55" fmla="*/ 133 h 152"/>
              <a:gd name="T56" fmla="*/ 142 w 151"/>
              <a:gd name="T57" fmla="*/ 114 h 152"/>
              <a:gd name="T58" fmla="*/ 142 w 151"/>
              <a:gd name="T59" fmla="*/ 104 h 152"/>
              <a:gd name="T60" fmla="*/ 123 w 151"/>
              <a:gd name="T61" fmla="*/ 85 h 152"/>
              <a:gd name="T62" fmla="*/ 142 w 151"/>
              <a:gd name="T63" fmla="*/ 104 h 152"/>
              <a:gd name="T64" fmla="*/ 123 w 151"/>
              <a:gd name="T65" fmla="*/ 76 h 152"/>
              <a:gd name="T66" fmla="*/ 142 w 151"/>
              <a:gd name="T67" fmla="*/ 5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1" h="152">
                <a:moveTo>
                  <a:pt x="76" y="38"/>
                </a:moveTo>
                <a:lnTo>
                  <a:pt x="76" y="0"/>
                </a:lnTo>
                <a:lnTo>
                  <a:pt x="9" y="0"/>
                </a:lnTo>
                <a:lnTo>
                  <a:pt x="9" y="142"/>
                </a:lnTo>
                <a:lnTo>
                  <a:pt x="0" y="142"/>
                </a:lnTo>
                <a:lnTo>
                  <a:pt x="0" y="152"/>
                </a:lnTo>
                <a:lnTo>
                  <a:pt x="151" y="152"/>
                </a:lnTo>
                <a:lnTo>
                  <a:pt x="151" y="38"/>
                </a:lnTo>
                <a:lnTo>
                  <a:pt x="76" y="38"/>
                </a:lnTo>
                <a:close/>
                <a:moveTo>
                  <a:pt x="57" y="142"/>
                </a:moveTo>
                <a:lnTo>
                  <a:pt x="28" y="142"/>
                </a:lnTo>
                <a:lnTo>
                  <a:pt x="28" y="123"/>
                </a:lnTo>
                <a:lnTo>
                  <a:pt x="57" y="123"/>
                </a:lnTo>
                <a:lnTo>
                  <a:pt x="57" y="142"/>
                </a:lnTo>
                <a:close/>
                <a:moveTo>
                  <a:pt x="66" y="104"/>
                </a:moveTo>
                <a:lnTo>
                  <a:pt x="19" y="104"/>
                </a:lnTo>
                <a:lnTo>
                  <a:pt x="19" y="95"/>
                </a:lnTo>
                <a:lnTo>
                  <a:pt x="66" y="95"/>
                </a:lnTo>
                <a:lnTo>
                  <a:pt x="66" y="104"/>
                </a:lnTo>
                <a:close/>
                <a:moveTo>
                  <a:pt x="66" y="85"/>
                </a:moveTo>
                <a:lnTo>
                  <a:pt x="19" y="85"/>
                </a:lnTo>
                <a:lnTo>
                  <a:pt x="19" y="76"/>
                </a:lnTo>
                <a:lnTo>
                  <a:pt x="66" y="76"/>
                </a:lnTo>
                <a:lnTo>
                  <a:pt x="66" y="85"/>
                </a:lnTo>
                <a:close/>
                <a:moveTo>
                  <a:pt x="66" y="66"/>
                </a:moveTo>
                <a:lnTo>
                  <a:pt x="19" y="66"/>
                </a:lnTo>
                <a:lnTo>
                  <a:pt x="19" y="57"/>
                </a:lnTo>
                <a:lnTo>
                  <a:pt x="66" y="57"/>
                </a:lnTo>
                <a:lnTo>
                  <a:pt x="66" y="66"/>
                </a:lnTo>
                <a:close/>
                <a:moveTo>
                  <a:pt x="66" y="47"/>
                </a:moveTo>
                <a:lnTo>
                  <a:pt x="19" y="47"/>
                </a:lnTo>
                <a:lnTo>
                  <a:pt x="19" y="38"/>
                </a:lnTo>
                <a:lnTo>
                  <a:pt x="66" y="38"/>
                </a:lnTo>
                <a:lnTo>
                  <a:pt x="66" y="47"/>
                </a:lnTo>
                <a:close/>
                <a:moveTo>
                  <a:pt x="66" y="29"/>
                </a:moveTo>
                <a:lnTo>
                  <a:pt x="19" y="29"/>
                </a:lnTo>
                <a:lnTo>
                  <a:pt x="19" y="19"/>
                </a:lnTo>
                <a:lnTo>
                  <a:pt x="66" y="19"/>
                </a:lnTo>
                <a:lnTo>
                  <a:pt x="66" y="29"/>
                </a:lnTo>
                <a:close/>
                <a:moveTo>
                  <a:pt x="113" y="133"/>
                </a:moveTo>
                <a:lnTo>
                  <a:pt x="95" y="133"/>
                </a:lnTo>
                <a:lnTo>
                  <a:pt x="95" y="114"/>
                </a:lnTo>
                <a:lnTo>
                  <a:pt x="113" y="114"/>
                </a:lnTo>
                <a:lnTo>
                  <a:pt x="113" y="133"/>
                </a:lnTo>
                <a:close/>
                <a:moveTo>
                  <a:pt x="113" y="104"/>
                </a:moveTo>
                <a:lnTo>
                  <a:pt x="95" y="104"/>
                </a:lnTo>
                <a:lnTo>
                  <a:pt x="95" y="85"/>
                </a:lnTo>
                <a:lnTo>
                  <a:pt x="113" y="85"/>
                </a:lnTo>
                <a:lnTo>
                  <a:pt x="113" y="104"/>
                </a:lnTo>
                <a:close/>
                <a:moveTo>
                  <a:pt x="113" y="76"/>
                </a:moveTo>
                <a:lnTo>
                  <a:pt x="95" y="76"/>
                </a:lnTo>
                <a:lnTo>
                  <a:pt x="95" y="57"/>
                </a:lnTo>
                <a:lnTo>
                  <a:pt x="113" y="57"/>
                </a:lnTo>
                <a:lnTo>
                  <a:pt x="113" y="76"/>
                </a:lnTo>
                <a:close/>
                <a:moveTo>
                  <a:pt x="142" y="133"/>
                </a:moveTo>
                <a:lnTo>
                  <a:pt x="123" y="133"/>
                </a:lnTo>
                <a:lnTo>
                  <a:pt x="123" y="114"/>
                </a:lnTo>
                <a:lnTo>
                  <a:pt x="142" y="114"/>
                </a:lnTo>
                <a:lnTo>
                  <a:pt x="142" y="133"/>
                </a:lnTo>
                <a:close/>
                <a:moveTo>
                  <a:pt x="142" y="104"/>
                </a:moveTo>
                <a:lnTo>
                  <a:pt x="123" y="104"/>
                </a:lnTo>
                <a:lnTo>
                  <a:pt x="123" y="85"/>
                </a:lnTo>
                <a:lnTo>
                  <a:pt x="142" y="85"/>
                </a:lnTo>
                <a:lnTo>
                  <a:pt x="142" y="104"/>
                </a:lnTo>
                <a:close/>
                <a:moveTo>
                  <a:pt x="142" y="76"/>
                </a:moveTo>
                <a:lnTo>
                  <a:pt x="123" y="76"/>
                </a:lnTo>
                <a:lnTo>
                  <a:pt x="123" y="57"/>
                </a:lnTo>
                <a:lnTo>
                  <a:pt x="142" y="57"/>
                </a:lnTo>
                <a:lnTo>
                  <a:pt x="142" y="76"/>
                </a:lnTo>
                <a:close/>
              </a:path>
            </a:pathLst>
          </a:custGeom>
          <a:solidFill>
            <a:schemeClr val="accent2">
              <a:lumMod val="60000"/>
              <a:lumOff val="40000"/>
            </a:schemeClr>
          </a:solidFill>
          <a:ln>
            <a:noFill/>
          </a:ln>
        </p:spPr>
        <p:txBody>
          <a:bodyPr lIns="68580" tIns="34290" rIns="68580" bIns="34290"/>
          <a:lstStyle/>
          <a:p>
            <a:pPr eaLnBrk="1" fontAlgn="auto" hangingPunct="1">
              <a:spcBef>
                <a:spcPts val="0"/>
              </a:spcBef>
              <a:spcAft>
                <a:spcPts val="0"/>
              </a:spcAft>
              <a:defRPr/>
            </a:pPr>
            <a:endParaRPr lang="id-ID" sz="1350">
              <a:solidFill>
                <a:schemeClr val="bg2">
                  <a:lumMod val="10000"/>
                </a:schemeClr>
              </a:solidFill>
              <a:latin typeface="Open Sans" pitchFamily="34" charset="0"/>
              <a:ea typeface="Open Sans" pitchFamily="34" charset="0"/>
              <a:cs typeface="Open Sans" pitchFamily="34" charset="0"/>
            </a:endParaRPr>
          </a:p>
        </p:txBody>
      </p:sp>
      <p:grpSp>
        <p:nvGrpSpPr>
          <p:cNvPr id="42" name="Grup 41">
            <a:extLst>
              <a:ext uri="{FF2B5EF4-FFF2-40B4-BE49-F238E27FC236}">
                <a16:creationId xmlns:a16="http://schemas.microsoft.com/office/drawing/2014/main" id="{4F3EA38D-2E58-8DBB-9EDA-DA9FE4D93191}"/>
              </a:ext>
            </a:extLst>
          </p:cNvPr>
          <p:cNvGrpSpPr/>
          <p:nvPr/>
        </p:nvGrpSpPr>
        <p:grpSpPr>
          <a:xfrm flipH="1">
            <a:off x="1753013" y="3925474"/>
            <a:ext cx="178475" cy="172715"/>
            <a:chOff x="5680558" y="6103512"/>
            <a:chExt cx="307748" cy="289404"/>
          </a:xfrm>
          <a:solidFill>
            <a:schemeClr val="accent2">
              <a:lumMod val="60000"/>
              <a:lumOff val="40000"/>
            </a:schemeClr>
          </a:solidFill>
        </p:grpSpPr>
        <p:sp>
          <p:nvSpPr>
            <p:cNvPr id="43" name="Freeform 65">
              <a:extLst>
                <a:ext uri="{FF2B5EF4-FFF2-40B4-BE49-F238E27FC236}">
                  <a16:creationId xmlns:a16="http://schemas.microsoft.com/office/drawing/2014/main" id="{8EDDE45C-9A0E-D2B9-496B-F3917340013F}"/>
                </a:ext>
              </a:extLst>
            </p:cNvPr>
            <p:cNvSpPr>
              <a:spLocks/>
            </p:cNvSpPr>
            <p:nvPr/>
          </p:nvSpPr>
          <p:spPr bwMode="auto">
            <a:xfrm>
              <a:off x="5680558" y="6103512"/>
              <a:ext cx="307748" cy="116170"/>
            </a:xfrm>
            <a:custGeom>
              <a:avLst/>
              <a:gdLst>
                <a:gd name="T0" fmla="*/ 59 w 64"/>
                <a:gd name="T1" fmla="*/ 8 h 24"/>
                <a:gd name="T2" fmla="*/ 32 w 64"/>
                <a:gd name="T3" fmla="*/ 0 h 24"/>
                <a:gd name="T4" fmla="*/ 5 w 64"/>
                <a:gd name="T5" fmla="*/ 8 h 24"/>
                <a:gd name="T6" fmla="*/ 0 w 64"/>
                <a:gd name="T7" fmla="*/ 16 h 24"/>
                <a:gd name="T8" fmla="*/ 0 w 64"/>
                <a:gd name="T9" fmla="*/ 20 h 24"/>
                <a:gd name="T10" fmla="*/ 4 w 64"/>
                <a:gd name="T11" fmla="*/ 24 h 24"/>
                <a:gd name="T12" fmla="*/ 12 w 64"/>
                <a:gd name="T13" fmla="*/ 24 h 24"/>
                <a:gd name="T14" fmla="*/ 16 w 64"/>
                <a:gd name="T15" fmla="*/ 20 h 24"/>
                <a:gd name="T16" fmla="*/ 18 w 64"/>
                <a:gd name="T17" fmla="*/ 13 h 24"/>
                <a:gd name="T18" fmla="*/ 32 w 64"/>
                <a:gd name="T19" fmla="*/ 8 h 24"/>
                <a:gd name="T20" fmla="*/ 46 w 64"/>
                <a:gd name="T21" fmla="*/ 13 h 24"/>
                <a:gd name="T22" fmla="*/ 48 w 64"/>
                <a:gd name="T23" fmla="*/ 20 h 24"/>
                <a:gd name="T24" fmla="*/ 52 w 64"/>
                <a:gd name="T25" fmla="*/ 24 h 24"/>
                <a:gd name="T26" fmla="*/ 60 w 64"/>
                <a:gd name="T27" fmla="*/ 24 h 24"/>
                <a:gd name="T28" fmla="*/ 64 w 64"/>
                <a:gd name="T29" fmla="*/ 20 h 24"/>
                <a:gd name="T30" fmla="*/ 64 w 64"/>
                <a:gd name="T31" fmla="*/ 16 h 24"/>
                <a:gd name="T32" fmla="*/ 59 w 64"/>
                <a:gd name="T33"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24">
                  <a:moveTo>
                    <a:pt x="59" y="8"/>
                  </a:moveTo>
                  <a:cubicBezTo>
                    <a:pt x="55" y="4"/>
                    <a:pt x="48" y="0"/>
                    <a:pt x="32" y="0"/>
                  </a:cubicBezTo>
                  <a:cubicBezTo>
                    <a:pt x="16" y="0"/>
                    <a:pt x="10" y="4"/>
                    <a:pt x="5" y="8"/>
                  </a:cubicBezTo>
                  <a:cubicBezTo>
                    <a:pt x="2" y="11"/>
                    <a:pt x="0" y="12"/>
                    <a:pt x="0" y="16"/>
                  </a:cubicBezTo>
                  <a:cubicBezTo>
                    <a:pt x="0" y="20"/>
                    <a:pt x="0" y="20"/>
                    <a:pt x="0" y="20"/>
                  </a:cubicBezTo>
                  <a:cubicBezTo>
                    <a:pt x="0" y="22"/>
                    <a:pt x="2" y="24"/>
                    <a:pt x="4" y="24"/>
                  </a:cubicBezTo>
                  <a:cubicBezTo>
                    <a:pt x="12" y="24"/>
                    <a:pt x="12" y="24"/>
                    <a:pt x="12" y="24"/>
                  </a:cubicBezTo>
                  <a:cubicBezTo>
                    <a:pt x="14" y="24"/>
                    <a:pt x="16" y="22"/>
                    <a:pt x="16" y="20"/>
                  </a:cubicBezTo>
                  <a:cubicBezTo>
                    <a:pt x="16" y="18"/>
                    <a:pt x="16" y="16"/>
                    <a:pt x="18" y="13"/>
                  </a:cubicBezTo>
                  <a:cubicBezTo>
                    <a:pt x="20" y="11"/>
                    <a:pt x="24" y="8"/>
                    <a:pt x="32" y="8"/>
                  </a:cubicBezTo>
                  <a:cubicBezTo>
                    <a:pt x="40" y="8"/>
                    <a:pt x="44" y="11"/>
                    <a:pt x="46" y="13"/>
                  </a:cubicBezTo>
                  <a:cubicBezTo>
                    <a:pt x="48" y="16"/>
                    <a:pt x="48" y="18"/>
                    <a:pt x="48" y="20"/>
                  </a:cubicBezTo>
                  <a:cubicBezTo>
                    <a:pt x="48" y="22"/>
                    <a:pt x="50" y="24"/>
                    <a:pt x="52" y="24"/>
                  </a:cubicBezTo>
                  <a:cubicBezTo>
                    <a:pt x="60" y="24"/>
                    <a:pt x="60" y="24"/>
                    <a:pt x="60" y="24"/>
                  </a:cubicBezTo>
                  <a:cubicBezTo>
                    <a:pt x="62" y="24"/>
                    <a:pt x="64" y="22"/>
                    <a:pt x="64" y="20"/>
                  </a:cubicBezTo>
                  <a:cubicBezTo>
                    <a:pt x="64" y="16"/>
                    <a:pt x="64" y="16"/>
                    <a:pt x="64" y="16"/>
                  </a:cubicBezTo>
                  <a:cubicBezTo>
                    <a:pt x="64" y="12"/>
                    <a:pt x="62" y="11"/>
                    <a:pt x="59" y="8"/>
                  </a:cubicBez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44" name="Oval 66">
              <a:extLst>
                <a:ext uri="{FF2B5EF4-FFF2-40B4-BE49-F238E27FC236}">
                  <a16:creationId xmlns:a16="http://schemas.microsoft.com/office/drawing/2014/main" id="{D5269B49-10C2-AD46-5EF7-38DEE83E5FC0}"/>
                </a:ext>
              </a:extLst>
            </p:cNvPr>
            <p:cNvSpPr>
              <a:spLocks noChangeArrowheads="1"/>
            </p:cNvSpPr>
            <p:nvPr/>
          </p:nvSpPr>
          <p:spPr bwMode="auto">
            <a:xfrm>
              <a:off x="5794689" y="6276747"/>
              <a:ext cx="77446" cy="77446"/>
            </a:xfrm>
            <a:prstGeom prst="ellipse">
              <a:avLst/>
            </a:pr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45" name="Freeform 67">
              <a:extLst>
                <a:ext uri="{FF2B5EF4-FFF2-40B4-BE49-F238E27FC236}">
                  <a16:creationId xmlns:a16="http://schemas.microsoft.com/office/drawing/2014/main" id="{F94E91B2-FAAA-DCC3-104D-FC1B09C1A2B1}"/>
                </a:ext>
              </a:extLst>
            </p:cNvPr>
            <p:cNvSpPr>
              <a:spLocks noEditPoints="1"/>
            </p:cNvSpPr>
            <p:nvPr/>
          </p:nvSpPr>
          <p:spPr bwMode="auto">
            <a:xfrm>
              <a:off x="5698900" y="6180958"/>
              <a:ext cx="271063" cy="211958"/>
            </a:xfrm>
            <a:custGeom>
              <a:avLst/>
              <a:gdLst>
                <a:gd name="T0" fmla="*/ 42 w 56"/>
                <a:gd name="T1" fmla="*/ 8 h 44"/>
                <a:gd name="T2" fmla="*/ 40 w 56"/>
                <a:gd name="T3" fmla="*/ 8 h 44"/>
                <a:gd name="T4" fmla="*/ 40 w 56"/>
                <a:gd name="T5" fmla="*/ 3 h 44"/>
                <a:gd name="T6" fmla="*/ 36 w 56"/>
                <a:gd name="T7" fmla="*/ 0 h 44"/>
                <a:gd name="T8" fmla="*/ 32 w 56"/>
                <a:gd name="T9" fmla="*/ 3 h 44"/>
                <a:gd name="T10" fmla="*/ 32 w 56"/>
                <a:gd name="T11" fmla="*/ 8 h 44"/>
                <a:gd name="T12" fmla="*/ 24 w 56"/>
                <a:gd name="T13" fmla="*/ 8 h 44"/>
                <a:gd name="T14" fmla="*/ 24 w 56"/>
                <a:gd name="T15" fmla="*/ 3 h 44"/>
                <a:gd name="T16" fmla="*/ 20 w 56"/>
                <a:gd name="T17" fmla="*/ 0 h 44"/>
                <a:gd name="T18" fmla="*/ 16 w 56"/>
                <a:gd name="T19" fmla="*/ 3 h 44"/>
                <a:gd name="T20" fmla="*/ 16 w 56"/>
                <a:gd name="T21" fmla="*/ 8 h 44"/>
                <a:gd name="T22" fmla="*/ 14 w 56"/>
                <a:gd name="T23" fmla="*/ 8 h 44"/>
                <a:gd name="T24" fmla="*/ 11 w 56"/>
                <a:gd name="T25" fmla="*/ 10 h 44"/>
                <a:gd name="T26" fmla="*/ 0 w 56"/>
                <a:gd name="T27" fmla="*/ 32 h 44"/>
                <a:gd name="T28" fmla="*/ 0 w 56"/>
                <a:gd name="T29" fmla="*/ 40 h 44"/>
                <a:gd name="T30" fmla="*/ 4 w 56"/>
                <a:gd name="T31" fmla="*/ 44 h 44"/>
                <a:gd name="T32" fmla="*/ 52 w 56"/>
                <a:gd name="T33" fmla="*/ 44 h 44"/>
                <a:gd name="T34" fmla="*/ 56 w 56"/>
                <a:gd name="T35" fmla="*/ 40 h 44"/>
                <a:gd name="T36" fmla="*/ 56 w 56"/>
                <a:gd name="T37" fmla="*/ 32 h 44"/>
                <a:gd name="T38" fmla="*/ 45 w 56"/>
                <a:gd name="T39" fmla="*/ 10 h 44"/>
                <a:gd name="T40" fmla="*/ 42 w 56"/>
                <a:gd name="T41" fmla="*/ 8 h 44"/>
                <a:gd name="T42" fmla="*/ 28 w 56"/>
                <a:gd name="T43" fmla="*/ 40 h 44"/>
                <a:gd name="T44" fmla="*/ 16 w 56"/>
                <a:gd name="T45" fmla="*/ 28 h 44"/>
                <a:gd name="T46" fmla="*/ 28 w 56"/>
                <a:gd name="T47" fmla="*/ 16 h 44"/>
                <a:gd name="T48" fmla="*/ 40 w 56"/>
                <a:gd name="T49" fmla="*/ 28 h 44"/>
                <a:gd name="T50" fmla="*/ 28 w 56"/>
                <a:gd name="T51"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6" h="44">
                  <a:moveTo>
                    <a:pt x="42" y="8"/>
                  </a:moveTo>
                  <a:cubicBezTo>
                    <a:pt x="40" y="8"/>
                    <a:pt x="40" y="8"/>
                    <a:pt x="40" y="8"/>
                  </a:cubicBezTo>
                  <a:cubicBezTo>
                    <a:pt x="40" y="3"/>
                    <a:pt x="40" y="3"/>
                    <a:pt x="40" y="3"/>
                  </a:cubicBezTo>
                  <a:cubicBezTo>
                    <a:pt x="40" y="1"/>
                    <a:pt x="38" y="0"/>
                    <a:pt x="36" y="0"/>
                  </a:cubicBezTo>
                  <a:cubicBezTo>
                    <a:pt x="34" y="0"/>
                    <a:pt x="32" y="1"/>
                    <a:pt x="32" y="3"/>
                  </a:cubicBezTo>
                  <a:cubicBezTo>
                    <a:pt x="32" y="8"/>
                    <a:pt x="32" y="8"/>
                    <a:pt x="32" y="8"/>
                  </a:cubicBezTo>
                  <a:cubicBezTo>
                    <a:pt x="24" y="8"/>
                    <a:pt x="24" y="8"/>
                    <a:pt x="24" y="8"/>
                  </a:cubicBezTo>
                  <a:cubicBezTo>
                    <a:pt x="24" y="3"/>
                    <a:pt x="24" y="3"/>
                    <a:pt x="24" y="3"/>
                  </a:cubicBezTo>
                  <a:cubicBezTo>
                    <a:pt x="24" y="1"/>
                    <a:pt x="22" y="0"/>
                    <a:pt x="20" y="0"/>
                  </a:cubicBezTo>
                  <a:cubicBezTo>
                    <a:pt x="18" y="0"/>
                    <a:pt x="16" y="1"/>
                    <a:pt x="16" y="3"/>
                  </a:cubicBezTo>
                  <a:cubicBezTo>
                    <a:pt x="16" y="8"/>
                    <a:pt x="16" y="8"/>
                    <a:pt x="16" y="8"/>
                  </a:cubicBezTo>
                  <a:cubicBezTo>
                    <a:pt x="14" y="8"/>
                    <a:pt x="14" y="8"/>
                    <a:pt x="14" y="8"/>
                  </a:cubicBezTo>
                  <a:cubicBezTo>
                    <a:pt x="13" y="8"/>
                    <a:pt x="12" y="9"/>
                    <a:pt x="11" y="10"/>
                  </a:cubicBezTo>
                  <a:cubicBezTo>
                    <a:pt x="8" y="14"/>
                    <a:pt x="0" y="27"/>
                    <a:pt x="0" y="32"/>
                  </a:cubicBezTo>
                  <a:cubicBezTo>
                    <a:pt x="0" y="40"/>
                    <a:pt x="0" y="40"/>
                    <a:pt x="0" y="40"/>
                  </a:cubicBezTo>
                  <a:cubicBezTo>
                    <a:pt x="0" y="42"/>
                    <a:pt x="2" y="44"/>
                    <a:pt x="4" y="44"/>
                  </a:cubicBezTo>
                  <a:cubicBezTo>
                    <a:pt x="52" y="44"/>
                    <a:pt x="52" y="44"/>
                    <a:pt x="52" y="44"/>
                  </a:cubicBezTo>
                  <a:cubicBezTo>
                    <a:pt x="54" y="44"/>
                    <a:pt x="56" y="42"/>
                    <a:pt x="56" y="40"/>
                  </a:cubicBezTo>
                  <a:cubicBezTo>
                    <a:pt x="56" y="37"/>
                    <a:pt x="56" y="32"/>
                    <a:pt x="56" y="32"/>
                  </a:cubicBezTo>
                  <a:cubicBezTo>
                    <a:pt x="56" y="25"/>
                    <a:pt x="48" y="14"/>
                    <a:pt x="45" y="10"/>
                  </a:cubicBezTo>
                  <a:cubicBezTo>
                    <a:pt x="44" y="9"/>
                    <a:pt x="43" y="8"/>
                    <a:pt x="42" y="8"/>
                  </a:cubicBezTo>
                  <a:close/>
                  <a:moveTo>
                    <a:pt x="28" y="40"/>
                  </a:moveTo>
                  <a:cubicBezTo>
                    <a:pt x="21" y="40"/>
                    <a:pt x="16" y="35"/>
                    <a:pt x="16" y="28"/>
                  </a:cubicBezTo>
                  <a:cubicBezTo>
                    <a:pt x="16" y="21"/>
                    <a:pt x="21" y="16"/>
                    <a:pt x="28" y="16"/>
                  </a:cubicBezTo>
                  <a:cubicBezTo>
                    <a:pt x="35" y="16"/>
                    <a:pt x="40" y="21"/>
                    <a:pt x="40" y="28"/>
                  </a:cubicBezTo>
                  <a:cubicBezTo>
                    <a:pt x="40" y="35"/>
                    <a:pt x="35" y="40"/>
                    <a:pt x="28" y="40"/>
                  </a:cubicBez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grpSp>
      <p:sp>
        <p:nvSpPr>
          <p:cNvPr id="46" name="Dikdörtgen 45">
            <a:extLst>
              <a:ext uri="{FF2B5EF4-FFF2-40B4-BE49-F238E27FC236}">
                <a16:creationId xmlns:a16="http://schemas.microsoft.com/office/drawing/2014/main" id="{5BA7F55F-A3AE-FE68-0D47-570CCA58D563}"/>
              </a:ext>
            </a:extLst>
          </p:cNvPr>
          <p:cNvSpPr/>
          <p:nvPr/>
        </p:nvSpPr>
        <p:spPr>
          <a:xfrm>
            <a:off x="1947863" y="3221038"/>
            <a:ext cx="3622675" cy="400050"/>
          </a:xfrm>
          <a:prstGeom prst="rect">
            <a:avLst/>
          </a:prstGeom>
        </p:spPr>
        <p:txBody>
          <a:bodyPr>
            <a:spAutoFit/>
          </a:bodyPr>
          <a:lstStyle/>
          <a:p>
            <a:pPr eaLnBrk="1" fontAlgn="auto" hangingPunct="1">
              <a:spcBef>
                <a:spcPts val="0"/>
              </a:spcBef>
              <a:spcAft>
                <a:spcPts val="0"/>
              </a:spcAft>
              <a:defRPr/>
            </a:pPr>
            <a:r>
              <a:rPr lang="tr-TR" sz="1000" err="1">
                <a:latin typeface="Open Sans" pitchFamily="34" charset="0"/>
                <a:ea typeface="Open Sans" pitchFamily="34" charset="0"/>
                <a:cs typeface="Open Sans" pitchFamily="34" charset="0"/>
              </a:rPr>
              <a:t>Mebusevler</a:t>
            </a:r>
            <a:r>
              <a:rPr lang="tr-TR" sz="1000">
                <a:latin typeface="Open Sans" pitchFamily="34" charset="0"/>
                <a:ea typeface="Open Sans" pitchFamily="34" charset="0"/>
                <a:cs typeface="Open Sans" pitchFamily="34" charset="0"/>
              </a:rPr>
              <a:t> Mahallesi Ergin Sokak NO: 24/11</a:t>
            </a:r>
            <a:br>
              <a:rPr lang="tr-TR" sz="1000">
                <a:latin typeface="Open Sans" pitchFamily="34" charset="0"/>
                <a:ea typeface="Open Sans" pitchFamily="34" charset="0"/>
                <a:cs typeface="Open Sans" pitchFamily="34" charset="0"/>
              </a:rPr>
            </a:br>
            <a:r>
              <a:rPr lang="tr-TR" sz="1000">
                <a:latin typeface="Open Sans" pitchFamily="34" charset="0"/>
                <a:ea typeface="Open Sans" pitchFamily="34" charset="0"/>
                <a:cs typeface="Open Sans" pitchFamily="34" charset="0"/>
              </a:rPr>
              <a:t>Çankaya / ANKARA</a:t>
            </a:r>
            <a:endParaRPr lang="tr-TR" sz="1000">
              <a:solidFill>
                <a:schemeClr val="bg2">
                  <a:lumMod val="10000"/>
                </a:schemeClr>
              </a:solidFill>
              <a:latin typeface="Open Sans" pitchFamily="34" charset="0"/>
              <a:ea typeface="Open Sans" pitchFamily="34" charset="0"/>
              <a:cs typeface="Open Sans" pitchFamily="34" charset="0"/>
            </a:endParaRPr>
          </a:p>
        </p:txBody>
      </p:sp>
      <p:sp>
        <p:nvSpPr>
          <p:cNvPr id="41993" name="Dikdörtgen 46">
            <a:extLst>
              <a:ext uri="{FF2B5EF4-FFF2-40B4-BE49-F238E27FC236}">
                <a16:creationId xmlns:a16="http://schemas.microsoft.com/office/drawing/2014/main" id="{FB66D4BB-6472-D4A6-D661-965E819D5598}"/>
              </a:ext>
            </a:extLst>
          </p:cNvPr>
          <p:cNvSpPr>
            <a:spLocks noChangeArrowheads="1"/>
          </p:cNvSpPr>
          <p:nvPr/>
        </p:nvSpPr>
        <p:spPr bwMode="auto">
          <a:xfrm>
            <a:off x="1985963" y="2892425"/>
            <a:ext cx="31654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r>
              <a:rPr lang="tr-TR" altLang="tr-TR" sz="1200" b="1">
                <a:solidFill>
                  <a:srgbClr val="AD119B"/>
                </a:solidFill>
                <a:latin typeface="Open Sans" panose="020B0606030504020204" pitchFamily="34" charset="0"/>
                <a:cs typeface="Open Sans" panose="020B0606030504020204" pitchFamily="34" charset="0"/>
              </a:rPr>
              <a:t>Ankara İç Anadolu Bölge Müdürlüğü</a:t>
            </a:r>
            <a:endParaRPr lang="tr-TR" altLang="tr-TR" sz="1200" u="sng">
              <a:solidFill>
                <a:srgbClr val="AD119B"/>
              </a:solidFill>
              <a:latin typeface="Open Sans" panose="020B0606030504020204" pitchFamily="34" charset="0"/>
              <a:cs typeface="Open Sans" panose="020B0606030504020204" pitchFamily="34" charset="0"/>
            </a:endParaRPr>
          </a:p>
        </p:txBody>
      </p:sp>
      <p:sp>
        <p:nvSpPr>
          <p:cNvPr id="41994" name="Dikdörtgen 59">
            <a:extLst>
              <a:ext uri="{FF2B5EF4-FFF2-40B4-BE49-F238E27FC236}">
                <a16:creationId xmlns:a16="http://schemas.microsoft.com/office/drawing/2014/main" id="{44D12A5E-B005-2A95-F9D2-07546AED7B11}"/>
              </a:ext>
            </a:extLst>
          </p:cNvPr>
          <p:cNvSpPr>
            <a:spLocks noChangeArrowheads="1"/>
          </p:cNvSpPr>
          <p:nvPr/>
        </p:nvSpPr>
        <p:spPr bwMode="auto">
          <a:xfrm>
            <a:off x="6748463" y="881063"/>
            <a:ext cx="36226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r>
              <a:rPr lang="tr-TR" altLang="tr-TR" sz="1000">
                <a:latin typeface="Open Sans" panose="020B0606030504020204" pitchFamily="34" charset="0"/>
                <a:cs typeface="Open Sans" panose="020B0606030504020204" pitchFamily="34" charset="0"/>
              </a:rPr>
              <a:t>Mansuroğlu Mahallesi 295/2 Sokak Ege Sun Plaza No:1 B/Blok Kat:7 Daire:760 Bayraklı / İZMİR</a:t>
            </a:r>
            <a:endParaRPr lang="tr-TR" altLang="tr-TR" sz="1000">
              <a:solidFill>
                <a:srgbClr val="181717"/>
              </a:solidFill>
              <a:latin typeface="Open Sans" panose="020B0606030504020204" pitchFamily="34" charset="0"/>
              <a:cs typeface="Open Sans" panose="020B0606030504020204" pitchFamily="34" charset="0"/>
            </a:endParaRPr>
          </a:p>
        </p:txBody>
      </p:sp>
      <p:sp>
        <p:nvSpPr>
          <p:cNvPr id="48" name="TextBox 14">
            <a:extLst>
              <a:ext uri="{FF2B5EF4-FFF2-40B4-BE49-F238E27FC236}">
                <a16:creationId xmlns:a16="http://schemas.microsoft.com/office/drawing/2014/main" id="{9BD56D8B-E44A-FEE0-0B8C-A2329970E93D}"/>
              </a:ext>
            </a:extLst>
          </p:cNvPr>
          <p:cNvSpPr txBox="1"/>
          <p:nvPr/>
        </p:nvSpPr>
        <p:spPr>
          <a:xfrm>
            <a:off x="6748463" y="1258888"/>
            <a:ext cx="2801937" cy="246062"/>
          </a:xfrm>
          <a:prstGeom prst="rect">
            <a:avLst/>
          </a:prstGeom>
          <a:noFill/>
        </p:spPr>
        <p:txBody>
          <a:bodyPr>
            <a:spAutoFit/>
          </a:bodyPr>
          <a:lstStyle/>
          <a:p>
            <a:pPr eaLnBrk="1" fontAlgn="auto" hangingPunct="1">
              <a:spcBef>
                <a:spcPts val="0"/>
              </a:spcBef>
              <a:spcAft>
                <a:spcPts val="0"/>
              </a:spcAft>
              <a:defRPr/>
            </a:pPr>
            <a:r>
              <a:rPr lang="tr-TR" sz="1000" dirty="0">
                <a:solidFill>
                  <a:schemeClr val="bg2">
                    <a:lumMod val="10000"/>
                  </a:schemeClr>
                </a:solidFill>
                <a:latin typeface="Open Sans" pitchFamily="34" charset="0"/>
                <a:ea typeface="Open Sans" pitchFamily="34" charset="0"/>
                <a:cs typeface="Open Sans" pitchFamily="34" charset="0"/>
              </a:rPr>
              <a:t>vizyon@vizyongd.com</a:t>
            </a:r>
            <a:endParaRPr lang="id-ID" sz="1000" dirty="0">
              <a:solidFill>
                <a:schemeClr val="bg2">
                  <a:lumMod val="10000"/>
                </a:schemeClr>
              </a:solidFill>
              <a:latin typeface="Open Sans" pitchFamily="34" charset="0"/>
              <a:ea typeface="Open Sans" pitchFamily="34" charset="0"/>
              <a:cs typeface="Open Sans" pitchFamily="34" charset="0"/>
            </a:endParaRPr>
          </a:p>
        </p:txBody>
      </p:sp>
      <p:sp>
        <p:nvSpPr>
          <p:cNvPr id="49" name="TextBox 15">
            <a:extLst>
              <a:ext uri="{FF2B5EF4-FFF2-40B4-BE49-F238E27FC236}">
                <a16:creationId xmlns:a16="http://schemas.microsoft.com/office/drawing/2014/main" id="{1AE771F5-F2BB-B124-68F3-D4519EC42CA0}"/>
              </a:ext>
            </a:extLst>
          </p:cNvPr>
          <p:cNvSpPr txBox="1"/>
          <p:nvPr/>
        </p:nvSpPr>
        <p:spPr>
          <a:xfrm>
            <a:off x="6738938" y="1552575"/>
            <a:ext cx="2811462" cy="246063"/>
          </a:xfrm>
          <a:prstGeom prst="rect">
            <a:avLst/>
          </a:prstGeom>
          <a:noFill/>
        </p:spPr>
        <p:txBody>
          <a:bodyPr>
            <a:spAutoFit/>
          </a:bodyPr>
          <a:lstStyle/>
          <a:p>
            <a:pPr eaLnBrk="1" fontAlgn="auto" hangingPunct="1">
              <a:spcBef>
                <a:spcPts val="0"/>
              </a:spcBef>
              <a:spcAft>
                <a:spcPts val="0"/>
              </a:spcAft>
              <a:defRPr/>
            </a:pPr>
            <a:r>
              <a:rPr lang="tr-TR" sz="1000">
                <a:latin typeface="Open Sans" pitchFamily="34" charset="0"/>
                <a:ea typeface="Open Sans" pitchFamily="34" charset="0"/>
                <a:cs typeface="Open Sans" pitchFamily="34" charset="0"/>
              </a:rPr>
              <a:t>(0232) 462 21 09 - 10 -11</a:t>
            </a:r>
            <a:endParaRPr lang="id-ID" sz="1000">
              <a:solidFill>
                <a:schemeClr val="bg2">
                  <a:lumMod val="10000"/>
                </a:schemeClr>
              </a:solidFill>
              <a:latin typeface="Open Sans" pitchFamily="34" charset="0"/>
              <a:ea typeface="Open Sans" pitchFamily="34" charset="0"/>
              <a:cs typeface="Open Sans" pitchFamily="34" charset="0"/>
            </a:endParaRPr>
          </a:p>
        </p:txBody>
      </p:sp>
      <p:grpSp>
        <p:nvGrpSpPr>
          <p:cNvPr id="50" name="Grup 49">
            <a:extLst>
              <a:ext uri="{FF2B5EF4-FFF2-40B4-BE49-F238E27FC236}">
                <a16:creationId xmlns:a16="http://schemas.microsoft.com/office/drawing/2014/main" id="{B2518197-FFBD-2276-CB5C-ACEB25E192E1}"/>
              </a:ext>
            </a:extLst>
          </p:cNvPr>
          <p:cNvGrpSpPr/>
          <p:nvPr/>
        </p:nvGrpSpPr>
        <p:grpSpPr>
          <a:xfrm flipH="1">
            <a:off x="6546771" y="1317570"/>
            <a:ext cx="198435" cy="128471"/>
            <a:chOff x="5682010" y="5792554"/>
            <a:chExt cx="304839" cy="191785"/>
          </a:xfrm>
          <a:solidFill>
            <a:schemeClr val="accent2">
              <a:lumMod val="60000"/>
              <a:lumOff val="40000"/>
            </a:schemeClr>
          </a:solidFill>
        </p:grpSpPr>
        <p:sp>
          <p:nvSpPr>
            <p:cNvPr id="51" name="Freeform 108">
              <a:extLst>
                <a:ext uri="{FF2B5EF4-FFF2-40B4-BE49-F238E27FC236}">
                  <a16:creationId xmlns:a16="http://schemas.microsoft.com/office/drawing/2014/main" id="{01801961-EF4E-D0DB-794C-C44ED16A0C60}"/>
                </a:ext>
              </a:extLst>
            </p:cNvPr>
            <p:cNvSpPr>
              <a:spLocks/>
            </p:cNvSpPr>
            <p:nvPr/>
          </p:nvSpPr>
          <p:spPr bwMode="auto">
            <a:xfrm>
              <a:off x="5700184" y="5792554"/>
              <a:ext cx="272538" cy="121128"/>
            </a:xfrm>
            <a:custGeom>
              <a:avLst/>
              <a:gdLst>
                <a:gd name="T0" fmla="*/ 135 w 135"/>
                <a:gd name="T1" fmla="*/ 0 h 60"/>
                <a:gd name="T2" fmla="*/ 132 w 135"/>
                <a:gd name="T3" fmla="*/ 0 h 60"/>
                <a:gd name="T4" fmla="*/ 0 w 135"/>
                <a:gd name="T5" fmla="*/ 0 h 60"/>
                <a:gd name="T6" fmla="*/ 0 w 135"/>
                <a:gd name="T7" fmla="*/ 0 h 60"/>
                <a:gd name="T8" fmla="*/ 66 w 135"/>
                <a:gd name="T9" fmla="*/ 60 h 60"/>
                <a:gd name="T10" fmla="*/ 135 w 135"/>
                <a:gd name="T11" fmla="*/ 0 h 60"/>
              </a:gdLst>
              <a:ahLst/>
              <a:cxnLst>
                <a:cxn ang="0">
                  <a:pos x="T0" y="T1"/>
                </a:cxn>
                <a:cxn ang="0">
                  <a:pos x="T2" y="T3"/>
                </a:cxn>
                <a:cxn ang="0">
                  <a:pos x="T4" y="T5"/>
                </a:cxn>
                <a:cxn ang="0">
                  <a:pos x="T6" y="T7"/>
                </a:cxn>
                <a:cxn ang="0">
                  <a:pos x="T8" y="T9"/>
                </a:cxn>
                <a:cxn ang="0">
                  <a:pos x="T10" y="T11"/>
                </a:cxn>
              </a:cxnLst>
              <a:rect l="0" t="0" r="r" b="b"/>
              <a:pathLst>
                <a:path w="135" h="60">
                  <a:moveTo>
                    <a:pt x="135" y="0"/>
                  </a:moveTo>
                  <a:lnTo>
                    <a:pt x="132" y="0"/>
                  </a:lnTo>
                  <a:lnTo>
                    <a:pt x="0" y="0"/>
                  </a:lnTo>
                  <a:lnTo>
                    <a:pt x="0" y="0"/>
                  </a:lnTo>
                  <a:lnTo>
                    <a:pt x="66" y="60"/>
                  </a:lnTo>
                  <a:lnTo>
                    <a:pt x="135" y="0"/>
                  </a:ln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52" name="Freeform 109">
              <a:extLst>
                <a:ext uri="{FF2B5EF4-FFF2-40B4-BE49-F238E27FC236}">
                  <a16:creationId xmlns:a16="http://schemas.microsoft.com/office/drawing/2014/main" id="{86C52F9E-BD2E-6895-F9BB-6B8136A4A026}"/>
                </a:ext>
              </a:extLst>
            </p:cNvPr>
            <p:cNvSpPr>
              <a:spLocks/>
            </p:cNvSpPr>
            <p:nvPr/>
          </p:nvSpPr>
          <p:spPr bwMode="auto">
            <a:xfrm>
              <a:off x="5891965" y="5808704"/>
              <a:ext cx="94884" cy="165541"/>
            </a:xfrm>
            <a:custGeom>
              <a:avLst/>
              <a:gdLst>
                <a:gd name="T0" fmla="*/ 20 w 20"/>
                <a:gd name="T1" fmla="*/ 0 h 35"/>
                <a:gd name="T2" fmla="*/ 0 w 20"/>
                <a:gd name="T3" fmla="*/ 17 h 35"/>
                <a:gd name="T4" fmla="*/ 19 w 20"/>
                <a:gd name="T5" fmla="*/ 35 h 35"/>
                <a:gd name="T6" fmla="*/ 20 w 20"/>
                <a:gd name="T7" fmla="*/ 33 h 35"/>
                <a:gd name="T8" fmla="*/ 20 w 20"/>
                <a:gd name="T9" fmla="*/ 1 h 35"/>
                <a:gd name="T10" fmla="*/ 20 w 20"/>
                <a:gd name="T11" fmla="*/ 0 h 35"/>
              </a:gdLst>
              <a:ahLst/>
              <a:cxnLst>
                <a:cxn ang="0">
                  <a:pos x="T0" y="T1"/>
                </a:cxn>
                <a:cxn ang="0">
                  <a:pos x="T2" y="T3"/>
                </a:cxn>
                <a:cxn ang="0">
                  <a:pos x="T4" y="T5"/>
                </a:cxn>
                <a:cxn ang="0">
                  <a:pos x="T6" y="T7"/>
                </a:cxn>
                <a:cxn ang="0">
                  <a:pos x="T8" y="T9"/>
                </a:cxn>
                <a:cxn ang="0">
                  <a:pos x="T10" y="T11"/>
                </a:cxn>
              </a:cxnLst>
              <a:rect l="0" t="0" r="r" b="b"/>
              <a:pathLst>
                <a:path w="20" h="35">
                  <a:moveTo>
                    <a:pt x="20" y="0"/>
                  </a:moveTo>
                  <a:cubicBezTo>
                    <a:pt x="0" y="17"/>
                    <a:pt x="0" y="17"/>
                    <a:pt x="0" y="17"/>
                  </a:cubicBezTo>
                  <a:cubicBezTo>
                    <a:pt x="19" y="35"/>
                    <a:pt x="19" y="35"/>
                    <a:pt x="19" y="35"/>
                  </a:cubicBezTo>
                  <a:cubicBezTo>
                    <a:pt x="20" y="34"/>
                    <a:pt x="20" y="34"/>
                    <a:pt x="20" y="33"/>
                  </a:cubicBezTo>
                  <a:cubicBezTo>
                    <a:pt x="20" y="1"/>
                    <a:pt x="20" y="1"/>
                    <a:pt x="20" y="1"/>
                  </a:cubicBezTo>
                  <a:cubicBezTo>
                    <a:pt x="20" y="1"/>
                    <a:pt x="20" y="0"/>
                    <a:pt x="20" y="0"/>
                  </a:cubicBez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53" name="Freeform 110">
              <a:extLst>
                <a:ext uri="{FF2B5EF4-FFF2-40B4-BE49-F238E27FC236}">
                  <a16:creationId xmlns:a16="http://schemas.microsoft.com/office/drawing/2014/main" id="{598FF5A5-83EB-E158-82BA-EFC6C19A31F0}"/>
                </a:ext>
              </a:extLst>
            </p:cNvPr>
            <p:cNvSpPr>
              <a:spLocks/>
            </p:cNvSpPr>
            <p:nvPr/>
          </p:nvSpPr>
          <p:spPr bwMode="auto">
            <a:xfrm>
              <a:off x="5682010" y="5802647"/>
              <a:ext cx="94884" cy="171598"/>
            </a:xfrm>
            <a:custGeom>
              <a:avLst/>
              <a:gdLst>
                <a:gd name="T0" fmla="*/ 0 w 20"/>
                <a:gd name="T1" fmla="*/ 0 h 36"/>
                <a:gd name="T2" fmla="*/ 0 w 20"/>
                <a:gd name="T3" fmla="*/ 2 h 36"/>
                <a:gd name="T4" fmla="*/ 0 w 20"/>
                <a:gd name="T5" fmla="*/ 34 h 36"/>
                <a:gd name="T6" fmla="*/ 0 w 20"/>
                <a:gd name="T7" fmla="*/ 36 h 36"/>
                <a:gd name="T8" fmla="*/ 20 w 20"/>
                <a:gd name="T9" fmla="*/ 18 h 36"/>
                <a:gd name="T10" fmla="*/ 0 w 20"/>
                <a:gd name="T11" fmla="*/ 0 h 36"/>
              </a:gdLst>
              <a:ahLst/>
              <a:cxnLst>
                <a:cxn ang="0">
                  <a:pos x="T0" y="T1"/>
                </a:cxn>
                <a:cxn ang="0">
                  <a:pos x="T2" y="T3"/>
                </a:cxn>
                <a:cxn ang="0">
                  <a:pos x="T4" y="T5"/>
                </a:cxn>
                <a:cxn ang="0">
                  <a:pos x="T6" y="T7"/>
                </a:cxn>
                <a:cxn ang="0">
                  <a:pos x="T8" y="T9"/>
                </a:cxn>
                <a:cxn ang="0">
                  <a:pos x="T10" y="T11"/>
                </a:cxn>
              </a:cxnLst>
              <a:rect l="0" t="0" r="r" b="b"/>
              <a:pathLst>
                <a:path w="20" h="36">
                  <a:moveTo>
                    <a:pt x="0" y="0"/>
                  </a:moveTo>
                  <a:cubicBezTo>
                    <a:pt x="0" y="1"/>
                    <a:pt x="0" y="1"/>
                    <a:pt x="0" y="2"/>
                  </a:cubicBezTo>
                  <a:cubicBezTo>
                    <a:pt x="0" y="34"/>
                    <a:pt x="0" y="34"/>
                    <a:pt x="0" y="34"/>
                  </a:cubicBezTo>
                  <a:cubicBezTo>
                    <a:pt x="0" y="35"/>
                    <a:pt x="0" y="35"/>
                    <a:pt x="0" y="36"/>
                  </a:cubicBezTo>
                  <a:cubicBezTo>
                    <a:pt x="20" y="18"/>
                    <a:pt x="20" y="18"/>
                    <a:pt x="20" y="18"/>
                  </a:cubicBezTo>
                  <a:lnTo>
                    <a:pt x="0" y="0"/>
                  </a:ln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54" name="Freeform 111">
              <a:extLst>
                <a:ext uri="{FF2B5EF4-FFF2-40B4-BE49-F238E27FC236}">
                  <a16:creationId xmlns:a16="http://schemas.microsoft.com/office/drawing/2014/main" id="{915118C6-9C4C-1948-5E29-DA2BFED20616}"/>
                </a:ext>
              </a:extLst>
            </p:cNvPr>
            <p:cNvSpPr>
              <a:spLocks/>
            </p:cNvSpPr>
            <p:nvPr/>
          </p:nvSpPr>
          <p:spPr bwMode="auto">
            <a:xfrm>
              <a:off x="5700179" y="5903587"/>
              <a:ext cx="266481" cy="80752"/>
            </a:xfrm>
            <a:custGeom>
              <a:avLst/>
              <a:gdLst>
                <a:gd name="T0" fmla="*/ 66 w 132"/>
                <a:gd name="T1" fmla="*/ 19 h 40"/>
                <a:gd name="T2" fmla="*/ 45 w 132"/>
                <a:gd name="T3" fmla="*/ 0 h 40"/>
                <a:gd name="T4" fmla="*/ 0 w 132"/>
                <a:gd name="T5" fmla="*/ 40 h 40"/>
                <a:gd name="T6" fmla="*/ 0 w 132"/>
                <a:gd name="T7" fmla="*/ 40 h 40"/>
                <a:gd name="T8" fmla="*/ 132 w 132"/>
                <a:gd name="T9" fmla="*/ 40 h 40"/>
                <a:gd name="T10" fmla="*/ 88 w 132"/>
                <a:gd name="T11" fmla="*/ 0 h 40"/>
                <a:gd name="T12" fmla="*/ 66 w 132"/>
                <a:gd name="T13" fmla="*/ 19 h 40"/>
              </a:gdLst>
              <a:ahLst/>
              <a:cxnLst>
                <a:cxn ang="0">
                  <a:pos x="T0" y="T1"/>
                </a:cxn>
                <a:cxn ang="0">
                  <a:pos x="T2" y="T3"/>
                </a:cxn>
                <a:cxn ang="0">
                  <a:pos x="T4" y="T5"/>
                </a:cxn>
                <a:cxn ang="0">
                  <a:pos x="T6" y="T7"/>
                </a:cxn>
                <a:cxn ang="0">
                  <a:pos x="T8" y="T9"/>
                </a:cxn>
                <a:cxn ang="0">
                  <a:pos x="T10" y="T11"/>
                </a:cxn>
                <a:cxn ang="0">
                  <a:pos x="T12" y="T13"/>
                </a:cxn>
              </a:cxnLst>
              <a:rect l="0" t="0" r="r" b="b"/>
              <a:pathLst>
                <a:path w="132" h="40">
                  <a:moveTo>
                    <a:pt x="66" y="19"/>
                  </a:moveTo>
                  <a:lnTo>
                    <a:pt x="45" y="0"/>
                  </a:lnTo>
                  <a:lnTo>
                    <a:pt x="0" y="40"/>
                  </a:lnTo>
                  <a:lnTo>
                    <a:pt x="0" y="40"/>
                  </a:lnTo>
                  <a:lnTo>
                    <a:pt x="132" y="40"/>
                  </a:lnTo>
                  <a:lnTo>
                    <a:pt x="88" y="0"/>
                  </a:lnTo>
                  <a:lnTo>
                    <a:pt x="66" y="19"/>
                  </a:ln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grpSp>
      <p:sp>
        <p:nvSpPr>
          <p:cNvPr id="55" name="Freeform 165">
            <a:extLst>
              <a:ext uri="{FF2B5EF4-FFF2-40B4-BE49-F238E27FC236}">
                <a16:creationId xmlns:a16="http://schemas.microsoft.com/office/drawing/2014/main" id="{400ABCEF-27A4-8DB2-0316-F6C895427672}"/>
              </a:ext>
            </a:extLst>
          </p:cNvPr>
          <p:cNvSpPr>
            <a:spLocks noEditPoints="1"/>
          </p:cNvSpPr>
          <p:nvPr/>
        </p:nvSpPr>
        <p:spPr bwMode="auto">
          <a:xfrm flipH="1">
            <a:off x="6556375" y="966788"/>
            <a:ext cx="190500" cy="196850"/>
          </a:xfrm>
          <a:custGeom>
            <a:avLst/>
            <a:gdLst>
              <a:gd name="T0" fmla="*/ 76 w 151"/>
              <a:gd name="T1" fmla="*/ 0 h 152"/>
              <a:gd name="T2" fmla="*/ 9 w 151"/>
              <a:gd name="T3" fmla="*/ 142 h 152"/>
              <a:gd name="T4" fmla="*/ 0 w 151"/>
              <a:gd name="T5" fmla="*/ 152 h 152"/>
              <a:gd name="T6" fmla="*/ 151 w 151"/>
              <a:gd name="T7" fmla="*/ 38 h 152"/>
              <a:gd name="T8" fmla="*/ 57 w 151"/>
              <a:gd name="T9" fmla="*/ 142 h 152"/>
              <a:gd name="T10" fmla="*/ 28 w 151"/>
              <a:gd name="T11" fmla="*/ 123 h 152"/>
              <a:gd name="T12" fmla="*/ 57 w 151"/>
              <a:gd name="T13" fmla="*/ 142 h 152"/>
              <a:gd name="T14" fmla="*/ 19 w 151"/>
              <a:gd name="T15" fmla="*/ 104 h 152"/>
              <a:gd name="T16" fmla="*/ 66 w 151"/>
              <a:gd name="T17" fmla="*/ 95 h 152"/>
              <a:gd name="T18" fmla="*/ 66 w 151"/>
              <a:gd name="T19" fmla="*/ 85 h 152"/>
              <a:gd name="T20" fmla="*/ 19 w 151"/>
              <a:gd name="T21" fmla="*/ 76 h 152"/>
              <a:gd name="T22" fmla="*/ 66 w 151"/>
              <a:gd name="T23" fmla="*/ 85 h 152"/>
              <a:gd name="T24" fmla="*/ 19 w 151"/>
              <a:gd name="T25" fmla="*/ 66 h 152"/>
              <a:gd name="T26" fmla="*/ 66 w 151"/>
              <a:gd name="T27" fmla="*/ 57 h 152"/>
              <a:gd name="T28" fmla="*/ 66 w 151"/>
              <a:gd name="T29" fmla="*/ 47 h 152"/>
              <a:gd name="T30" fmla="*/ 19 w 151"/>
              <a:gd name="T31" fmla="*/ 38 h 152"/>
              <a:gd name="T32" fmla="*/ 66 w 151"/>
              <a:gd name="T33" fmla="*/ 47 h 152"/>
              <a:gd name="T34" fmla="*/ 19 w 151"/>
              <a:gd name="T35" fmla="*/ 29 h 152"/>
              <a:gd name="T36" fmla="*/ 66 w 151"/>
              <a:gd name="T37" fmla="*/ 19 h 152"/>
              <a:gd name="T38" fmla="*/ 113 w 151"/>
              <a:gd name="T39" fmla="*/ 133 h 152"/>
              <a:gd name="T40" fmla="*/ 95 w 151"/>
              <a:gd name="T41" fmla="*/ 114 h 152"/>
              <a:gd name="T42" fmla="*/ 113 w 151"/>
              <a:gd name="T43" fmla="*/ 133 h 152"/>
              <a:gd name="T44" fmla="*/ 95 w 151"/>
              <a:gd name="T45" fmla="*/ 104 h 152"/>
              <a:gd name="T46" fmla="*/ 113 w 151"/>
              <a:gd name="T47" fmla="*/ 85 h 152"/>
              <a:gd name="T48" fmla="*/ 113 w 151"/>
              <a:gd name="T49" fmla="*/ 76 h 152"/>
              <a:gd name="T50" fmla="*/ 95 w 151"/>
              <a:gd name="T51" fmla="*/ 57 h 152"/>
              <a:gd name="T52" fmla="*/ 113 w 151"/>
              <a:gd name="T53" fmla="*/ 76 h 152"/>
              <a:gd name="T54" fmla="*/ 123 w 151"/>
              <a:gd name="T55" fmla="*/ 133 h 152"/>
              <a:gd name="T56" fmla="*/ 142 w 151"/>
              <a:gd name="T57" fmla="*/ 114 h 152"/>
              <a:gd name="T58" fmla="*/ 142 w 151"/>
              <a:gd name="T59" fmla="*/ 104 h 152"/>
              <a:gd name="T60" fmla="*/ 123 w 151"/>
              <a:gd name="T61" fmla="*/ 85 h 152"/>
              <a:gd name="T62" fmla="*/ 142 w 151"/>
              <a:gd name="T63" fmla="*/ 104 h 152"/>
              <a:gd name="T64" fmla="*/ 123 w 151"/>
              <a:gd name="T65" fmla="*/ 76 h 152"/>
              <a:gd name="T66" fmla="*/ 142 w 151"/>
              <a:gd name="T67" fmla="*/ 5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1" h="152">
                <a:moveTo>
                  <a:pt x="76" y="38"/>
                </a:moveTo>
                <a:lnTo>
                  <a:pt x="76" y="0"/>
                </a:lnTo>
                <a:lnTo>
                  <a:pt x="9" y="0"/>
                </a:lnTo>
                <a:lnTo>
                  <a:pt x="9" y="142"/>
                </a:lnTo>
                <a:lnTo>
                  <a:pt x="0" y="142"/>
                </a:lnTo>
                <a:lnTo>
                  <a:pt x="0" y="152"/>
                </a:lnTo>
                <a:lnTo>
                  <a:pt x="151" y="152"/>
                </a:lnTo>
                <a:lnTo>
                  <a:pt x="151" y="38"/>
                </a:lnTo>
                <a:lnTo>
                  <a:pt x="76" y="38"/>
                </a:lnTo>
                <a:close/>
                <a:moveTo>
                  <a:pt x="57" y="142"/>
                </a:moveTo>
                <a:lnTo>
                  <a:pt x="28" y="142"/>
                </a:lnTo>
                <a:lnTo>
                  <a:pt x="28" y="123"/>
                </a:lnTo>
                <a:lnTo>
                  <a:pt x="57" y="123"/>
                </a:lnTo>
                <a:lnTo>
                  <a:pt x="57" y="142"/>
                </a:lnTo>
                <a:close/>
                <a:moveTo>
                  <a:pt x="66" y="104"/>
                </a:moveTo>
                <a:lnTo>
                  <a:pt x="19" y="104"/>
                </a:lnTo>
                <a:lnTo>
                  <a:pt x="19" y="95"/>
                </a:lnTo>
                <a:lnTo>
                  <a:pt x="66" y="95"/>
                </a:lnTo>
                <a:lnTo>
                  <a:pt x="66" y="104"/>
                </a:lnTo>
                <a:close/>
                <a:moveTo>
                  <a:pt x="66" y="85"/>
                </a:moveTo>
                <a:lnTo>
                  <a:pt x="19" y="85"/>
                </a:lnTo>
                <a:lnTo>
                  <a:pt x="19" y="76"/>
                </a:lnTo>
                <a:lnTo>
                  <a:pt x="66" y="76"/>
                </a:lnTo>
                <a:lnTo>
                  <a:pt x="66" y="85"/>
                </a:lnTo>
                <a:close/>
                <a:moveTo>
                  <a:pt x="66" y="66"/>
                </a:moveTo>
                <a:lnTo>
                  <a:pt x="19" y="66"/>
                </a:lnTo>
                <a:lnTo>
                  <a:pt x="19" y="57"/>
                </a:lnTo>
                <a:lnTo>
                  <a:pt x="66" y="57"/>
                </a:lnTo>
                <a:lnTo>
                  <a:pt x="66" y="66"/>
                </a:lnTo>
                <a:close/>
                <a:moveTo>
                  <a:pt x="66" y="47"/>
                </a:moveTo>
                <a:lnTo>
                  <a:pt x="19" y="47"/>
                </a:lnTo>
                <a:lnTo>
                  <a:pt x="19" y="38"/>
                </a:lnTo>
                <a:lnTo>
                  <a:pt x="66" y="38"/>
                </a:lnTo>
                <a:lnTo>
                  <a:pt x="66" y="47"/>
                </a:lnTo>
                <a:close/>
                <a:moveTo>
                  <a:pt x="66" y="29"/>
                </a:moveTo>
                <a:lnTo>
                  <a:pt x="19" y="29"/>
                </a:lnTo>
                <a:lnTo>
                  <a:pt x="19" y="19"/>
                </a:lnTo>
                <a:lnTo>
                  <a:pt x="66" y="19"/>
                </a:lnTo>
                <a:lnTo>
                  <a:pt x="66" y="29"/>
                </a:lnTo>
                <a:close/>
                <a:moveTo>
                  <a:pt x="113" y="133"/>
                </a:moveTo>
                <a:lnTo>
                  <a:pt x="95" y="133"/>
                </a:lnTo>
                <a:lnTo>
                  <a:pt x="95" y="114"/>
                </a:lnTo>
                <a:lnTo>
                  <a:pt x="113" y="114"/>
                </a:lnTo>
                <a:lnTo>
                  <a:pt x="113" y="133"/>
                </a:lnTo>
                <a:close/>
                <a:moveTo>
                  <a:pt x="113" y="104"/>
                </a:moveTo>
                <a:lnTo>
                  <a:pt x="95" y="104"/>
                </a:lnTo>
                <a:lnTo>
                  <a:pt x="95" y="85"/>
                </a:lnTo>
                <a:lnTo>
                  <a:pt x="113" y="85"/>
                </a:lnTo>
                <a:lnTo>
                  <a:pt x="113" y="104"/>
                </a:lnTo>
                <a:close/>
                <a:moveTo>
                  <a:pt x="113" y="76"/>
                </a:moveTo>
                <a:lnTo>
                  <a:pt x="95" y="76"/>
                </a:lnTo>
                <a:lnTo>
                  <a:pt x="95" y="57"/>
                </a:lnTo>
                <a:lnTo>
                  <a:pt x="113" y="57"/>
                </a:lnTo>
                <a:lnTo>
                  <a:pt x="113" y="76"/>
                </a:lnTo>
                <a:close/>
                <a:moveTo>
                  <a:pt x="142" y="133"/>
                </a:moveTo>
                <a:lnTo>
                  <a:pt x="123" y="133"/>
                </a:lnTo>
                <a:lnTo>
                  <a:pt x="123" y="114"/>
                </a:lnTo>
                <a:lnTo>
                  <a:pt x="142" y="114"/>
                </a:lnTo>
                <a:lnTo>
                  <a:pt x="142" y="133"/>
                </a:lnTo>
                <a:close/>
                <a:moveTo>
                  <a:pt x="142" y="104"/>
                </a:moveTo>
                <a:lnTo>
                  <a:pt x="123" y="104"/>
                </a:lnTo>
                <a:lnTo>
                  <a:pt x="123" y="85"/>
                </a:lnTo>
                <a:lnTo>
                  <a:pt x="142" y="85"/>
                </a:lnTo>
                <a:lnTo>
                  <a:pt x="142" y="104"/>
                </a:lnTo>
                <a:close/>
                <a:moveTo>
                  <a:pt x="142" y="76"/>
                </a:moveTo>
                <a:lnTo>
                  <a:pt x="123" y="76"/>
                </a:lnTo>
                <a:lnTo>
                  <a:pt x="123" y="57"/>
                </a:lnTo>
                <a:lnTo>
                  <a:pt x="142" y="57"/>
                </a:lnTo>
                <a:lnTo>
                  <a:pt x="142" y="76"/>
                </a:lnTo>
                <a:close/>
              </a:path>
            </a:pathLst>
          </a:custGeom>
          <a:solidFill>
            <a:schemeClr val="accent2">
              <a:lumMod val="60000"/>
              <a:lumOff val="40000"/>
            </a:schemeClr>
          </a:solidFill>
          <a:ln>
            <a:noFill/>
          </a:ln>
        </p:spPr>
        <p:txBody>
          <a:bodyPr lIns="68580" tIns="34290" rIns="68580" bIns="34290"/>
          <a:lstStyle/>
          <a:p>
            <a:pPr eaLnBrk="1" fontAlgn="auto" hangingPunct="1">
              <a:spcBef>
                <a:spcPts val="0"/>
              </a:spcBef>
              <a:spcAft>
                <a:spcPts val="0"/>
              </a:spcAft>
              <a:defRPr/>
            </a:pPr>
            <a:endParaRPr lang="id-ID" sz="1350">
              <a:solidFill>
                <a:schemeClr val="bg2">
                  <a:lumMod val="10000"/>
                </a:schemeClr>
              </a:solidFill>
              <a:latin typeface="Open Sans" pitchFamily="34" charset="0"/>
              <a:ea typeface="Open Sans" pitchFamily="34" charset="0"/>
              <a:cs typeface="Open Sans" pitchFamily="34" charset="0"/>
            </a:endParaRPr>
          </a:p>
        </p:txBody>
      </p:sp>
      <p:grpSp>
        <p:nvGrpSpPr>
          <p:cNvPr id="56" name="Grup 55">
            <a:extLst>
              <a:ext uri="{FF2B5EF4-FFF2-40B4-BE49-F238E27FC236}">
                <a16:creationId xmlns:a16="http://schemas.microsoft.com/office/drawing/2014/main" id="{9E69FFFF-7CF1-A2DF-B005-B0C61AF18BAC}"/>
              </a:ext>
            </a:extLst>
          </p:cNvPr>
          <p:cNvGrpSpPr/>
          <p:nvPr/>
        </p:nvGrpSpPr>
        <p:grpSpPr>
          <a:xfrm flipH="1">
            <a:off x="6553613" y="1578956"/>
            <a:ext cx="178475" cy="172715"/>
            <a:chOff x="5680558" y="6103512"/>
            <a:chExt cx="307748" cy="289404"/>
          </a:xfrm>
          <a:solidFill>
            <a:schemeClr val="accent2">
              <a:lumMod val="60000"/>
              <a:lumOff val="40000"/>
            </a:schemeClr>
          </a:solidFill>
        </p:grpSpPr>
        <p:sp>
          <p:nvSpPr>
            <p:cNvPr id="57" name="Freeform 65">
              <a:extLst>
                <a:ext uri="{FF2B5EF4-FFF2-40B4-BE49-F238E27FC236}">
                  <a16:creationId xmlns:a16="http://schemas.microsoft.com/office/drawing/2014/main" id="{0A50E92F-FE8D-0DCF-F413-EBD559C2E4F3}"/>
                </a:ext>
              </a:extLst>
            </p:cNvPr>
            <p:cNvSpPr>
              <a:spLocks/>
            </p:cNvSpPr>
            <p:nvPr/>
          </p:nvSpPr>
          <p:spPr bwMode="auto">
            <a:xfrm>
              <a:off x="5680558" y="6103512"/>
              <a:ext cx="307748" cy="116170"/>
            </a:xfrm>
            <a:custGeom>
              <a:avLst/>
              <a:gdLst>
                <a:gd name="T0" fmla="*/ 59 w 64"/>
                <a:gd name="T1" fmla="*/ 8 h 24"/>
                <a:gd name="T2" fmla="*/ 32 w 64"/>
                <a:gd name="T3" fmla="*/ 0 h 24"/>
                <a:gd name="T4" fmla="*/ 5 w 64"/>
                <a:gd name="T5" fmla="*/ 8 h 24"/>
                <a:gd name="T6" fmla="*/ 0 w 64"/>
                <a:gd name="T7" fmla="*/ 16 h 24"/>
                <a:gd name="T8" fmla="*/ 0 w 64"/>
                <a:gd name="T9" fmla="*/ 20 h 24"/>
                <a:gd name="T10" fmla="*/ 4 w 64"/>
                <a:gd name="T11" fmla="*/ 24 h 24"/>
                <a:gd name="T12" fmla="*/ 12 w 64"/>
                <a:gd name="T13" fmla="*/ 24 h 24"/>
                <a:gd name="T14" fmla="*/ 16 w 64"/>
                <a:gd name="T15" fmla="*/ 20 h 24"/>
                <a:gd name="T16" fmla="*/ 18 w 64"/>
                <a:gd name="T17" fmla="*/ 13 h 24"/>
                <a:gd name="T18" fmla="*/ 32 w 64"/>
                <a:gd name="T19" fmla="*/ 8 h 24"/>
                <a:gd name="T20" fmla="*/ 46 w 64"/>
                <a:gd name="T21" fmla="*/ 13 h 24"/>
                <a:gd name="T22" fmla="*/ 48 w 64"/>
                <a:gd name="T23" fmla="*/ 20 h 24"/>
                <a:gd name="T24" fmla="*/ 52 w 64"/>
                <a:gd name="T25" fmla="*/ 24 h 24"/>
                <a:gd name="T26" fmla="*/ 60 w 64"/>
                <a:gd name="T27" fmla="*/ 24 h 24"/>
                <a:gd name="T28" fmla="*/ 64 w 64"/>
                <a:gd name="T29" fmla="*/ 20 h 24"/>
                <a:gd name="T30" fmla="*/ 64 w 64"/>
                <a:gd name="T31" fmla="*/ 16 h 24"/>
                <a:gd name="T32" fmla="*/ 59 w 64"/>
                <a:gd name="T33"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24">
                  <a:moveTo>
                    <a:pt x="59" y="8"/>
                  </a:moveTo>
                  <a:cubicBezTo>
                    <a:pt x="55" y="4"/>
                    <a:pt x="48" y="0"/>
                    <a:pt x="32" y="0"/>
                  </a:cubicBezTo>
                  <a:cubicBezTo>
                    <a:pt x="16" y="0"/>
                    <a:pt x="10" y="4"/>
                    <a:pt x="5" y="8"/>
                  </a:cubicBezTo>
                  <a:cubicBezTo>
                    <a:pt x="2" y="11"/>
                    <a:pt x="0" y="12"/>
                    <a:pt x="0" y="16"/>
                  </a:cubicBezTo>
                  <a:cubicBezTo>
                    <a:pt x="0" y="20"/>
                    <a:pt x="0" y="20"/>
                    <a:pt x="0" y="20"/>
                  </a:cubicBezTo>
                  <a:cubicBezTo>
                    <a:pt x="0" y="22"/>
                    <a:pt x="2" y="24"/>
                    <a:pt x="4" y="24"/>
                  </a:cubicBezTo>
                  <a:cubicBezTo>
                    <a:pt x="12" y="24"/>
                    <a:pt x="12" y="24"/>
                    <a:pt x="12" y="24"/>
                  </a:cubicBezTo>
                  <a:cubicBezTo>
                    <a:pt x="14" y="24"/>
                    <a:pt x="16" y="22"/>
                    <a:pt x="16" y="20"/>
                  </a:cubicBezTo>
                  <a:cubicBezTo>
                    <a:pt x="16" y="18"/>
                    <a:pt x="16" y="16"/>
                    <a:pt x="18" y="13"/>
                  </a:cubicBezTo>
                  <a:cubicBezTo>
                    <a:pt x="20" y="11"/>
                    <a:pt x="24" y="8"/>
                    <a:pt x="32" y="8"/>
                  </a:cubicBezTo>
                  <a:cubicBezTo>
                    <a:pt x="40" y="8"/>
                    <a:pt x="44" y="11"/>
                    <a:pt x="46" y="13"/>
                  </a:cubicBezTo>
                  <a:cubicBezTo>
                    <a:pt x="48" y="16"/>
                    <a:pt x="48" y="18"/>
                    <a:pt x="48" y="20"/>
                  </a:cubicBezTo>
                  <a:cubicBezTo>
                    <a:pt x="48" y="22"/>
                    <a:pt x="50" y="24"/>
                    <a:pt x="52" y="24"/>
                  </a:cubicBezTo>
                  <a:cubicBezTo>
                    <a:pt x="60" y="24"/>
                    <a:pt x="60" y="24"/>
                    <a:pt x="60" y="24"/>
                  </a:cubicBezTo>
                  <a:cubicBezTo>
                    <a:pt x="62" y="24"/>
                    <a:pt x="64" y="22"/>
                    <a:pt x="64" y="20"/>
                  </a:cubicBezTo>
                  <a:cubicBezTo>
                    <a:pt x="64" y="16"/>
                    <a:pt x="64" y="16"/>
                    <a:pt x="64" y="16"/>
                  </a:cubicBezTo>
                  <a:cubicBezTo>
                    <a:pt x="64" y="12"/>
                    <a:pt x="62" y="11"/>
                    <a:pt x="59" y="8"/>
                  </a:cubicBez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58" name="Oval 66">
              <a:extLst>
                <a:ext uri="{FF2B5EF4-FFF2-40B4-BE49-F238E27FC236}">
                  <a16:creationId xmlns:a16="http://schemas.microsoft.com/office/drawing/2014/main" id="{7334E322-535C-8FE1-2F75-907F999B768F}"/>
                </a:ext>
              </a:extLst>
            </p:cNvPr>
            <p:cNvSpPr>
              <a:spLocks noChangeArrowheads="1"/>
            </p:cNvSpPr>
            <p:nvPr/>
          </p:nvSpPr>
          <p:spPr bwMode="auto">
            <a:xfrm>
              <a:off x="5794689" y="6276747"/>
              <a:ext cx="77446" cy="77446"/>
            </a:xfrm>
            <a:prstGeom prst="ellipse">
              <a:avLst/>
            </a:pr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59" name="Freeform 67">
              <a:extLst>
                <a:ext uri="{FF2B5EF4-FFF2-40B4-BE49-F238E27FC236}">
                  <a16:creationId xmlns:a16="http://schemas.microsoft.com/office/drawing/2014/main" id="{6E009DA1-F15E-A1A4-051E-63D361A7CA52}"/>
                </a:ext>
              </a:extLst>
            </p:cNvPr>
            <p:cNvSpPr>
              <a:spLocks noEditPoints="1"/>
            </p:cNvSpPr>
            <p:nvPr/>
          </p:nvSpPr>
          <p:spPr bwMode="auto">
            <a:xfrm>
              <a:off x="5698900" y="6180958"/>
              <a:ext cx="271063" cy="211958"/>
            </a:xfrm>
            <a:custGeom>
              <a:avLst/>
              <a:gdLst>
                <a:gd name="T0" fmla="*/ 42 w 56"/>
                <a:gd name="T1" fmla="*/ 8 h 44"/>
                <a:gd name="T2" fmla="*/ 40 w 56"/>
                <a:gd name="T3" fmla="*/ 8 h 44"/>
                <a:gd name="T4" fmla="*/ 40 w 56"/>
                <a:gd name="T5" fmla="*/ 3 h 44"/>
                <a:gd name="T6" fmla="*/ 36 w 56"/>
                <a:gd name="T7" fmla="*/ 0 h 44"/>
                <a:gd name="T8" fmla="*/ 32 w 56"/>
                <a:gd name="T9" fmla="*/ 3 h 44"/>
                <a:gd name="T10" fmla="*/ 32 w 56"/>
                <a:gd name="T11" fmla="*/ 8 h 44"/>
                <a:gd name="T12" fmla="*/ 24 w 56"/>
                <a:gd name="T13" fmla="*/ 8 h 44"/>
                <a:gd name="T14" fmla="*/ 24 w 56"/>
                <a:gd name="T15" fmla="*/ 3 h 44"/>
                <a:gd name="T16" fmla="*/ 20 w 56"/>
                <a:gd name="T17" fmla="*/ 0 h 44"/>
                <a:gd name="T18" fmla="*/ 16 w 56"/>
                <a:gd name="T19" fmla="*/ 3 h 44"/>
                <a:gd name="T20" fmla="*/ 16 w 56"/>
                <a:gd name="T21" fmla="*/ 8 h 44"/>
                <a:gd name="T22" fmla="*/ 14 w 56"/>
                <a:gd name="T23" fmla="*/ 8 h 44"/>
                <a:gd name="T24" fmla="*/ 11 w 56"/>
                <a:gd name="T25" fmla="*/ 10 h 44"/>
                <a:gd name="T26" fmla="*/ 0 w 56"/>
                <a:gd name="T27" fmla="*/ 32 h 44"/>
                <a:gd name="T28" fmla="*/ 0 w 56"/>
                <a:gd name="T29" fmla="*/ 40 h 44"/>
                <a:gd name="T30" fmla="*/ 4 w 56"/>
                <a:gd name="T31" fmla="*/ 44 h 44"/>
                <a:gd name="T32" fmla="*/ 52 w 56"/>
                <a:gd name="T33" fmla="*/ 44 h 44"/>
                <a:gd name="T34" fmla="*/ 56 w 56"/>
                <a:gd name="T35" fmla="*/ 40 h 44"/>
                <a:gd name="T36" fmla="*/ 56 w 56"/>
                <a:gd name="T37" fmla="*/ 32 h 44"/>
                <a:gd name="T38" fmla="*/ 45 w 56"/>
                <a:gd name="T39" fmla="*/ 10 h 44"/>
                <a:gd name="T40" fmla="*/ 42 w 56"/>
                <a:gd name="T41" fmla="*/ 8 h 44"/>
                <a:gd name="T42" fmla="*/ 28 w 56"/>
                <a:gd name="T43" fmla="*/ 40 h 44"/>
                <a:gd name="T44" fmla="*/ 16 w 56"/>
                <a:gd name="T45" fmla="*/ 28 h 44"/>
                <a:gd name="T46" fmla="*/ 28 w 56"/>
                <a:gd name="T47" fmla="*/ 16 h 44"/>
                <a:gd name="T48" fmla="*/ 40 w 56"/>
                <a:gd name="T49" fmla="*/ 28 h 44"/>
                <a:gd name="T50" fmla="*/ 28 w 56"/>
                <a:gd name="T51"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6" h="44">
                  <a:moveTo>
                    <a:pt x="42" y="8"/>
                  </a:moveTo>
                  <a:cubicBezTo>
                    <a:pt x="40" y="8"/>
                    <a:pt x="40" y="8"/>
                    <a:pt x="40" y="8"/>
                  </a:cubicBezTo>
                  <a:cubicBezTo>
                    <a:pt x="40" y="3"/>
                    <a:pt x="40" y="3"/>
                    <a:pt x="40" y="3"/>
                  </a:cubicBezTo>
                  <a:cubicBezTo>
                    <a:pt x="40" y="1"/>
                    <a:pt x="38" y="0"/>
                    <a:pt x="36" y="0"/>
                  </a:cubicBezTo>
                  <a:cubicBezTo>
                    <a:pt x="34" y="0"/>
                    <a:pt x="32" y="1"/>
                    <a:pt x="32" y="3"/>
                  </a:cubicBezTo>
                  <a:cubicBezTo>
                    <a:pt x="32" y="8"/>
                    <a:pt x="32" y="8"/>
                    <a:pt x="32" y="8"/>
                  </a:cubicBezTo>
                  <a:cubicBezTo>
                    <a:pt x="24" y="8"/>
                    <a:pt x="24" y="8"/>
                    <a:pt x="24" y="8"/>
                  </a:cubicBezTo>
                  <a:cubicBezTo>
                    <a:pt x="24" y="3"/>
                    <a:pt x="24" y="3"/>
                    <a:pt x="24" y="3"/>
                  </a:cubicBezTo>
                  <a:cubicBezTo>
                    <a:pt x="24" y="1"/>
                    <a:pt x="22" y="0"/>
                    <a:pt x="20" y="0"/>
                  </a:cubicBezTo>
                  <a:cubicBezTo>
                    <a:pt x="18" y="0"/>
                    <a:pt x="16" y="1"/>
                    <a:pt x="16" y="3"/>
                  </a:cubicBezTo>
                  <a:cubicBezTo>
                    <a:pt x="16" y="8"/>
                    <a:pt x="16" y="8"/>
                    <a:pt x="16" y="8"/>
                  </a:cubicBezTo>
                  <a:cubicBezTo>
                    <a:pt x="14" y="8"/>
                    <a:pt x="14" y="8"/>
                    <a:pt x="14" y="8"/>
                  </a:cubicBezTo>
                  <a:cubicBezTo>
                    <a:pt x="13" y="8"/>
                    <a:pt x="12" y="9"/>
                    <a:pt x="11" y="10"/>
                  </a:cubicBezTo>
                  <a:cubicBezTo>
                    <a:pt x="8" y="14"/>
                    <a:pt x="0" y="27"/>
                    <a:pt x="0" y="32"/>
                  </a:cubicBezTo>
                  <a:cubicBezTo>
                    <a:pt x="0" y="40"/>
                    <a:pt x="0" y="40"/>
                    <a:pt x="0" y="40"/>
                  </a:cubicBezTo>
                  <a:cubicBezTo>
                    <a:pt x="0" y="42"/>
                    <a:pt x="2" y="44"/>
                    <a:pt x="4" y="44"/>
                  </a:cubicBezTo>
                  <a:cubicBezTo>
                    <a:pt x="52" y="44"/>
                    <a:pt x="52" y="44"/>
                    <a:pt x="52" y="44"/>
                  </a:cubicBezTo>
                  <a:cubicBezTo>
                    <a:pt x="54" y="44"/>
                    <a:pt x="56" y="42"/>
                    <a:pt x="56" y="40"/>
                  </a:cubicBezTo>
                  <a:cubicBezTo>
                    <a:pt x="56" y="37"/>
                    <a:pt x="56" y="32"/>
                    <a:pt x="56" y="32"/>
                  </a:cubicBezTo>
                  <a:cubicBezTo>
                    <a:pt x="56" y="25"/>
                    <a:pt x="48" y="14"/>
                    <a:pt x="45" y="10"/>
                  </a:cubicBezTo>
                  <a:cubicBezTo>
                    <a:pt x="44" y="9"/>
                    <a:pt x="43" y="8"/>
                    <a:pt x="42" y="8"/>
                  </a:cubicBezTo>
                  <a:close/>
                  <a:moveTo>
                    <a:pt x="28" y="40"/>
                  </a:moveTo>
                  <a:cubicBezTo>
                    <a:pt x="21" y="40"/>
                    <a:pt x="16" y="35"/>
                    <a:pt x="16" y="28"/>
                  </a:cubicBezTo>
                  <a:cubicBezTo>
                    <a:pt x="16" y="21"/>
                    <a:pt x="21" y="16"/>
                    <a:pt x="28" y="16"/>
                  </a:cubicBezTo>
                  <a:cubicBezTo>
                    <a:pt x="35" y="16"/>
                    <a:pt x="40" y="21"/>
                    <a:pt x="40" y="28"/>
                  </a:cubicBezTo>
                  <a:cubicBezTo>
                    <a:pt x="40" y="35"/>
                    <a:pt x="35" y="40"/>
                    <a:pt x="28" y="40"/>
                  </a:cubicBez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grpSp>
      <p:sp>
        <p:nvSpPr>
          <p:cNvPr id="42000" name="Dikdörtgen 60">
            <a:extLst>
              <a:ext uri="{FF2B5EF4-FFF2-40B4-BE49-F238E27FC236}">
                <a16:creationId xmlns:a16="http://schemas.microsoft.com/office/drawing/2014/main" id="{42AB9AB0-4675-88E9-5FA4-20CB36C461A0}"/>
              </a:ext>
            </a:extLst>
          </p:cNvPr>
          <p:cNvSpPr>
            <a:spLocks noChangeArrowheads="1"/>
          </p:cNvSpPr>
          <p:nvPr/>
        </p:nvSpPr>
        <p:spPr bwMode="auto">
          <a:xfrm>
            <a:off x="6786563" y="546100"/>
            <a:ext cx="31654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r>
              <a:rPr lang="tr-TR" altLang="tr-TR" sz="1200" b="1">
                <a:solidFill>
                  <a:srgbClr val="AD119B"/>
                </a:solidFill>
                <a:latin typeface="Open Sans" panose="020B0606030504020204" pitchFamily="34" charset="0"/>
                <a:cs typeface="Open Sans" panose="020B0606030504020204" pitchFamily="34" charset="0"/>
              </a:rPr>
              <a:t>İzmir Ege Bölge Müdürlüğü</a:t>
            </a:r>
            <a:endParaRPr lang="tr-TR" altLang="tr-TR" sz="1200" u="sng">
              <a:solidFill>
                <a:srgbClr val="AD119B"/>
              </a:solidFill>
              <a:latin typeface="Open Sans" panose="020B0606030504020204" pitchFamily="34" charset="0"/>
              <a:cs typeface="Open Sans" panose="020B0606030504020204" pitchFamily="34" charset="0"/>
            </a:endParaRPr>
          </a:p>
        </p:txBody>
      </p:sp>
      <p:sp>
        <p:nvSpPr>
          <p:cNvPr id="140" name="TextBox 14">
            <a:extLst>
              <a:ext uri="{FF2B5EF4-FFF2-40B4-BE49-F238E27FC236}">
                <a16:creationId xmlns:a16="http://schemas.microsoft.com/office/drawing/2014/main" id="{36BE18FD-367E-AEC3-5B48-3C647F98AA45}"/>
              </a:ext>
            </a:extLst>
          </p:cNvPr>
          <p:cNvSpPr txBox="1"/>
          <p:nvPr/>
        </p:nvSpPr>
        <p:spPr>
          <a:xfrm>
            <a:off x="1938338" y="1968500"/>
            <a:ext cx="2801937" cy="246063"/>
          </a:xfrm>
          <a:prstGeom prst="rect">
            <a:avLst/>
          </a:prstGeom>
          <a:noFill/>
        </p:spPr>
        <p:txBody>
          <a:bodyPr>
            <a:spAutoFit/>
          </a:bodyPr>
          <a:lstStyle/>
          <a:p>
            <a:pPr eaLnBrk="1" fontAlgn="auto" hangingPunct="1">
              <a:spcBef>
                <a:spcPts val="0"/>
              </a:spcBef>
              <a:spcAft>
                <a:spcPts val="0"/>
              </a:spcAft>
              <a:defRPr/>
            </a:pPr>
            <a:r>
              <a:rPr lang="tr-TR" sz="1000">
                <a:solidFill>
                  <a:schemeClr val="bg2">
                    <a:lumMod val="10000"/>
                  </a:schemeClr>
                </a:solidFill>
                <a:latin typeface="Open Sans" pitchFamily="34" charset="0"/>
                <a:ea typeface="Open Sans" pitchFamily="34" charset="0"/>
                <a:cs typeface="Open Sans" pitchFamily="34" charset="0"/>
              </a:rPr>
              <a:t>vizyon@vizyongd.com</a:t>
            </a:r>
            <a:endParaRPr lang="id-ID" sz="1000">
              <a:solidFill>
                <a:schemeClr val="bg2">
                  <a:lumMod val="10000"/>
                </a:schemeClr>
              </a:solidFill>
              <a:latin typeface="Open Sans" pitchFamily="34" charset="0"/>
              <a:ea typeface="Open Sans" pitchFamily="34" charset="0"/>
              <a:cs typeface="Open Sans" pitchFamily="34" charset="0"/>
            </a:endParaRPr>
          </a:p>
        </p:txBody>
      </p:sp>
      <p:sp>
        <p:nvSpPr>
          <p:cNvPr id="141" name="TextBox 15">
            <a:extLst>
              <a:ext uri="{FF2B5EF4-FFF2-40B4-BE49-F238E27FC236}">
                <a16:creationId xmlns:a16="http://schemas.microsoft.com/office/drawing/2014/main" id="{24761B20-238B-4F64-BFBD-31431FC425D8}"/>
              </a:ext>
            </a:extLst>
          </p:cNvPr>
          <p:cNvSpPr txBox="1"/>
          <p:nvPr/>
        </p:nvSpPr>
        <p:spPr>
          <a:xfrm>
            <a:off x="1928813" y="2262188"/>
            <a:ext cx="2811462" cy="246062"/>
          </a:xfrm>
          <a:prstGeom prst="rect">
            <a:avLst/>
          </a:prstGeom>
          <a:noFill/>
        </p:spPr>
        <p:txBody>
          <a:bodyPr>
            <a:spAutoFit/>
          </a:bodyPr>
          <a:lstStyle/>
          <a:p>
            <a:pPr eaLnBrk="1" fontAlgn="auto" hangingPunct="1">
              <a:spcBef>
                <a:spcPts val="0"/>
              </a:spcBef>
              <a:spcAft>
                <a:spcPts val="0"/>
              </a:spcAft>
              <a:defRPr/>
            </a:pPr>
            <a:r>
              <a:rPr lang="tr-TR" sz="1000">
                <a:latin typeface="Open Sans" pitchFamily="34" charset="0"/>
                <a:ea typeface="Open Sans" pitchFamily="34" charset="0"/>
                <a:cs typeface="Open Sans" pitchFamily="34" charset="0"/>
              </a:rPr>
              <a:t>(0216) 445 93 03</a:t>
            </a:r>
            <a:endParaRPr lang="id-ID" sz="1000">
              <a:solidFill>
                <a:schemeClr val="bg2">
                  <a:lumMod val="10000"/>
                </a:schemeClr>
              </a:solidFill>
              <a:latin typeface="Open Sans" pitchFamily="34" charset="0"/>
              <a:ea typeface="Open Sans" pitchFamily="34" charset="0"/>
              <a:cs typeface="Open Sans" pitchFamily="34" charset="0"/>
            </a:endParaRPr>
          </a:p>
        </p:txBody>
      </p:sp>
      <p:grpSp>
        <p:nvGrpSpPr>
          <p:cNvPr id="142" name="Grup 141">
            <a:extLst>
              <a:ext uri="{FF2B5EF4-FFF2-40B4-BE49-F238E27FC236}">
                <a16:creationId xmlns:a16="http://schemas.microsoft.com/office/drawing/2014/main" id="{AF37582D-966E-E0B9-AE52-B581ED771058}"/>
              </a:ext>
            </a:extLst>
          </p:cNvPr>
          <p:cNvGrpSpPr/>
          <p:nvPr/>
        </p:nvGrpSpPr>
        <p:grpSpPr>
          <a:xfrm flipH="1">
            <a:off x="1736646" y="2027135"/>
            <a:ext cx="198435" cy="128471"/>
            <a:chOff x="5682010" y="5792554"/>
            <a:chExt cx="304839" cy="191785"/>
          </a:xfrm>
          <a:solidFill>
            <a:schemeClr val="accent2">
              <a:lumMod val="60000"/>
              <a:lumOff val="40000"/>
            </a:schemeClr>
          </a:solidFill>
        </p:grpSpPr>
        <p:sp>
          <p:nvSpPr>
            <p:cNvPr id="150" name="Freeform 108">
              <a:extLst>
                <a:ext uri="{FF2B5EF4-FFF2-40B4-BE49-F238E27FC236}">
                  <a16:creationId xmlns:a16="http://schemas.microsoft.com/office/drawing/2014/main" id="{F23973D8-90F2-008A-F1E1-D26407F6BC3B}"/>
                </a:ext>
              </a:extLst>
            </p:cNvPr>
            <p:cNvSpPr>
              <a:spLocks/>
            </p:cNvSpPr>
            <p:nvPr/>
          </p:nvSpPr>
          <p:spPr bwMode="auto">
            <a:xfrm>
              <a:off x="5700184" y="5792554"/>
              <a:ext cx="272538" cy="121128"/>
            </a:xfrm>
            <a:custGeom>
              <a:avLst/>
              <a:gdLst>
                <a:gd name="T0" fmla="*/ 135 w 135"/>
                <a:gd name="T1" fmla="*/ 0 h 60"/>
                <a:gd name="T2" fmla="*/ 132 w 135"/>
                <a:gd name="T3" fmla="*/ 0 h 60"/>
                <a:gd name="T4" fmla="*/ 0 w 135"/>
                <a:gd name="T5" fmla="*/ 0 h 60"/>
                <a:gd name="T6" fmla="*/ 0 w 135"/>
                <a:gd name="T7" fmla="*/ 0 h 60"/>
                <a:gd name="T8" fmla="*/ 66 w 135"/>
                <a:gd name="T9" fmla="*/ 60 h 60"/>
                <a:gd name="T10" fmla="*/ 135 w 135"/>
                <a:gd name="T11" fmla="*/ 0 h 60"/>
              </a:gdLst>
              <a:ahLst/>
              <a:cxnLst>
                <a:cxn ang="0">
                  <a:pos x="T0" y="T1"/>
                </a:cxn>
                <a:cxn ang="0">
                  <a:pos x="T2" y="T3"/>
                </a:cxn>
                <a:cxn ang="0">
                  <a:pos x="T4" y="T5"/>
                </a:cxn>
                <a:cxn ang="0">
                  <a:pos x="T6" y="T7"/>
                </a:cxn>
                <a:cxn ang="0">
                  <a:pos x="T8" y="T9"/>
                </a:cxn>
                <a:cxn ang="0">
                  <a:pos x="T10" y="T11"/>
                </a:cxn>
              </a:cxnLst>
              <a:rect l="0" t="0" r="r" b="b"/>
              <a:pathLst>
                <a:path w="135" h="60">
                  <a:moveTo>
                    <a:pt x="135" y="0"/>
                  </a:moveTo>
                  <a:lnTo>
                    <a:pt x="132" y="0"/>
                  </a:lnTo>
                  <a:lnTo>
                    <a:pt x="0" y="0"/>
                  </a:lnTo>
                  <a:lnTo>
                    <a:pt x="0" y="0"/>
                  </a:lnTo>
                  <a:lnTo>
                    <a:pt x="66" y="60"/>
                  </a:lnTo>
                  <a:lnTo>
                    <a:pt x="135" y="0"/>
                  </a:ln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151" name="Freeform 109">
              <a:extLst>
                <a:ext uri="{FF2B5EF4-FFF2-40B4-BE49-F238E27FC236}">
                  <a16:creationId xmlns:a16="http://schemas.microsoft.com/office/drawing/2014/main" id="{16382A99-46A4-3AE7-481E-1C43F10414B0}"/>
                </a:ext>
              </a:extLst>
            </p:cNvPr>
            <p:cNvSpPr>
              <a:spLocks/>
            </p:cNvSpPr>
            <p:nvPr/>
          </p:nvSpPr>
          <p:spPr bwMode="auto">
            <a:xfrm>
              <a:off x="5891965" y="5808704"/>
              <a:ext cx="94884" cy="165541"/>
            </a:xfrm>
            <a:custGeom>
              <a:avLst/>
              <a:gdLst>
                <a:gd name="T0" fmla="*/ 20 w 20"/>
                <a:gd name="T1" fmla="*/ 0 h 35"/>
                <a:gd name="T2" fmla="*/ 0 w 20"/>
                <a:gd name="T3" fmla="*/ 17 h 35"/>
                <a:gd name="T4" fmla="*/ 19 w 20"/>
                <a:gd name="T5" fmla="*/ 35 h 35"/>
                <a:gd name="T6" fmla="*/ 20 w 20"/>
                <a:gd name="T7" fmla="*/ 33 h 35"/>
                <a:gd name="T8" fmla="*/ 20 w 20"/>
                <a:gd name="T9" fmla="*/ 1 h 35"/>
                <a:gd name="T10" fmla="*/ 20 w 20"/>
                <a:gd name="T11" fmla="*/ 0 h 35"/>
              </a:gdLst>
              <a:ahLst/>
              <a:cxnLst>
                <a:cxn ang="0">
                  <a:pos x="T0" y="T1"/>
                </a:cxn>
                <a:cxn ang="0">
                  <a:pos x="T2" y="T3"/>
                </a:cxn>
                <a:cxn ang="0">
                  <a:pos x="T4" y="T5"/>
                </a:cxn>
                <a:cxn ang="0">
                  <a:pos x="T6" y="T7"/>
                </a:cxn>
                <a:cxn ang="0">
                  <a:pos x="T8" y="T9"/>
                </a:cxn>
                <a:cxn ang="0">
                  <a:pos x="T10" y="T11"/>
                </a:cxn>
              </a:cxnLst>
              <a:rect l="0" t="0" r="r" b="b"/>
              <a:pathLst>
                <a:path w="20" h="35">
                  <a:moveTo>
                    <a:pt x="20" y="0"/>
                  </a:moveTo>
                  <a:cubicBezTo>
                    <a:pt x="0" y="17"/>
                    <a:pt x="0" y="17"/>
                    <a:pt x="0" y="17"/>
                  </a:cubicBezTo>
                  <a:cubicBezTo>
                    <a:pt x="19" y="35"/>
                    <a:pt x="19" y="35"/>
                    <a:pt x="19" y="35"/>
                  </a:cubicBezTo>
                  <a:cubicBezTo>
                    <a:pt x="20" y="34"/>
                    <a:pt x="20" y="34"/>
                    <a:pt x="20" y="33"/>
                  </a:cubicBezTo>
                  <a:cubicBezTo>
                    <a:pt x="20" y="1"/>
                    <a:pt x="20" y="1"/>
                    <a:pt x="20" y="1"/>
                  </a:cubicBezTo>
                  <a:cubicBezTo>
                    <a:pt x="20" y="1"/>
                    <a:pt x="20" y="0"/>
                    <a:pt x="20" y="0"/>
                  </a:cubicBez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152" name="Freeform 110">
              <a:extLst>
                <a:ext uri="{FF2B5EF4-FFF2-40B4-BE49-F238E27FC236}">
                  <a16:creationId xmlns:a16="http://schemas.microsoft.com/office/drawing/2014/main" id="{9F1AEBEA-1BC7-8042-EA40-D1E7F47CB3E3}"/>
                </a:ext>
              </a:extLst>
            </p:cNvPr>
            <p:cNvSpPr>
              <a:spLocks/>
            </p:cNvSpPr>
            <p:nvPr/>
          </p:nvSpPr>
          <p:spPr bwMode="auto">
            <a:xfrm>
              <a:off x="5682010" y="5802647"/>
              <a:ext cx="94884" cy="171598"/>
            </a:xfrm>
            <a:custGeom>
              <a:avLst/>
              <a:gdLst>
                <a:gd name="T0" fmla="*/ 0 w 20"/>
                <a:gd name="T1" fmla="*/ 0 h 36"/>
                <a:gd name="T2" fmla="*/ 0 w 20"/>
                <a:gd name="T3" fmla="*/ 2 h 36"/>
                <a:gd name="T4" fmla="*/ 0 w 20"/>
                <a:gd name="T5" fmla="*/ 34 h 36"/>
                <a:gd name="T6" fmla="*/ 0 w 20"/>
                <a:gd name="T7" fmla="*/ 36 h 36"/>
                <a:gd name="T8" fmla="*/ 20 w 20"/>
                <a:gd name="T9" fmla="*/ 18 h 36"/>
                <a:gd name="T10" fmla="*/ 0 w 20"/>
                <a:gd name="T11" fmla="*/ 0 h 36"/>
              </a:gdLst>
              <a:ahLst/>
              <a:cxnLst>
                <a:cxn ang="0">
                  <a:pos x="T0" y="T1"/>
                </a:cxn>
                <a:cxn ang="0">
                  <a:pos x="T2" y="T3"/>
                </a:cxn>
                <a:cxn ang="0">
                  <a:pos x="T4" y="T5"/>
                </a:cxn>
                <a:cxn ang="0">
                  <a:pos x="T6" y="T7"/>
                </a:cxn>
                <a:cxn ang="0">
                  <a:pos x="T8" y="T9"/>
                </a:cxn>
                <a:cxn ang="0">
                  <a:pos x="T10" y="T11"/>
                </a:cxn>
              </a:cxnLst>
              <a:rect l="0" t="0" r="r" b="b"/>
              <a:pathLst>
                <a:path w="20" h="36">
                  <a:moveTo>
                    <a:pt x="0" y="0"/>
                  </a:moveTo>
                  <a:cubicBezTo>
                    <a:pt x="0" y="1"/>
                    <a:pt x="0" y="1"/>
                    <a:pt x="0" y="2"/>
                  </a:cubicBezTo>
                  <a:cubicBezTo>
                    <a:pt x="0" y="34"/>
                    <a:pt x="0" y="34"/>
                    <a:pt x="0" y="34"/>
                  </a:cubicBezTo>
                  <a:cubicBezTo>
                    <a:pt x="0" y="35"/>
                    <a:pt x="0" y="35"/>
                    <a:pt x="0" y="36"/>
                  </a:cubicBezTo>
                  <a:cubicBezTo>
                    <a:pt x="20" y="18"/>
                    <a:pt x="20" y="18"/>
                    <a:pt x="20" y="18"/>
                  </a:cubicBezTo>
                  <a:lnTo>
                    <a:pt x="0" y="0"/>
                  </a:ln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153" name="Freeform 111">
              <a:extLst>
                <a:ext uri="{FF2B5EF4-FFF2-40B4-BE49-F238E27FC236}">
                  <a16:creationId xmlns:a16="http://schemas.microsoft.com/office/drawing/2014/main" id="{62EF63DD-4E92-794B-DEB0-547354DC959A}"/>
                </a:ext>
              </a:extLst>
            </p:cNvPr>
            <p:cNvSpPr>
              <a:spLocks/>
            </p:cNvSpPr>
            <p:nvPr/>
          </p:nvSpPr>
          <p:spPr bwMode="auto">
            <a:xfrm>
              <a:off x="5700179" y="5903587"/>
              <a:ext cx="266481" cy="80752"/>
            </a:xfrm>
            <a:custGeom>
              <a:avLst/>
              <a:gdLst>
                <a:gd name="T0" fmla="*/ 66 w 132"/>
                <a:gd name="T1" fmla="*/ 19 h 40"/>
                <a:gd name="T2" fmla="*/ 45 w 132"/>
                <a:gd name="T3" fmla="*/ 0 h 40"/>
                <a:gd name="T4" fmla="*/ 0 w 132"/>
                <a:gd name="T5" fmla="*/ 40 h 40"/>
                <a:gd name="T6" fmla="*/ 0 w 132"/>
                <a:gd name="T7" fmla="*/ 40 h 40"/>
                <a:gd name="T8" fmla="*/ 132 w 132"/>
                <a:gd name="T9" fmla="*/ 40 h 40"/>
                <a:gd name="T10" fmla="*/ 88 w 132"/>
                <a:gd name="T11" fmla="*/ 0 h 40"/>
                <a:gd name="T12" fmla="*/ 66 w 132"/>
                <a:gd name="T13" fmla="*/ 19 h 40"/>
              </a:gdLst>
              <a:ahLst/>
              <a:cxnLst>
                <a:cxn ang="0">
                  <a:pos x="T0" y="T1"/>
                </a:cxn>
                <a:cxn ang="0">
                  <a:pos x="T2" y="T3"/>
                </a:cxn>
                <a:cxn ang="0">
                  <a:pos x="T4" y="T5"/>
                </a:cxn>
                <a:cxn ang="0">
                  <a:pos x="T6" y="T7"/>
                </a:cxn>
                <a:cxn ang="0">
                  <a:pos x="T8" y="T9"/>
                </a:cxn>
                <a:cxn ang="0">
                  <a:pos x="T10" y="T11"/>
                </a:cxn>
                <a:cxn ang="0">
                  <a:pos x="T12" y="T13"/>
                </a:cxn>
              </a:cxnLst>
              <a:rect l="0" t="0" r="r" b="b"/>
              <a:pathLst>
                <a:path w="132" h="40">
                  <a:moveTo>
                    <a:pt x="66" y="19"/>
                  </a:moveTo>
                  <a:lnTo>
                    <a:pt x="45" y="0"/>
                  </a:lnTo>
                  <a:lnTo>
                    <a:pt x="0" y="40"/>
                  </a:lnTo>
                  <a:lnTo>
                    <a:pt x="0" y="40"/>
                  </a:lnTo>
                  <a:lnTo>
                    <a:pt x="132" y="40"/>
                  </a:lnTo>
                  <a:lnTo>
                    <a:pt x="88" y="0"/>
                  </a:lnTo>
                  <a:lnTo>
                    <a:pt x="66" y="19"/>
                  </a:lnTo>
                  <a:close/>
                </a:path>
              </a:pathLst>
            </a:custGeom>
            <a:grpFill/>
            <a:ln>
              <a:noFill/>
            </a:ln>
          </p:spPr>
          <p:txBody>
            <a:bodyPr lIns="68580" tIns="34290" rIns="68580" bIns="34290"/>
            <a:lstStyle/>
            <a:p>
              <a:pPr eaLnBrk="1" fontAlgn="auto" hangingPunct="1">
                <a:spcBef>
                  <a:spcPts val="0"/>
                </a:spcBef>
                <a:spcAft>
                  <a:spcPts val="0"/>
                </a:spcAft>
                <a:defRPr/>
              </a:pPr>
              <a:endParaRPr lang="id-ID" sz="1350">
                <a:solidFill>
                  <a:schemeClr val="accent4">
                    <a:lumMod val="75000"/>
                  </a:schemeClr>
                </a:solidFill>
                <a:latin typeface="Open Sans" pitchFamily="34" charset="0"/>
                <a:ea typeface="Open Sans" pitchFamily="34" charset="0"/>
                <a:cs typeface="Open Sans" pitchFamily="34" charset="0"/>
              </a:endParaRPr>
            </a:p>
          </p:txBody>
        </p:sp>
      </p:grpSp>
      <p:sp>
        <p:nvSpPr>
          <p:cNvPr id="143" name="Freeform 165">
            <a:extLst>
              <a:ext uri="{FF2B5EF4-FFF2-40B4-BE49-F238E27FC236}">
                <a16:creationId xmlns:a16="http://schemas.microsoft.com/office/drawing/2014/main" id="{0C2DDB2F-C405-778A-87E4-D6FF2E66AE23}"/>
              </a:ext>
            </a:extLst>
          </p:cNvPr>
          <p:cNvSpPr>
            <a:spLocks noEditPoints="1"/>
          </p:cNvSpPr>
          <p:nvPr/>
        </p:nvSpPr>
        <p:spPr bwMode="auto">
          <a:xfrm flipH="1">
            <a:off x="1746250" y="1674813"/>
            <a:ext cx="190500" cy="198437"/>
          </a:xfrm>
          <a:custGeom>
            <a:avLst/>
            <a:gdLst>
              <a:gd name="T0" fmla="*/ 76 w 151"/>
              <a:gd name="T1" fmla="*/ 0 h 152"/>
              <a:gd name="T2" fmla="*/ 9 w 151"/>
              <a:gd name="T3" fmla="*/ 142 h 152"/>
              <a:gd name="T4" fmla="*/ 0 w 151"/>
              <a:gd name="T5" fmla="*/ 152 h 152"/>
              <a:gd name="T6" fmla="*/ 151 w 151"/>
              <a:gd name="T7" fmla="*/ 38 h 152"/>
              <a:gd name="T8" fmla="*/ 57 w 151"/>
              <a:gd name="T9" fmla="*/ 142 h 152"/>
              <a:gd name="T10" fmla="*/ 28 w 151"/>
              <a:gd name="T11" fmla="*/ 123 h 152"/>
              <a:gd name="T12" fmla="*/ 57 w 151"/>
              <a:gd name="T13" fmla="*/ 142 h 152"/>
              <a:gd name="T14" fmla="*/ 19 w 151"/>
              <a:gd name="T15" fmla="*/ 104 h 152"/>
              <a:gd name="T16" fmla="*/ 66 w 151"/>
              <a:gd name="T17" fmla="*/ 95 h 152"/>
              <a:gd name="T18" fmla="*/ 66 w 151"/>
              <a:gd name="T19" fmla="*/ 85 h 152"/>
              <a:gd name="T20" fmla="*/ 19 w 151"/>
              <a:gd name="T21" fmla="*/ 76 h 152"/>
              <a:gd name="T22" fmla="*/ 66 w 151"/>
              <a:gd name="T23" fmla="*/ 85 h 152"/>
              <a:gd name="T24" fmla="*/ 19 w 151"/>
              <a:gd name="T25" fmla="*/ 66 h 152"/>
              <a:gd name="T26" fmla="*/ 66 w 151"/>
              <a:gd name="T27" fmla="*/ 57 h 152"/>
              <a:gd name="T28" fmla="*/ 66 w 151"/>
              <a:gd name="T29" fmla="*/ 47 h 152"/>
              <a:gd name="T30" fmla="*/ 19 w 151"/>
              <a:gd name="T31" fmla="*/ 38 h 152"/>
              <a:gd name="T32" fmla="*/ 66 w 151"/>
              <a:gd name="T33" fmla="*/ 47 h 152"/>
              <a:gd name="T34" fmla="*/ 19 w 151"/>
              <a:gd name="T35" fmla="*/ 29 h 152"/>
              <a:gd name="T36" fmla="*/ 66 w 151"/>
              <a:gd name="T37" fmla="*/ 19 h 152"/>
              <a:gd name="T38" fmla="*/ 113 w 151"/>
              <a:gd name="T39" fmla="*/ 133 h 152"/>
              <a:gd name="T40" fmla="*/ 95 w 151"/>
              <a:gd name="T41" fmla="*/ 114 h 152"/>
              <a:gd name="T42" fmla="*/ 113 w 151"/>
              <a:gd name="T43" fmla="*/ 133 h 152"/>
              <a:gd name="T44" fmla="*/ 95 w 151"/>
              <a:gd name="T45" fmla="*/ 104 h 152"/>
              <a:gd name="T46" fmla="*/ 113 w 151"/>
              <a:gd name="T47" fmla="*/ 85 h 152"/>
              <a:gd name="T48" fmla="*/ 113 w 151"/>
              <a:gd name="T49" fmla="*/ 76 h 152"/>
              <a:gd name="T50" fmla="*/ 95 w 151"/>
              <a:gd name="T51" fmla="*/ 57 h 152"/>
              <a:gd name="T52" fmla="*/ 113 w 151"/>
              <a:gd name="T53" fmla="*/ 76 h 152"/>
              <a:gd name="T54" fmla="*/ 123 w 151"/>
              <a:gd name="T55" fmla="*/ 133 h 152"/>
              <a:gd name="T56" fmla="*/ 142 w 151"/>
              <a:gd name="T57" fmla="*/ 114 h 152"/>
              <a:gd name="T58" fmla="*/ 142 w 151"/>
              <a:gd name="T59" fmla="*/ 104 h 152"/>
              <a:gd name="T60" fmla="*/ 123 w 151"/>
              <a:gd name="T61" fmla="*/ 85 h 152"/>
              <a:gd name="T62" fmla="*/ 142 w 151"/>
              <a:gd name="T63" fmla="*/ 104 h 152"/>
              <a:gd name="T64" fmla="*/ 123 w 151"/>
              <a:gd name="T65" fmla="*/ 76 h 152"/>
              <a:gd name="T66" fmla="*/ 142 w 151"/>
              <a:gd name="T67" fmla="*/ 5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1" h="152">
                <a:moveTo>
                  <a:pt x="76" y="38"/>
                </a:moveTo>
                <a:lnTo>
                  <a:pt x="76" y="0"/>
                </a:lnTo>
                <a:lnTo>
                  <a:pt x="9" y="0"/>
                </a:lnTo>
                <a:lnTo>
                  <a:pt x="9" y="142"/>
                </a:lnTo>
                <a:lnTo>
                  <a:pt x="0" y="142"/>
                </a:lnTo>
                <a:lnTo>
                  <a:pt x="0" y="152"/>
                </a:lnTo>
                <a:lnTo>
                  <a:pt x="151" y="152"/>
                </a:lnTo>
                <a:lnTo>
                  <a:pt x="151" y="38"/>
                </a:lnTo>
                <a:lnTo>
                  <a:pt x="76" y="38"/>
                </a:lnTo>
                <a:close/>
                <a:moveTo>
                  <a:pt x="57" y="142"/>
                </a:moveTo>
                <a:lnTo>
                  <a:pt x="28" y="142"/>
                </a:lnTo>
                <a:lnTo>
                  <a:pt x="28" y="123"/>
                </a:lnTo>
                <a:lnTo>
                  <a:pt x="57" y="123"/>
                </a:lnTo>
                <a:lnTo>
                  <a:pt x="57" y="142"/>
                </a:lnTo>
                <a:close/>
                <a:moveTo>
                  <a:pt x="66" y="104"/>
                </a:moveTo>
                <a:lnTo>
                  <a:pt x="19" y="104"/>
                </a:lnTo>
                <a:lnTo>
                  <a:pt x="19" y="95"/>
                </a:lnTo>
                <a:lnTo>
                  <a:pt x="66" y="95"/>
                </a:lnTo>
                <a:lnTo>
                  <a:pt x="66" y="104"/>
                </a:lnTo>
                <a:close/>
                <a:moveTo>
                  <a:pt x="66" y="85"/>
                </a:moveTo>
                <a:lnTo>
                  <a:pt x="19" y="85"/>
                </a:lnTo>
                <a:lnTo>
                  <a:pt x="19" y="76"/>
                </a:lnTo>
                <a:lnTo>
                  <a:pt x="66" y="76"/>
                </a:lnTo>
                <a:lnTo>
                  <a:pt x="66" y="85"/>
                </a:lnTo>
                <a:close/>
                <a:moveTo>
                  <a:pt x="66" y="66"/>
                </a:moveTo>
                <a:lnTo>
                  <a:pt x="19" y="66"/>
                </a:lnTo>
                <a:lnTo>
                  <a:pt x="19" y="57"/>
                </a:lnTo>
                <a:lnTo>
                  <a:pt x="66" y="57"/>
                </a:lnTo>
                <a:lnTo>
                  <a:pt x="66" y="66"/>
                </a:lnTo>
                <a:close/>
                <a:moveTo>
                  <a:pt x="66" y="47"/>
                </a:moveTo>
                <a:lnTo>
                  <a:pt x="19" y="47"/>
                </a:lnTo>
                <a:lnTo>
                  <a:pt x="19" y="38"/>
                </a:lnTo>
                <a:lnTo>
                  <a:pt x="66" y="38"/>
                </a:lnTo>
                <a:lnTo>
                  <a:pt x="66" y="47"/>
                </a:lnTo>
                <a:close/>
                <a:moveTo>
                  <a:pt x="66" y="29"/>
                </a:moveTo>
                <a:lnTo>
                  <a:pt x="19" y="29"/>
                </a:lnTo>
                <a:lnTo>
                  <a:pt x="19" y="19"/>
                </a:lnTo>
                <a:lnTo>
                  <a:pt x="66" y="19"/>
                </a:lnTo>
                <a:lnTo>
                  <a:pt x="66" y="29"/>
                </a:lnTo>
                <a:close/>
                <a:moveTo>
                  <a:pt x="113" y="133"/>
                </a:moveTo>
                <a:lnTo>
                  <a:pt x="95" y="133"/>
                </a:lnTo>
                <a:lnTo>
                  <a:pt x="95" y="114"/>
                </a:lnTo>
                <a:lnTo>
                  <a:pt x="113" y="114"/>
                </a:lnTo>
                <a:lnTo>
                  <a:pt x="113" y="133"/>
                </a:lnTo>
                <a:close/>
                <a:moveTo>
                  <a:pt x="113" y="104"/>
                </a:moveTo>
                <a:lnTo>
                  <a:pt x="95" y="104"/>
                </a:lnTo>
                <a:lnTo>
                  <a:pt x="95" y="85"/>
                </a:lnTo>
                <a:lnTo>
                  <a:pt x="113" y="85"/>
                </a:lnTo>
                <a:lnTo>
                  <a:pt x="113" y="104"/>
                </a:lnTo>
                <a:close/>
                <a:moveTo>
                  <a:pt x="113" y="76"/>
                </a:moveTo>
                <a:lnTo>
                  <a:pt x="95" y="76"/>
                </a:lnTo>
                <a:lnTo>
                  <a:pt x="95" y="57"/>
                </a:lnTo>
                <a:lnTo>
                  <a:pt x="113" y="57"/>
                </a:lnTo>
                <a:lnTo>
                  <a:pt x="113" y="76"/>
                </a:lnTo>
                <a:close/>
                <a:moveTo>
                  <a:pt x="142" y="133"/>
                </a:moveTo>
                <a:lnTo>
                  <a:pt x="123" y="133"/>
                </a:lnTo>
                <a:lnTo>
                  <a:pt x="123" y="114"/>
                </a:lnTo>
                <a:lnTo>
                  <a:pt x="142" y="114"/>
                </a:lnTo>
                <a:lnTo>
                  <a:pt x="142" y="133"/>
                </a:lnTo>
                <a:close/>
                <a:moveTo>
                  <a:pt x="142" y="104"/>
                </a:moveTo>
                <a:lnTo>
                  <a:pt x="123" y="104"/>
                </a:lnTo>
                <a:lnTo>
                  <a:pt x="123" y="85"/>
                </a:lnTo>
                <a:lnTo>
                  <a:pt x="142" y="85"/>
                </a:lnTo>
                <a:lnTo>
                  <a:pt x="142" y="104"/>
                </a:lnTo>
                <a:close/>
                <a:moveTo>
                  <a:pt x="142" y="76"/>
                </a:moveTo>
                <a:lnTo>
                  <a:pt x="123" y="76"/>
                </a:lnTo>
                <a:lnTo>
                  <a:pt x="123" y="57"/>
                </a:lnTo>
                <a:lnTo>
                  <a:pt x="142" y="57"/>
                </a:lnTo>
                <a:lnTo>
                  <a:pt x="142" y="76"/>
                </a:lnTo>
                <a:close/>
              </a:path>
            </a:pathLst>
          </a:custGeom>
          <a:solidFill>
            <a:schemeClr val="accent2">
              <a:lumMod val="60000"/>
              <a:lumOff val="40000"/>
            </a:schemeClr>
          </a:solidFill>
          <a:ln>
            <a:noFill/>
          </a:ln>
        </p:spPr>
        <p:txBody>
          <a:bodyPr lIns="68580" tIns="34290" rIns="68580" bIns="34290"/>
          <a:lstStyle/>
          <a:p>
            <a:pPr eaLnBrk="1" fontAlgn="auto" hangingPunct="1">
              <a:spcBef>
                <a:spcPts val="0"/>
              </a:spcBef>
              <a:spcAft>
                <a:spcPts val="0"/>
              </a:spcAft>
              <a:defRPr/>
            </a:pPr>
            <a:endParaRPr lang="id-ID" sz="1350">
              <a:solidFill>
                <a:schemeClr val="accent4">
                  <a:lumMod val="75000"/>
                </a:schemeClr>
              </a:solidFill>
              <a:latin typeface="Open Sans" pitchFamily="34" charset="0"/>
              <a:ea typeface="Open Sans" pitchFamily="34" charset="0"/>
              <a:cs typeface="Open Sans" pitchFamily="34" charset="0"/>
            </a:endParaRPr>
          </a:p>
        </p:txBody>
      </p:sp>
      <p:grpSp>
        <p:nvGrpSpPr>
          <p:cNvPr id="144" name="Grup 143">
            <a:extLst>
              <a:ext uri="{FF2B5EF4-FFF2-40B4-BE49-F238E27FC236}">
                <a16:creationId xmlns:a16="http://schemas.microsoft.com/office/drawing/2014/main" id="{18BD3D17-A810-8576-5C76-7A277AD3964C}"/>
              </a:ext>
            </a:extLst>
          </p:cNvPr>
          <p:cNvGrpSpPr/>
          <p:nvPr/>
        </p:nvGrpSpPr>
        <p:grpSpPr>
          <a:xfrm flipH="1">
            <a:off x="1743488" y="2288521"/>
            <a:ext cx="178475" cy="172715"/>
            <a:chOff x="5680558" y="6103512"/>
            <a:chExt cx="307748" cy="289404"/>
          </a:xfrm>
          <a:solidFill>
            <a:schemeClr val="accent2">
              <a:lumMod val="60000"/>
              <a:lumOff val="40000"/>
            </a:schemeClr>
          </a:solidFill>
        </p:grpSpPr>
        <p:sp>
          <p:nvSpPr>
            <p:cNvPr id="147" name="Freeform 65">
              <a:extLst>
                <a:ext uri="{FF2B5EF4-FFF2-40B4-BE49-F238E27FC236}">
                  <a16:creationId xmlns:a16="http://schemas.microsoft.com/office/drawing/2014/main" id="{31895061-151F-35D9-4B9E-E59F14047CA8}"/>
                </a:ext>
              </a:extLst>
            </p:cNvPr>
            <p:cNvSpPr>
              <a:spLocks/>
            </p:cNvSpPr>
            <p:nvPr/>
          </p:nvSpPr>
          <p:spPr bwMode="auto">
            <a:xfrm>
              <a:off x="5680558" y="6103512"/>
              <a:ext cx="307748" cy="116170"/>
            </a:xfrm>
            <a:custGeom>
              <a:avLst/>
              <a:gdLst>
                <a:gd name="T0" fmla="*/ 59 w 64"/>
                <a:gd name="T1" fmla="*/ 8 h 24"/>
                <a:gd name="T2" fmla="*/ 32 w 64"/>
                <a:gd name="T3" fmla="*/ 0 h 24"/>
                <a:gd name="T4" fmla="*/ 5 w 64"/>
                <a:gd name="T5" fmla="*/ 8 h 24"/>
                <a:gd name="T6" fmla="*/ 0 w 64"/>
                <a:gd name="T7" fmla="*/ 16 h 24"/>
                <a:gd name="T8" fmla="*/ 0 w 64"/>
                <a:gd name="T9" fmla="*/ 20 h 24"/>
                <a:gd name="T10" fmla="*/ 4 w 64"/>
                <a:gd name="T11" fmla="*/ 24 h 24"/>
                <a:gd name="T12" fmla="*/ 12 w 64"/>
                <a:gd name="T13" fmla="*/ 24 h 24"/>
                <a:gd name="T14" fmla="*/ 16 w 64"/>
                <a:gd name="T15" fmla="*/ 20 h 24"/>
                <a:gd name="T16" fmla="*/ 18 w 64"/>
                <a:gd name="T17" fmla="*/ 13 h 24"/>
                <a:gd name="T18" fmla="*/ 32 w 64"/>
                <a:gd name="T19" fmla="*/ 8 h 24"/>
                <a:gd name="T20" fmla="*/ 46 w 64"/>
                <a:gd name="T21" fmla="*/ 13 h 24"/>
                <a:gd name="T22" fmla="*/ 48 w 64"/>
                <a:gd name="T23" fmla="*/ 20 h 24"/>
                <a:gd name="T24" fmla="*/ 52 w 64"/>
                <a:gd name="T25" fmla="*/ 24 h 24"/>
                <a:gd name="T26" fmla="*/ 60 w 64"/>
                <a:gd name="T27" fmla="*/ 24 h 24"/>
                <a:gd name="T28" fmla="*/ 64 w 64"/>
                <a:gd name="T29" fmla="*/ 20 h 24"/>
                <a:gd name="T30" fmla="*/ 64 w 64"/>
                <a:gd name="T31" fmla="*/ 16 h 24"/>
                <a:gd name="T32" fmla="*/ 59 w 64"/>
                <a:gd name="T33"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24">
                  <a:moveTo>
                    <a:pt x="59" y="8"/>
                  </a:moveTo>
                  <a:cubicBezTo>
                    <a:pt x="55" y="4"/>
                    <a:pt x="48" y="0"/>
                    <a:pt x="32" y="0"/>
                  </a:cubicBezTo>
                  <a:cubicBezTo>
                    <a:pt x="16" y="0"/>
                    <a:pt x="10" y="4"/>
                    <a:pt x="5" y="8"/>
                  </a:cubicBezTo>
                  <a:cubicBezTo>
                    <a:pt x="2" y="11"/>
                    <a:pt x="0" y="12"/>
                    <a:pt x="0" y="16"/>
                  </a:cubicBezTo>
                  <a:cubicBezTo>
                    <a:pt x="0" y="20"/>
                    <a:pt x="0" y="20"/>
                    <a:pt x="0" y="20"/>
                  </a:cubicBezTo>
                  <a:cubicBezTo>
                    <a:pt x="0" y="22"/>
                    <a:pt x="2" y="24"/>
                    <a:pt x="4" y="24"/>
                  </a:cubicBezTo>
                  <a:cubicBezTo>
                    <a:pt x="12" y="24"/>
                    <a:pt x="12" y="24"/>
                    <a:pt x="12" y="24"/>
                  </a:cubicBezTo>
                  <a:cubicBezTo>
                    <a:pt x="14" y="24"/>
                    <a:pt x="16" y="22"/>
                    <a:pt x="16" y="20"/>
                  </a:cubicBezTo>
                  <a:cubicBezTo>
                    <a:pt x="16" y="18"/>
                    <a:pt x="16" y="16"/>
                    <a:pt x="18" y="13"/>
                  </a:cubicBezTo>
                  <a:cubicBezTo>
                    <a:pt x="20" y="11"/>
                    <a:pt x="24" y="8"/>
                    <a:pt x="32" y="8"/>
                  </a:cubicBezTo>
                  <a:cubicBezTo>
                    <a:pt x="40" y="8"/>
                    <a:pt x="44" y="11"/>
                    <a:pt x="46" y="13"/>
                  </a:cubicBezTo>
                  <a:cubicBezTo>
                    <a:pt x="48" y="16"/>
                    <a:pt x="48" y="18"/>
                    <a:pt x="48" y="20"/>
                  </a:cubicBezTo>
                  <a:cubicBezTo>
                    <a:pt x="48" y="22"/>
                    <a:pt x="50" y="24"/>
                    <a:pt x="52" y="24"/>
                  </a:cubicBezTo>
                  <a:cubicBezTo>
                    <a:pt x="60" y="24"/>
                    <a:pt x="60" y="24"/>
                    <a:pt x="60" y="24"/>
                  </a:cubicBezTo>
                  <a:cubicBezTo>
                    <a:pt x="62" y="24"/>
                    <a:pt x="64" y="22"/>
                    <a:pt x="64" y="20"/>
                  </a:cubicBezTo>
                  <a:cubicBezTo>
                    <a:pt x="64" y="16"/>
                    <a:pt x="64" y="16"/>
                    <a:pt x="64" y="16"/>
                  </a:cubicBezTo>
                  <a:cubicBezTo>
                    <a:pt x="64" y="12"/>
                    <a:pt x="62" y="11"/>
                    <a:pt x="59" y="8"/>
                  </a:cubicBez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148" name="Oval 66">
              <a:extLst>
                <a:ext uri="{FF2B5EF4-FFF2-40B4-BE49-F238E27FC236}">
                  <a16:creationId xmlns:a16="http://schemas.microsoft.com/office/drawing/2014/main" id="{CC359A8B-A966-8F19-DDEE-4693BB7EF6C2}"/>
                </a:ext>
              </a:extLst>
            </p:cNvPr>
            <p:cNvSpPr>
              <a:spLocks noChangeArrowheads="1"/>
            </p:cNvSpPr>
            <p:nvPr/>
          </p:nvSpPr>
          <p:spPr bwMode="auto">
            <a:xfrm>
              <a:off x="5794689" y="6276747"/>
              <a:ext cx="77446" cy="77446"/>
            </a:xfrm>
            <a:prstGeom prst="ellipse">
              <a:avLst/>
            </a:pr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149" name="Freeform 67">
              <a:extLst>
                <a:ext uri="{FF2B5EF4-FFF2-40B4-BE49-F238E27FC236}">
                  <a16:creationId xmlns:a16="http://schemas.microsoft.com/office/drawing/2014/main" id="{A83A07DD-89C6-207D-8F74-283C695B97A9}"/>
                </a:ext>
              </a:extLst>
            </p:cNvPr>
            <p:cNvSpPr>
              <a:spLocks noEditPoints="1"/>
            </p:cNvSpPr>
            <p:nvPr/>
          </p:nvSpPr>
          <p:spPr bwMode="auto">
            <a:xfrm>
              <a:off x="5698900" y="6180958"/>
              <a:ext cx="271063" cy="211958"/>
            </a:xfrm>
            <a:custGeom>
              <a:avLst/>
              <a:gdLst>
                <a:gd name="T0" fmla="*/ 42 w 56"/>
                <a:gd name="T1" fmla="*/ 8 h 44"/>
                <a:gd name="T2" fmla="*/ 40 w 56"/>
                <a:gd name="T3" fmla="*/ 8 h 44"/>
                <a:gd name="T4" fmla="*/ 40 w 56"/>
                <a:gd name="T5" fmla="*/ 3 h 44"/>
                <a:gd name="T6" fmla="*/ 36 w 56"/>
                <a:gd name="T7" fmla="*/ 0 h 44"/>
                <a:gd name="T8" fmla="*/ 32 w 56"/>
                <a:gd name="T9" fmla="*/ 3 h 44"/>
                <a:gd name="T10" fmla="*/ 32 w 56"/>
                <a:gd name="T11" fmla="*/ 8 h 44"/>
                <a:gd name="T12" fmla="*/ 24 w 56"/>
                <a:gd name="T13" fmla="*/ 8 h 44"/>
                <a:gd name="T14" fmla="*/ 24 w 56"/>
                <a:gd name="T15" fmla="*/ 3 h 44"/>
                <a:gd name="T16" fmla="*/ 20 w 56"/>
                <a:gd name="T17" fmla="*/ 0 h 44"/>
                <a:gd name="T18" fmla="*/ 16 w 56"/>
                <a:gd name="T19" fmla="*/ 3 h 44"/>
                <a:gd name="T20" fmla="*/ 16 w 56"/>
                <a:gd name="T21" fmla="*/ 8 h 44"/>
                <a:gd name="T22" fmla="*/ 14 w 56"/>
                <a:gd name="T23" fmla="*/ 8 h 44"/>
                <a:gd name="T24" fmla="*/ 11 w 56"/>
                <a:gd name="T25" fmla="*/ 10 h 44"/>
                <a:gd name="T26" fmla="*/ 0 w 56"/>
                <a:gd name="T27" fmla="*/ 32 h 44"/>
                <a:gd name="T28" fmla="*/ 0 w 56"/>
                <a:gd name="T29" fmla="*/ 40 h 44"/>
                <a:gd name="T30" fmla="*/ 4 w 56"/>
                <a:gd name="T31" fmla="*/ 44 h 44"/>
                <a:gd name="T32" fmla="*/ 52 w 56"/>
                <a:gd name="T33" fmla="*/ 44 h 44"/>
                <a:gd name="T34" fmla="*/ 56 w 56"/>
                <a:gd name="T35" fmla="*/ 40 h 44"/>
                <a:gd name="T36" fmla="*/ 56 w 56"/>
                <a:gd name="T37" fmla="*/ 32 h 44"/>
                <a:gd name="T38" fmla="*/ 45 w 56"/>
                <a:gd name="T39" fmla="*/ 10 h 44"/>
                <a:gd name="T40" fmla="*/ 42 w 56"/>
                <a:gd name="T41" fmla="*/ 8 h 44"/>
                <a:gd name="T42" fmla="*/ 28 w 56"/>
                <a:gd name="T43" fmla="*/ 40 h 44"/>
                <a:gd name="T44" fmla="*/ 16 w 56"/>
                <a:gd name="T45" fmla="*/ 28 h 44"/>
                <a:gd name="T46" fmla="*/ 28 w 56"/>
                <a:gd name="T47" fmla="*/ 16 h 44"/>
                <a:gd name="T48" fmla="*/ 40 w 56"/>
                <a:gd name="T49" fmla="*/ 28 h 44"/>
                <a:gd name="T50" fmla="*/ 28 w 56"/>
                <a:gd name="T51"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6" h="44">
                  <a:moveTo>
                    <a:pt x="42" y="8"/>
                  </a:moveTo>
                  <a:cubicBezTo>
                    <a:pt x="40" y="8"/>
                    <a:pt x="40" y="8"/>
                    <a:pt x="40" y="8"/>
                  </a:cubicBezTo>
                  <a:cubicBezTo>
                    <a:pt x="40" y="3"/>
                    <a:pt x="40" y="3"/>
                    <a:pt x="40" y="3"/>
                  </a:cubicBezTo>
                  <a:cubicBezTo>
                    <a:pt x="40" y="1"/>
                    <a:pt x="38" y="0"/>
                    <a:pt x="36" y="0"/>
                  </a:cubicBezTo>
                  <a:cubicBezTo>
                    <a:pt x="34" y="0"/>
                    <a:pt x="32" y="1"/>
                    <a:pt x="32" y="3"/>
                  </a:cubicBezTo>
                  <a:cubicBezTo>
                    <a:pt x="32" y="8"/>
                    <a:pt x="32" y="8"/>
                    <a:pt x="32" y="8"/>
                  </a:cubicBezTo>
                  <a:cubicBezTo>
                    <a:pt x="24" y="8"/>
                    <a:pt x="24" y="8"/>
                    <a:pt x="24" y="8"/>
                  </a:cubicBezTo>
                  <a:cubicBezTo>
                    <a:pt x="24" y="3"/>
                    <a:pt x="24" y="3"/>
                    <a:pt x="24" y="3"/>
                  </a:cubicBezTo>
                  <a:cubicBezTo>
                    <a:pt x="24" y="1"/>
                    <a:pt x="22" y="0"/>
                    <a:pt x="20" y="0"/>
                  </a:cubicBezTo>
                  <a:cubicBezTo>
                    <a:pt x="18" y="0"/>
                    <a:pt x="16" y="1"/>
                    <a:pt x="16" y="3"/>
                  </a:cubicBezTo>
                  <a:cubicBezTo>
                    <a:pt x="16" y="8"/>
                    <a:pt x="16" y="8"/>
                    <a:pt x="16" y="8"/>
                  </a:cubicBezTo>
                  <a:cubicBezTo>
                    <a:pt x="14" y="8"/>
                    <a:pt x="14" y="8"/>
                    <a:pt x="14" y="8"/>
                  </a:cubicBezTo>
                  <a:cubicBezTo>
                    <a:pt x="13" y="8"/>
                    <a:pt x="12" y="9"/>
                    <a:pt x="11" y="10"/>
                  </a:cubicBezTo>
                  <a:cubicBezTo>
                    <a:pt x="8" y="14"/>
                    <a:pt x="0" y="27"/>
                    <a:pt x="0" y="32"/>
                  </a:cubicBezTo>
                  <a:cubicBezTo>
                    <a:pt x="0" y="40"/>
                    <a:pt x="0" y="40"/>
                    <a:pt x="0" y="40"/>
                  </a:cubicBezTo>
                  <a:cubicBezTo>
                    <a:pt x="0" y="42"/>
                    <a:pt x="2" y="44"/>
                    <a:pt x="4" y="44"/>
                  </a:cubicBezTo>
                  <a:cubicBezTo>
                    <a:pt x="52" y="44"/>
                    <a:pt x="52" y="44"/>
                    <a:pt x="52" y="44"/>
                  </a:cubicBezTo>
                  <a:cubicBezTo>
                    <a:pt x="54" y="44"/>
                    <a:pt x="56" y="42"/>
                    <a:pt x="56" y="40"/>
                  </a:cubicBezTo>
                  <a:cubicBezTo>
                    <a:pt x="56" y="37"/>
                    <a:pt x="56" y="32"/>
                    <a:pt x="56" y="32"/>
                  </a:cubicBezTo>
                  <a:cubicBezTo>
                    <a:pt x="56" y="25"/>
                    <a:pt x="48" y="14"/>
                    <a:pt x="45" y="10"/>
                  </a:cubicBezTo>
                  <a:cubicBezTo>
                    <a:pt x="44" y="9"/>
                    <a:pt x="43" y="8"/>
                    <a:pt x="42" y="8"/>
                  </a:cubicBezTo>
                  <a:close/>
                  <a:moveTo>
                    <a:pt x="28" y="40"/>
                  </a:moveTo>
                  <a:cubicBezTo>
                    <a:pt x="21" y="40"/>
                    <a:pt x="16" y="35"/>
                    <a:pt x="16" y="28"/>
                  </a:cubicBezTo>
                  <a:cubicBezTo>
                    <a:pt x="16" y="21"/>
                    <a:pt x="21" y="16"/>
                    <a:pt x="28" y="16"/>
                  </a:cubicBezTo>
                  <a:cubicBezTo>
                    <a:pt x="35" y="16"/>
                    <a:pt x="40" y="21"/>
                    <a:pt x="40" y="28"/>
                  </a:cubicBezTo>
                  <a:cubicBezTo>
                    <a:pt x="40" y="35"/>
                    <a:pt x="35" y="40"/>
                    <a:pt x="28" y="40"/>
                  </a:cubicBezTo>
                  <a:close/>
                </a:path>
              </a:pathLst>
            </a:custGeom>
            <a:grpFill/>
            <a:ln>
              <a:noFill/>
            </a:ln>
          </p:spPr>
          <p:txBody>
            <a:bodyPr lIns="68580" tIns="34290" rIns="68580" bIns="34290"/>
            <a:lstStyle/>
            <a:p>
              <a:pPr eaLnBrk="1" fontAlgn="auto" hangingPunct="1">
                <a:spcBef>
                  <a:spcPts val="0"/>
                </a:spcBef>
                <a:spcAft>
                  <a:spcPts val="0"/>
                </a:spcAft>
                <a:defRPr/>
              </a:pPr>
              <a:endParaRPr lang="id-ID" sz="1350">
                <a:solidFill>
                  <a:schemeClr val="accent4">
                    <a:lumMod val="75000"/>
                  </a:schemeClr>
                </a:solidFill>
                <a:latin typeface="Open Sans" pitchFamily="34" charset="0"/>
                <a:ea typeface="Open Sans" pitchFamily="34" charset="0"/>
                <a:cs typeface="Open Sans" pitchFamily="34" charset="0"/>
              </a:endParaRPr>
            </a:p>
          </p:txBody>
        </p:sp>
      </p:grpSp>
      <p:sp>
        <p:nvSpPr>
          <p:cNvPr id="42006" name="Dikdörtgen 144">
            <a:extLst>
              <a:ext uri="{FF2B5EF4-FFF2-40B4-BE49-F238E27FC236}">
                <a16:creationId xmlns:a16="http://schemas.microsoft.com/office/drawing/2014/main" id="{8DC63D01-88D6-448B-1CEB-BE173C721A4E}"/>
              </a:ext>
            </a:extLst>
          </p:cNvPr>
          <p:cNvSpPr>
            <a:spLocks noChangeArrowheads="1"/>
          </p:cNvSpPr>
          <p:nvPr/>
        </p:nvSpPr>
        <p:spPr bwMode="auto">
          <a:xfrm>
            <a:off x="1938338" y="1582738"/>
            <a:ext cx="36226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r>
              <a:rPr lang="tr-TR" altLang="tr-TR" sz="1000">
                <a:latin typeface="Open Sans" panose="020B0606030504020204" pitchFamily="34" charset="0"/>
                <a:cs typeface="Open Sans" panose="020B0606030504020204" pitchFamily="34" charset="0"/>
              </a:rPr>
              <a:t>Hüseyin Çelik Sk. Nail Ergin İş Merkezi No: 7 Kat: 6</a:t>
            </a:r>
          </a:p>
          <a:p>
            <a:pPr eaLnBrk="1" hangingPunct="1">
              <a:lnSpc>
                <a:spcPct val="100000"/>
              </a:lnSpc>
              <a:spcBef>
                <a:spcPct val="0"/>
              </a:spcBef>
              <a:buFontTx/>
              <a:buNone/>
            </a:pPr>
            <a:r>
              <a:rPr lang="tr-TR" altLang="tr-TR" sz="1000">
                <a:latin typeface="Open Sans" panose="020B0606030504020204" pitchFamily="34" charset="0"/>
                <a:cs typeface="Open Sans" panose="020B0606030504020204" pitchFamily="34" charset="0"/>
              </a:rPr>
              <a:t>34742-Kozyatağı- Kadıköy / İSTANBUL</a:t>
            </a:r>
            <a:endParaRPr lang="tr-TR" altLang="tr-TR" sz="1000">
              <a:solidFill>
                <a:srgbClr val="181717"/>
              </a:solidFill>
              <a:latin typeface="Open Sans" panose="020B0606030504020204" pitchFamily="34" charset="0"/>
              <a:cs typeface="Open Sans" panose="020B0606030504020204" pitchFamily="34" charset="0"/>
            </a:endParaRPr>
          </a:p>
        </p:txBody>
      </p:sp>
      <p:sp>
        <p:nvSpPr>
          <p:cNvPr id="146" name="Dikdörtgen 145">
            <a:extLst>
              <a:ext uri="{FF2B5EF4-FFF2-40B4-BE49-F238E27FC236}">
                <a16:creationId xmlns:a16="http://schemas.microsoft.com/office/drawing/2014/main" id="{1099A3CB-46AA-F2B0-EF30-07D7D6C5ED2E}"/>
              </a:ext>
            </a:extLst>
          </p:cNvPr>
          <p:cNvSpPr/>
          <p:nvPr/>
        </p:nvSpPr>
        <p:spPr>
          <a:xfrm>
            <a:off x="1976438" y="1255713"/>
            <a:ext cx="2763837" cy="276225"/>
          </a:xfrm>
          <a:prstGeom prst="rect">
            <a:avLst/>
          </a:prstGeom>
        </p:spPr>
        <p:txBody>
          <a:bodyPr>
            <a:spAutoFit/>
          </a:bodyPr>
          <a:lstStyle/>
          <a:p>
            <a:pPr eaLnBrk="1" fontAlgn="auto" hangingPunct="1">
              <a:spcBef>
                <a:spcPts val="0"/>
              </a:spcBef>
              <a:spcAft>
                <a:spcPts val="0"/>
              </a:spcAft>
              <a:defRPr/>
            </a:pPr>
            <a:r>
              <a:rPr lang="tr-TR" sz="1200" b="1">
                <a:solidFill>
                  <a:schemeClr val="accent4">
                    <a:lumMod val="75000"/>
                  </a:schemeClr>
                </a:solidFill>
                <a:latin typeface="Open Sans" pitchFamily="34" charset="0"/>
                <a:ea typeface="Open Sans" pitchFamily="34" charset="0"/>
                <a:cs typeface="Open Sans" pitchFamily="34" charset="0"/>
              </a:rPr>
              <a:t>Genel Müdürlük</a:t>
            </a:r>
            <a:endParaRPr lang="tr-TR" sz="1200" u="sng">
              <a:solidFill>
                <a:schemeClr val="accent4">
                  <a:lumMod val="75000"/>
                </a:schemeClr>
              </a:solidFill>
              <a:latin typeface="Open Sans" pitchFamily="34" charset="0"/>
              <a:ea typeface="Open Sans" pitchFamily="34" charset="0"/>
              <a:cs typeface="Open Sans" pitchFamily="34" charset="0"/>
            </a:endParaRPr>
          </a:p>
        </p:txBody>
      </p:sp>
      <p:sp>
        <p:nvSpPr>
          <p:cNvPr id="155" name="Rectangle 308">
            <a:extLst>
              <a:ext uri="{FF2B5EF4-FFF2-40B4-BE49-F238E27FC236}">
                <a16:creationId xmlns:a16="http://schemas.microsoft.com/office/drawing/2014/main" id="{A78046B7-F886-F6EC-8EAB-10227261ACC6}"/>
              </a:ext>
            </a:extLst>
          </p:cNvPr>
          <p:cNvSpPr/>
          <p:nvPr/>
        </p:nvSpPr>
        <p:spPr>
          <a:xfrm>
            <a:off x="-3175" y="6743700"/>
            <a:ext cx="2032000" cy="114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56" name="Rectangle 309">
            <a:extLst>
              <a:ext uri="{FF2B5EF4-FFF2-40B4-BE49-F238E27FC236}">
                <a16:creationId xmlns:a16="http://schemas.microsoft.com/office/drawing/2014/main" id="{E82D9F46-3B46-03A4-4E4F-B1260AD2DB4B}"/>
              </a:ext>
            </a:extLst>
          </p:cNvPr>
          <p:cNvSpPr/>
          <p:nvPr/>
        </p:nvSpPr>
        <p:spPr>
          <a:xfrm>
            <a:off x="2027238" y="6743700"/>
            <a:ext cx="2032000" cy="114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57" name="Rectangle 310">
            <a:extLst>
              <a:ext uri="{FF2B5EF4-FFF2-40B4-BE49-F238E27FC236}">
                <a16:creationId xmlns:a16="http://schemas.microsoft.com/office/drawing/2014/main" id="{63BCF336-0D65-5398-2B94-A2E240EC0706}"/>
              </a:ext>
            </a:extLst>
          </p:cNvPr>
          <p:cNvSpPr/>
          <p:nvPr/>
        </p:nvSpPr>
        <p:spPr>
          <a:xfrm>
            <a:off x="4059238" y="6743700"/>
            <a:ext cx="2032000" cy="114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58" name="Rectangle 311">
            <a:extLst>
              <a:ext uri="{FF2B5EF4-FFF2-40B4-BE49-F238E27FC236}">
                <a16:creationId xmlns:a16="http://schemas.microsoft.com/office/drawing/2014/main" id="{2C928883-E0DF-A9BA-3C41-A03E1803143A}"/>
              </a:ext>
            </a:extLst>
          </p:cNvPr>
          <p:cNvSpPr/>
          <p:nvPr/>
        </p:nvSpPr>
        <p:spPr>
          <a:xfrm>
            <a:off x="6089650" y="6743700"/>
            <a:ext cx="2032000" cy="114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59" name="Rectangle 312">
            <a:extLst>
              <a:ext uri="{FF2B5EF4-FFF2-40B4-BE49-F238E27FC236}">
                <a16:creationId xmlns:a16="http://schemas.microsoft.com/office/drawing/2014/main" id="{3473954B-4F43-C19F-F79E-BAC8AC980EB8}"/>
              </a:ext>
            </a:extLst>
          </p:cNvPr>
          <p:cNvSpPr/>
          <p:nvPr/>
        </p:nvSpPr>
        <p:spPr>
          <a:xfrm>
            <a:off x="8118475" y="6743700"/>
            <a:ext cx="2032000" cy="114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60" name="Rectangle 313">
            <a:extLst>
              <a:ext uri="{FF2B5EF4-FFF2-40B4-BE49-F238E27FC236}">
                <a16:creationId xmlns:a16="http://schemas.microsoft.com/office/drawing/2014/main" id="{68FEC584-D8DF-AE96-08F2-3BEA7BE9681E}"/>
              </a:ext>
            </a:extLst>
          </p:cNvPr>
          <p:cNvSpPr/>
          <p:nvPr/>
        </p:nvSpPr>
        <p:spPr>
          <a:xfrm>
            <a:off x="10148888" y="6743700"/>
            <a:ext cx="2043112" cy="1143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nvGrpSpPr>
          <p:cNvPr id="42014" name="Grup 4">
            <a:extLst>
              <a:ext uri="{FF2B5EF4-FFF2-40B4-BE49-F238E27FC236}">
                <a16:creationId xmlns:a16="http://schemas.microsoft.com/office/drawing/2014/main" id="{BB25D6BD-C1FB-5B78-24B3-1E88F3548C3C}"/>
              </a:ext>
            </a:extLst>
          </p:cNvPr>
          <p:cNvGrpSpPr>
            <a:grpSpLocks/>
          </p:cNvGrpSpPr>
          <p:nvPr/>
        </p:nvGrpSpPr>
        <p:grpSpPr bwMode="auto">
          <a:xfrm>
            <a:off x="2060575" y="1490663"/>
            <a:ext cx="585788" cy="26987"/>
            <a:chOff x="2155275" y="960249"/>
            <a:chExt cx="584814" cy="26989"/>
          </a:xfrm>
        </p:grpSpPr>
        <p:cxnSp>
          <p:nvCxnSpPr>
            <p:cNvPr id="165" name="Straight Connector 6">
              <a:extLst>
                <a:ext uri="{FF2B5EF4-FFF2-40B4-BE49-F238E27FC236}">
                  <a16:creationId xmlns:a16="http://schemas.microsoft.com/office/drawing/2014/main" id="{D04A7375-453F-E444-E25D-5C40B14D7963}"/>
                </a:ext>
              </a:extLst>
            </p:cNvPr>
            <p:cNvCxnSpPr/>
            <p:nvPr/>
          </p:nvCxnSpPr>
          <p:spPr>
            <a:xfrm flipV="1">
              <a:off x="2155275" y="969775"/>
              <a:ext cx="494476" cy="1587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6" name="Rectangle 7">
              <a:extLst>
                <a:ext uri="{FF2B5EF4-FFF2-40B4-BE49-F238E27FC236}">
                  <a16:creationId xmlns:a16="http://schemas.microsoft.com/office/drawing/2014/main" id="{80C94E85-F3C3-202A-0CBB-BD0E568B565C}"/>
                </a:ext>
              </a:extLst>
            </p:cNvPr>
            <p:cNvSpPr/>
            <p:nvPr/>
          </p:nvSpPr>
          <p:spPr>
            <a:xfrm>
              <a:off x="2318516" y="960249"/>
              <a:ext cx="421573" cy="269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42015" name="Grup 175">
            <a:extLst>
              <a:ext uri="{FF2B5EF4-FFF2-40B4-BE49-F238E27FC236}">
                <a16:creationId xmlns:a16="http://schemas.microsoft.com/office/drawing/2014/main" id="{A3D81AF1-4C42-A6EC-8FCE-D9F71FFC3629}"/>
              </a:ext>
            </a:extLst>
          </p:cNvPr>
          <p:cNvGrpSpPr>
            <a:grpSpLocks/>
          </p:cNvGrpSpPr>
          <p:nvPr/>
        </p:nvGrpSpPr>
        <p:grpSpPr bwMode="auto">
          <a:xfrm>
            <a:off x="2093913" y="3138488"/>
            <a:ext cx="584200" cy="26987"/>
            <a:chOff x="2155275" y="960249"/>
            <a:chExt cx="584814" cy="26989"/>
          </a:xfrm>
        </p:grpSpPr>
        <p:cxnSp>
          <p:nvCxnSpPr>
            <p:cNvPr id="177" name="Straight Connector 6">
              <a:extLst>
                <a:ext uri="{FF2B5EF4-FFF2-40B4-BE49-F238E27FC236}">
                  <a16:creationId xmlns:a16="http://schemas.microsoft.com/office/drawing/2014/main" id="{0E857245-10D5-0D2C-027E-759F5A99E51B}"/>
                </a:ext>
              </a:extLst>
            </p:cNvPr>
            <p:cNvCxnSpPr/>
            <p:nvPr/>
          </p:nvCxnSpPr>
          <p:spPr>
            <a:xfrm flipV="1">
              <a:off x="2155275" y="969775"/>
              <a:ext cx="495821" cy="1587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8" name="Rectangle 7">
              <a:extLst>
                <a:ext uri="{FF2B5EF4-FFF2-40B4-BE49-F238E27FC236}">
                  <a16:creationId xmlns:a16="http://schemas.microsoft.com/office/drawing/2014/main" id="{000AB1B4-47CB-57E7-06CF-04D946C549C2}"/>
                </a:ext>
              </a:extLst>
            </p:cNvPr>
            <p:cNvSpPr/>
            <p:nvPr/>
          </p:nvSpPr>
          <p:spPr>
            <a:xfrm>
              <a:off x="2318959" y="960249"/>
              <a:ext cx="421130" cy="269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42016" name="Grup 191">
            <a:extLst>
              <a:ext uri="{FF2B5EF4-FFF2-40B4-BE49-F238E27FC236}">
                <a16:creationId xmlns:a16="http://schemas.microsoft.com/office/drawing/2014/main" id="{CF61A2C0-539B-8995-7C47-106E56CABDE5}"/>
              </a:ext>
            </a:extLst>
          </p:cNvPr>
          <p:cNvGrpSpPr>
            <a:grpSpLocks/>
          </p:cNvGrpSpPr>
          <p:nvPr/>
        </p:nvGrpSpPr>
        <p:grpSpPr bwMode="auto">
          <a:xfrm>
            <a:off x="6904038" y="800100"/>
            <a:ext cx="584200" cy="26988"/>
            <a:chOff x="2155275" y="960249"/>
            <a:chExt cx="584814" cy="26989"/>
          </a:xfrm>
        </p:grpSpPr>
        <p:cxnSp>
          <p:nvCxnSpPr>
            <p:cNvPr id="193" name="Straight Connector 6">
              <a:extLst>
                <a:ext uri="{FF2B5EF4-FFF2-40B4-BE49-F238E27FC236}">
                  <a16:creationId xmlns:a16="http://schemas.microsoft.com/office/drawing/2014/main" id="{EA515562-0F57-E6D9-459D-863B9063F714}"/>
                </a:ext>
              </a:extLst>
            </p:cNvPr>
            <p:cNvCxnSpPr/>
            <p:nvPr/>
          </p:nvCxnSpPr>
          <p:spPr>
            <a:xfrm flipV="1">
              <a:off x="2155275" y="969774"/>
              <a:ext cx="495821" cy="1587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4" name="Rectangle 7">
              <a:extLst>
                <a:ext uri="{FF2B5EF4-FFF2-40B4-BE49-F238E27FC236}">
                  <a16:creationId xmlns:a16="http://schemas.microsoft.com/office/drawing/2014/main" id="{4975CE74-F186-84A1-9E88-13847D650DC2}"/>
                </a:ext>
              </a:extLst>
            </p:cNvPr>
            <p:cNvSpPr/>
            <p:nvPr/>
          </p:nvSpPr>
          <p:spPr>
            <a:xfrm>
              <a:off x="2318959" y="960249"/>
              <a:ext cx="421130" cy="269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cxnSp>
        <p:nvCxnSpPr>
          <p:cNvPr id="164" name="Straight Connector 6">
            <a:extLst>
              <a:ext uri="{FF2B5EF4-FFF2-40B4-BE49-F238E27FC236}">
                <a16:creationId xmlns:a16="http://schemas.microsoft.com/office/drawing/2014/main" id="{8C120B3E-3481-9015-0078-CA3785BEB834}"/>
              </a:ext>
            </a:extLst>
          </p:cNvPr>
          <p:cNvCxnSpPr/>
          <p:nvPr/>
        </p:nvCxnSpPr>
        <p:spPr>
          <a:xfrm>
            <a:off x="11113" y="684213"/>
            <a:ext cx="124301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8" name="İçerik Yer Tutucusu 2">
            <a:extLst>
              <a:ext uri="{FF2B5EF4-FFF2-40B4-BE49-F238E27FC236}">
                <a16:creationId xmlns:a16="http://schemas.microsoft.com/office/drawing/2014/main" id="{5484F685-4477-EA76-80E1-2BF79B9CFD08}"/>
              </a:ext>
            </a:extLst>
          </p:cNvPr>
          <p:cNvSpPr txBox="1">
            <a:spLocks/>
          </p:cNvSpPr>
          <p:nvPr/>
        </p:nvSpPr>
        <p:spPr>
          <a:xfrm>
            <a:off x="519113" y="106363"/>
            <a:ext cx="3644900" cy="51752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 typeface="Arial" panose="020B0604020202020204" pitchFamily="34" charset="0"/>
              <a:buNone/>
              <a:defRPr/>
            </a:pPr>
            <a:r>
              <a:rPr lang="tr-TR" b="1">
                <a:solidFill>
                  <a:schemeClr val="accent4">
                    <a:lumMod val="75000"/>
                  </a:schemeClr>
                </a:solidFill>
              </a:rPr>
              <a:t>İletişim</a:t>
            </a:r>
            <a:endParaRPr lang="tr-TR">
              <a:solidFill>
                <a:schemeClr val="accent4">
                  <a:lumMod val="75000"/>
                </a:schemeClr>
              </a:solidFill>
            </a:endParaRPr>
          </a:p>
        </p:txBody>
      </p:sp>
      <p:sp>
        <p:nvSpPr>
          <p:cNvPr id="199" name="Rectangle 7">
            <a:extLst>
              <a:ext uri="{FF2B5EF4-FFF2-40B4-BE49-F238E27FC236}">
                <a16:creationId xmlns:a16="http://schemas.microsoft.com/office/drawing/2014/main" id="{511A087E-EA2E-5110-9C0D-E20ED2246E63}"/>
              </a:ext>
            </a:extLst>
          </p:cNvPr>
          <p:cNvSpPr/>
          <p:nvPr/>
        </p:nvSpPr>
        <p:spPr>
          <a:xfrm>
            <a:off x="684213" y="669925"/>
            <a:ext cx="623887" cy="269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0" name="TextBox 14">
            <a:extLst>
              <a:ext uri="{FF2B5EF4-FFF2-40B4-BE49-F238E27FC236}">
                <a16:creationId xmlns:a16="http://schemas.microsoft.com/office/drawing/2014/main" id="{8D0719EA-7922-6C6A-E3B4-D8C07DF5E378}"/>
              </a:ext>
            </a:extLst>
          </p:cNvPr>
          <p:cNvSpPr txBox="1"/>
          <p:nvPr/>
        </p:nvSpPr>
        <p:spPr>
          <a:xfrm>
            <a:off x="1947863" y="5284788"/>
            <a:ext cx="2801937" cy="246062"/>
          </a:xfrm>
          <a:prstGeom prst="rect">
            <a:avLst/>
          </a:prstGeom>
          <a:noFill/>
        </p:spPr>
        <p:txBody>
          <a:bodyPr>
            <a:spAutoFit/>
          </a:bodyPr>
          <a:lstStyle/>
          <a:p>
            <a:pPr eaLnBrk="1" fontAlgn="auto" hangingPunct="1">
              <a:spcBef>
                <a:spcPts val="0"/>
              </a:spcBef>
              <a:spcAft>
                <a:spcPts val="0"/>
              </a:spcAft>
              <a:defRPr/>
            </a:pPr>
            <a:r>
              <a:rPr lang="tr-TR" sz="1000" dirty="0">
                <a:solidFill>
                  <a:schemeClr val="bg2">
                    <a:lumMod val="10000"/>
                  </a:schemeClr>
                </a:solidFill>
                <a:latin typeface="Open Sans" pitchFamily="34" charset="0"/>
                <a:ea typeface="Open Sans" pitchFamily="34" charset="0"/>
                <a:cs typeface="Open Sans" pitchFamily="34" charset="0"/>
              </a:rPr>
              <a:t>vizyon@vizyongd.com</a:t>
            </a:r>
            <a:endParaRPr lang="id-ID" sz="1000" dirty="0">
              <a:solidFill>
                <a:schemeClr val="bg2">
                  <a:lumMod val="10000"/>
                </a:schemeClr>
              </a:solidFill>
              <a:latin typeface="Open Sans" pitchFamily="34" charset="0"/>
              <a:ea typeface="Open Sans" pitchFamily="34" charset="0"/>
              <a:cs typeface="Open Sans" pitchFamily="34" charset="0"/>
            </a:endParaRPr>
          </a:p>
        </p:txBody>
      </p:sp>
      <p:sp>
        <p:nvSpPr>
          <p:cNvPr id="81" name="TextBox 15">
            <a:extLst>
              <a:ext uri="{FF2B5EF4-FFF2-40B4-BE49-F238E27FC236}">
                <a16:creationId xmlns:a16="http://schemas.microsoft.com/office/drawing/2014/main" id="{E1FEB85F-7F20-C7E3-4F83-0AD19F0D1C20}"/>
              </a:ext>
            </a:extLst>
          </p:cNvPr>
          <p:cNvSpPr txBox="1"/>
          <p:nvPr/>
        </p:nvSpPr>
        <p:spPr>
          <a:xfrm>
            <a:off x="1938338" y="5578475"/>
            <a:ext cx="2811462" cy="246063"/>
          </a:xfrm>
          <a:prstGeom prst="rect">
            <a:avLst/>
          </a:prstGeom>
          <a:noFill/>
        </p:spPr>
        <p:txBody>
          <a:bodyPr>
            <a:spAutoFit/>
          </a:bodyPr>
          <a:lstStyle/>
          <a:p>
            <a:pPr eaLnBrk="1" fontAlgn="auto" hangingPunct="1">
              <a:spcBef>
                <a:spcPts val="0"/>
              </a:spcBef>
              <a:spcAft>
                <a:spcPts val="0"/>
              </a:spcAft>
              <a:defRPr/>
            </a:pPr>
            <a:r>
              <a:rPr lang="tr-TR" sz="1000" dirty="0">
                <a:latin typeface="Open Sans" pitchFamily="34" charset="0"/>
                <a:ea typeface="Open Sans" pitchFamily="34" charset="0"/>
                <a:cs typeface="Open Sans" pitchFamily="34" charset="0"/>
              </a:rPr>
              <a:t>0538 270 40 42</a:t>
            </a:r>
            <a:endParaRPr lang="id-ID" sz="1000" dirty="0">
              <a:solidFill>
                <a:schemeClr val="bg2">
                  <a:lumMod val="10000"/>
                </a:schemeClr>
              </a:solidFill>
              <a:latin typeface="Open Sans" pitchFamily="34" charset="0"/>
              <a:ea typeface="Open Sans" pitchFamily="34" charset="0"/>
              <a:cs typeface="Open Sans" pitchFamily="34" charset="0"/>
            </a:endParaRPr>
          </a:p>
        </p:txBody>
      </p:sp>
      <p:grpSp>
        <p:nvGrpSpPr>
          <p:cNvPr id="82" name="Grup 81">
            <a:extLst>
              <a:ext uri="{FF2B5EF4-FFF2-40B4-BE49-F238E27FC236}">
                <a16:creationId xmlns:a16="http://schemas.microsoft.com/office/drawing/2014/main" id="{41E7A61D-52B2-AA55-6CA5-DAA4C9ABB36B}"/>
              </a:ext>
            </a:extLst>
          </p:cNvPr>
          <p:cNvGrpSpPr/>
          <p:nvPr/>
        </p:nvGrpSpPr>
        <p:grpSpPr>
          <a:xfrm flipH="1">
            <a:off x="1746171" y="5343598"/>
            <a:ext cx="198435" cy="128471"/>
            <a:chOff x="5682010" y="5792554"/>
            <a:chExt cx="304839" cy="191785"/>
          </a:xfrm>
          <a:solidFill>
            <a:schemeClr val="accent2">
              <a:lumMod val="60000"/>
              <a:lumOff val="40000"/>
            </a:schemeClr>
          </a:solidFill>
        </p:grpSpPr>
        <p:sp>
          <p:nvSpPr>
            <p:cNvPr id="83" name="Freeform 108">
              <a:extLst>
                <a:ext uri="{FF2B5EF4-FFF2-40B4-BE49-F238E27FC236}">
                  <a16:creationId xmlns:a16="http://schemas.microsoft.com/office/drawing/2014/main" id="{057E3044-ACAF-C2B5-22E8-972308069456}"/>
                </a:ext>
              </a:extLst>
            </p:cNvPr>
            <p:cNvSpPr>
              <a:spLocks/>
            </p:cNvSpPr>
            <p:nvPr/>
          </p:nvSpPr>
          <p:spPr bwMode="auto">
            <a:xfrm>
              <a:off x="5700184" y="5792554"/>
              <a:ext cx="272538" cy="121128"/>
            </a:xfrm>
            <a:custGeom>
              <a:avLst/>
              <a:gdLst>
                <a:gd name="T0" fmla="*/ 135 w 135"/>
                <a:gd name="T1" fmla="*/ 0 h 60"/>
                <a:gd name="T2" fmla="*/ 132 w 135"/>
                <a:gd name="T3" fmla="*/ 0 h 60"/>
                <a:gd name="T4" fmla="*/ 0 w 135"/>
                <a:gd name="T5" fmla="*/ 0 h 60"/>
                <a:gd name="T6" fmla="*/ 0 w 135"/>
                <a:gd name="T7" fmla="*/ 0 h 60"/>
                <a:gd name="T8" fmla="*/ 66 w 135"/>
                <a:gd name="T9" fmla="*/ 60 h 60"/>
                <a:gd name="T10" fmla="*/ 135 w 135"/>
                <a:gd name="T11" fmla="*/ 0 h 60"/>
              </a:gdLst>
              <a:ahLst/>
              <a:cxnLst>
                <a:cxn ang="0">
                  <a:pos x="T0" y="T1"/>
                </a:cxn>
                <a:cxn ang="0">
                  <a:pos x="T2" y="T3"/>
                </a:cxn>
                <a:cxn ang="0">
                  <a:pos x="T4" y="T5"/>
                </a:cxn>
                <a:cxn ang="0">
                  <a:pos x="T6" y="T7"/>
                </a:cxn>
                <a:cxn ang="0">
                  <a:pos x="T8" y="T9"/>
                </a:cxn>
                <a:cxn ang="0">
                  <a:pos x="T10" y="T11"/>
                </a:cxn>
              </a:cxnLst>
              <a:rect l="0" t="0" r="r" b="b"/>
              <a:pathLst>
                <a:path w="135" h="60">
                  <a:moveTo>
                    <a:pt x="135" y="0"/>
                  </a:moveTo>
                  <a:lnTo>
                    <a:pt x="132" y="0"/>
                  </a:lnTo>
                  <a:lnTo>
                    <a:pt x="0" y="0"/>
                  </a:lnTo>
                  <a:lnTo>
                    <a:pt x="0" y="0"/>
                  </a:lnTo>
                  <a:lnTo>
                    <a:pt x="66" y="60"/>
                  </a:lnTo>
                  <a:lnTo>
                    <a:pt x="135" y="0"/>
                  </a:ln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84" name="Freeform 109">
              <a:extLst>
                <a:ext uri="{FF2B5EF4-FFF2-40B4-BE49-F238E27FC236}">
                  <a16:creationId xmlns:a16="http://schemas.microsoft.com/office/drawing/2014/main" id="{408ECF2F-F097-F9A1-AC05-8EF92B4E15AB}"/>
                </a:ext>
              </a:extLst>
            </p:cNvPr>
            <p:cNvSpPr>
              <a:spLocks/>
            </p:cNvSpPr>
            <p:nvPr/>
          </p:nvSpPr>
          <p:spPr bwMode="auto">
            <a:xfrm>
              <a:off x="5891965" y="5808704"/>
              <a:ext cx="94884" cy="165541"/>
            </a:xfrm>
            <a:custGeom>
              <a:avLst/>
              <a:gdLst>
                <a:gd name="T0" fmla="*/ 20 w 20"/>
                <a:gd name="T1" fmla="*/ 0 h 35"/>
                <a:gd name="T2" fmla="*/ 0 w 20"/>
                <a:gd name="T3" fmla="*/ 17 h 35"/>
                <a:gd name="T4" fmla="*/ 19 w 20"/>
                <a:gd name="T5" fmla="*/ 35 h 35"/>
                <a:gd name="T6" fmla="*/ 20 w 20"/>
                <a:gd name="T7" fmla="*/ 33 h 35"/>
                <a:gd name="T8" fmla="*/ 20 w 20"/>
                <a:gd name="T9" fmla="*/ 1 h 35"/>
                <a:gd name="T10" fmla="*/ 20 w 20"/>
                <a:gd name="T11" fmla="*/ 0 h 35"/>
              </a:gdLst>
              <a:ahLst/>
              <a:cxnLst>
                <a:cxn ang="0">
                  <a:pos x="T0" y="T1"/>
                </a:cxn>
                <a:cxn ang="0">
                  <a:pos x="T2" y="T3"/>
                </a:cxn>
                <a:cxn ang="0">
                  <a:pos x="T4" y="T5"/>
                </a:cxn>
                <a:cxn ang="0">
                  <a:pos x="T6" y="T7"/>
                </a:cxn>
                <a:cxn ang="0">
                  <a:pos x="T8" y="T9"/>
                </a:cxn>
                <a:cxn ang="0">
                  <a:pos x="T10" y="T11"/>
                </a:cxn>
              </a:cxnLst>
              <a:rect l="0" t="0" r="r" b="b"/>
              <a:pathLst>
                <a:path w="20" h="35">
                  <a:moveTo>
                    <a:pt x="20" y="0"/>
                  </a:moveTo>
                  <a:cubicBezTo>
                    <a:pt x="0" y="17"/>
                    <a:pt x="0" y="17"/>
                    <a:pt x="0" y="17"/>
                  </a:cubicBezTo>
                  <a:cubicBezTo>
                    <a:pt x="19" y="35"/>
                    <a:pt x="19" y="35"/>
                    <a:pt x="19" y="35"/>
                  </a:cubicBezTo>
                  <a:cubicBezTo>
                    <a:pt x="20" y="34"/>
                    <a:pt x="20" y="34"/>
                    <a:pt x="20" y="33"/>
                  </a:cubicBezTo>
                  <a:cubicBezTo>
                    <a:pt x="20" y="1"/>
                    <a:pt x="20" y="1"/>
                    <a:pt x="20" y="1"/>
                  </a:cubicBezTo>
                  <a:cubicBezTo>
                    <a:pt x="20" y="1"/>
                    <a:pt x="20" y="0"/>
                    <a:pt x="20" y="0"/>
                  </a:cubicBez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85" name="Freeform 110">
              <a:extLst>
                <a:ext uri="{FF2B5EF4-FFF2-40B4-BE49-F238E27FC236}">
                  <a16:creationId xmlns:a16="http://schemas.microsoft.com/office/drawing/2014/main" id="{F9A4CA61-1C1F-3AF6-C1CC-493FB4E44525}"/>
                </a:ext>
              </a:extLst>
            </p:cNvPr>
            <p:cNvSpPr>
              <a:spLocks/>
            </p:cNvSpPr>
            <p:nvPr/>
          </p:nvSpPr>
          <p:spPr bwMode="auto">
            <a:xfrm>
              <a:off x="5682010" y="5802647"/>
              <a:ext cx="94884" cy="171598"/>
            </a:xfrm>
            <a:custGeom>
              <a:avLst/>
              <a:gdLst>
                <a:gd name="T0" fmla="*/ 0 w 20"/>
                <a:gd name="T1" fmla="*/ 0 h 36"/>
                <a:gd name="T2" fmla="*/ 0 w 20"/>
                <a:gd name="T3" fmla="*/ 2 h 36"/>
                <a:gd name="T4" fmla="*/ 0 w 20"/>
                <a:gd name="T5" fmla="*/ 34 h 36"/>
                <a:gd name="T6" fmla="*/ 0 w 20"/>
                <a:gd name="T7" fmla="*/ 36 h 36"/>
                <a:gd name="T8" fmla="*/ 20 w 20"/>
                <a:gd name="T9" fmla="*/ 18 h 36"/>
                <a:gd name="T10" fmla="*/ 0 w 20"/>
                <a:gd name="T11" fmla="*/ 0 h 36"/>
              </a:gdLst>
              <a:ahLst/>
              <a:cxnLst>
                <a:cxn ang="0">
                  <a:pos x="T0" y="T1"/>
                </a:cxn>
                <a:cxn ang="0">
                  <a:pos x="T2" y="T3"/>
                </a:cxn>
                <a:cxn ang="0">
                  <a:pos x="T4" y="T5"/>
                </a:cxn>
                <a:cxn ang="0">
                  <a:pos x="T6" y="T7"/>
                </a:cxn>
                <a:cxn ang="0">
                  <a:pos x="T8" y="T9"/>
                </a:cxn>
                <a:cxn ang="0">
                  <a:pos x="T10" y="T11"/>
                </a:cxn>
              </a:cxnLst>
              <a:rect l="0" t="0" r="r" b="b"/>
              <a:pathLst>
                <a:path w="20" h="36">
                  <a:moveTo>
                    <a:pt x="0" y="0"/>
                  </a:moveTo>
                  <a:cubicBezTo>
                    <a:pt x="0" y="1"/>
                    <a:pt x="0" y="1"/>
                    <a:pt x="0" y="2"/>
                  </a:cubicBezTo>
                  <a:cubicBezTo>
                    <a:pt x="0" y="34"/>
                    <a:pt x="0" y="34"/>
                    <a:pt x="0" y="34"/>
                  </a:cubicBezTo>
                  <a:cubicBezTo>
                    <a:pt x="0" y="35"/>
                    <a:pt x="0" y="35"/>
                    <a:pt x="0" y="36"/>
                  </a:cubicBezTo>
                  <a:cubicBezTo>
                    <a:pt x="20" y="18"/>
                    <a:pt x="20" y="18"/>
                    <a:pt x="20" y="18"/>
                  </a:cubicBezTo>
                  <a:lnTo>
                    <a:pt x="0" y="0"/>
                  </a:ln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86" name="Freeform 111">
              <a:extLst>
                <a:ext uri="{FF2B5EF4-FFF2-40B4-BE49-F238E27FC236}">
                  <a16:creationId xmlns:a16="http://schemas.microsoft.com/office/drawing/2014/main" id="{AB66B511-A116-059E-4EC1-D24453386120}"/>
                </a:ext>
              </a:extLst>
            </p:cNvPr>
            <p:cNvSpPr>
              <a:spLocks/>
            </p:cNvSpPr>
            <p:nvPr/>
          </p:nvSpPr>
          <p:spPr bwMode="auto">
            <a:xfrm>
              <a:off x="5700179" y="5903587"/>
              <a:ext cx="266481" cy="80752"/>
            </a:xfrm>
            <a:custGeom>
              <a:avLst/>
              <a:gdLst>
                <a:gd name="T0" fmla="*/ 66 w 132"/>
                <a:gd name="T1" fmla="*/ 19 h 40"/>
                <a:gd name="T2" fmla="*/ 45 w 132"/>
                <a:gd name="T3" fmla="*/ 0 h 40"/>
                <a:gd name="T4" fmla="*/ 0 w 132"/>
                <a:gd name="T5" fmla="*/ 40 h 40"/>
                <a:gd name="T6" fmla="*/ 0 w 132"/>
                <a:gd name="T7" fmla="*/ 40 h 40"/>
                <a:gd name="T8" fmla="*/ 132 w 132"/>
                <a:gd name="T9" fmla="*/ 40 h 40"/>
                <a:gd name="T10" fmla="*/ 88 w 132"/>
                <a:gd name="T11" fmla="*/ 0 h 40"/>
                <a:gd name="T12" fmla="*/ 66 w 132"/>
                <a:gd name="T13" fmla="*/ 19 h 40"/>
              </a:gdLst>
              <a:ahLst/>
              <a:cxnLst>
                <a:cxn ang="0">
                  <a:pos x="T0" y="T1"/>
                </a:cxn>
                <a:cxn ang="0">
                  <a:pos x="T2" y="T3"/>
                </a:cxn>
                <a:cxn ang="0">
                  <a:pos x="T4" y="T5"/>
                </a:cxn>
                <a:cxn ang="0">
                  <a:pos x="T6" y="T7"/>
                </a:cxn>
                <a:cxn ang="0">
                  <a:pos x="T8" y="T9"/>
                </a:cxn>
                <a:cxn ang="0">
                  <a:pos x="T10" y="T11"/>
                </a:cxn>
                <a:cxn ang="0">
                  <a:pos x="T12" y="T13"/>
                </a:cxn>
              </a:cxnLst>
              <a:rect l="0" t="0" r="r" b="b"/>
              <a:pathLst>
                <a:path w="132" h="40">
                  <a:moveTo>
                    <a:pt x="66" y="19"/>
                  </a:moveTo>
                  <a:lnTo>
                    <a:pt x="45" y="0"/>
                  </a:lnTo>
                  <a:lnTo>
                    <a:pt x="0" y="40"/>
                  </a:lnTo>
                  <a:lnTo>
                    <a:pt x="0" y="40"/>
                  </a:lnTo>
                  <a:lnTo>
                    <a:pt x="132" y="40"/>
                  </a:lnTo>
                  <a:lnTo>
                    <a:pt x="88" y="0"/>
                  </a:lnTo>
                  <a:lnTo>
                    <a:pt x="66" y="19"/>
                  </a:ln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grpSp>
      <p:sp>
        <p:nvSpPr>
          <p:cNvPr id="87" name="Freeform 165">
            <a:extLst>
              <a:ext uri="{FF2B5EF4-FFF2-40B4-BE49-F238E27FC236}">
                <a16:creationId xmlns:a16="http://schemas.microsoft.com/office/drawing/2014/main" id="{4C100879-0D74-3AEF-14C7-37011439A28F}"/>
              </a:ext>
            </a:extLst>
          </p:cNvPr>
          <p:cNvSpPr>
            <a:spLocks noEditPoints="1"/>
          </p:cNvSpPr>
          <p:nvPr/>
        </p:nvSpPr>
        <p:spPr bwMode="auto">
          <a:xfrm flipH="1">
            <a:off x="1755775" y="4992688"/>
            <a:ext cx="190500" cy="196850"/>
          </a:xfrm>
          <a:custGeom>
            <a:avLst/>
            <a:gdLst>
              <a:gd name="T0" fmla="*/ 76 w 151"/>
              <a:gd name="T1" fmla="*/ 0 h 152"/>
              <a:gd name="T2" fmla="*/ 9 w 151"/>
              <a:gd name="T3" fmla="*/ 142 h 152"/>
              <a:gd name="T4" fmla="*/ 0 w 151"/>
              <a:gd name="T5" fmla="*/ 152 h 152"/>
              <a:gd name="T6" fmla="*/ 151 w 151"/>
              <a:gd name="T7" fmla="*/ 38 h 152"/>
              <a:gd name="T8" fmla="*/ 57 w 151"/>
              <a:gd name="T9" fmla="*/ 142 h 152"/>
              <a:gd name="T10" fmla="*/ 28 w 151"/>
              <a:gd name="T11" fmla="*/ 123 h 152"/>
              <a:gd name="T12" fmla="*/ 57 w 151"/>
              <a:gd name="T13" fmla="*/ 142 h 152"/>
              <a:gd name="T14" fmla="*/ 19 w 151"/>
              <a:gd name="T15" fmla="*/ 104 h 152"/>
              <a:gd name="T16" fmla="*/ 66 w 151"/>
              <a:gd name="T17" fmla="*/ 95 h 152"/>
              <a:gd name="T18" fmla="*/ 66 w 151"/>
              <a:gd name="T19" fmla="*/ 85 h 152"/>
              <a:gd name="T20" fmla="*/ 19 w 151"/>
              <a:gd name="T21" fmla="*/ 76 h 152"/>
              <a:gd name="T22" fmla="*/ 66 w 151"/>
              <a:gd name="T23" fmla="*/ 85 h 152"/>
              <a:gd name="T24" fmla="*/ 19 w 151"/>
              <a:gd name="T25" fmla="*/ 66 h 152"/>
              <a:gd name="T26" fmla="*/ 66 w 151"/>
              <a:gd name="T27" fmla="*/ 57 h 152"/>
              <a:gd name="T28" fmla="*/ 66 w 151"/>
              <a:gd name="T29" fmla="*/ 47 h 152"/>
              <a:gd name="T30" fmla="*/ 19 w 151"/>
              <a:gd name="T31" fmla="*/ 38 h 152"/>
              <a:gd name="T32" fmla="*/ 66 w 151"/>
              <a:gd name="T33" fmla="*/ 47 h 152"/>
              <a:gd name="T34" fmla="*/ 19 w 151"/>
              <a:gd name="T35" fmla="*/ 29 h 152"/>
              <a:gd name="T36" fmla="*/ 66 w 151"/>
              <a:gd name="T37" fmla="*/ 19 h 152"/>
              <a:gd name="T38" fmla="*/ 113 w 151"/>
              <a:gd name="T39" fmla="*/ 133 h 152"/>
              <a:gd name="T40" fmla="*/ 95 w 151"/>
              <a:gd name="T41" fmla="*/ 114 h 152"/>
              <a:gd name="T42" fmla="*/ 113 w 151"/>
              <a:gd name="T43" fmla="*/ 133 h 152"/>
              <a:gd name="T44" fmla="*/ 95 w 151"/>
              <a:gd name="T45" fmla="*/ 104 h 152"/>
              <a:gd name="T46" fmla="*/ 113 w 151"/>
              <a:gd name="T47" fmla="*/ 85 h 152"/>
              <a:gd name="T48" fmla="*/ 113 w 151"/>
              <a:gd name="T49" fmla="*/ 76 h 152"/>
              <a:gd name="T50" fmla="*/ 95 w 151"/>
              <a:gd name="T51" fmla="*/ 57 h 152"/>
              <a:gd name="T52" fmla="*/ 113 w 151"/>
              <a:gd name="T53" fmla="*/ 76 h 152"/>
              <a:gd name="T54" fmla="*/ 123 w 151"/>
              <a:gd name="T55" fmla="*/ 133 h 152"/>
              <a:gd name="T56" fmla="*/ 142 w 151"/>
              <a:gd name="T57" fmla="*/ 114 h 152"/>
              <a:gd name="T58" fmla="*/ 142 w 151"/>
              <a:gd name="T59" fmla="*/ 104 h 152"/>
              <a:gd name="T60" fmla="*/ 123 w 151"/>
              <a:gd name="T61" fmla="*/ 85 h 152"/>
              <a:gd name="T62" fmla="*/ 142 w 151"/>
              <a:gd name="T63" fmla="*/ 104 h 152"/>
              <a:gd name="T64" fmla="*/ 123 w 151"/>
              <a:gd name="T65" fmla="*/ 76 h 152"/>
              <a:gd name="T66" fmla="*/ 142 w 151"/>
              <a:gd name="T67" fmla="*/ 5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1" h="152">
                <a:moveTo>
                  <a:pt x="76" y="38"/>
                </a:moveTo>
                <a:lnTo>
                  <a:pt x="76" y="0"/>
                </a:lnTo>
                <a:lnTo>
                  <a:pt x="9" y="0"/>
                </a:lnTo>
                <a:lnTo>
                  <a:pt x="9" y="142"/>
                </a:lnTo>
                <a:lnTo>
                  <a:pt x="0" y="142"/>
                </a:lnTo>
                <a:lnTo>
                  <a:pt x="0" y="152"/>
                </a:lnTo>
                <a:lnTo>
                  <a:pt x="151" y="152"/>
                </a:lnTo>
                <a:lnTo>
                  <a:pt x="151" y="38"/>
                </a:lnTo>
                <a:lnTo>
                  <a:pt x="76" y="38"/>
                </a:lnTo>
                <a:close/>
                <a:moveTo>
                  <a:pt x="57" y="142"/>
                </a:moveTo>
                <a:lnTo>
                  <a:pt x="28" y="142"/>
                </a:lnTo>
                <a:lnTo>
                  <a:pt x="28" y="123"/>
                </a:lnTo>
                <a:lnTo>
                  <a:pt x="57" y="123"/>
                </a:lnTo>
                <a:lnTo>
                  <a:pt x="57" y="142"/>
                </a:lnTo>
                <a:close/>
                <a:moveTo>
                  <a:pt x="66" y="104"/>
                </a:moveTo>
                <a:lnTo>
                  <a:pt x="19" y="104"/>
                </a:lnTo>
                <a:lnTo>
                  <a:pt x="19" y="95"/>
                </a:lnTo>
                <a:lnTo>
                  <a:pt x="66" y="95"/>
                </a:lnTo>
                <a:lnTo>
                  <a:pt x="66" y="104"/>
                </a:lnTo>
                <a:close/>
                <a:moveTo>
                  <a:pt x="66" y="85"/>
                </a:moveTo>
                <a:lnTo>
                  <a:pt x="19" y="85"/>
                </a:lnTo>
                <a:lnTo>
                  <a:pt x="19" y="76"/>
                </a:lnTo>
                <a:lnTo>
                  <a:pt x="66" y="76"/>
                </a:lnTo>
                <a:lnTo>
                  <a:pt x="66" y="85"/>
                </a:lnTo>
                <a:close/>
                <a:moveTo>
                  <a:pt x="66" y="66"/>
                </a:moveTo>
                <a:lnTo>
                  <a:pt x="19" y="66"/>
                </a:lnTo>
                <a:lnTo>
                  <a:pt x="19" y="57"/>
                </a:lnTo>
                <a:lnTo>
                  <a:pt x="66" y="57"/>
                </a:lnTo>
                <a:lnTo>
                  <a:pt x="66" y="66"/>
                </a:lnTo>
                <a:close/>
                <a:moveTo>
                  <a:pt x="66" y="47"/>
                </a:moveTo>
                <a:lnTo>
                  <a:pt x="19" y="47"/>
                </a:lnTo>
                <a:lnTo>
                  <a:pt x="19" y="38"/>
                </a:lnTo>
                <a:lnTo>
                  <a:pt x="66" y="38"/>
                </a:lnTo>
                <a:lnTo>
                  <a:pt x="66" y="47"/>
                </a:lnTo>
                <a:close/>
                <a:moveTo>
                  <a:pt x="66" y="29"/>
                </a:moveTo>
                <a:lnTo>
                  <a:pt x="19" y="29"/>
                </a:lnTo>
                <a:lnTo>
                  <a:pt x="19" y="19"/>
                </a:lnTo>
                <a:lnTo>
                  <a:pt x="66" y="19"/>
                </a:lnTo>
                <a:lnTo>
                  <a:pt x="66" y="29"/>
                </a:lnTo>
                <a:close/>
                <a:moveTo>
                  <a:pt x="113" y="133"/>
                </a:moveTo>
                <a:lnTo>
                  <a:pt x="95" y="133"/>
                </a:lnTo>
                <a:lnTo>
                  <a:pt x="95" y="114"/>
                </a:lnTo>
                <a:lnTo>
                  <a:pt x="113" y="114"/>
                </a:lnTo>
                <a:lnTo>
                  <a:pt x="113" y="133"/>
                </a:lnTo>
                <a:close/>
                <a:moveTo>
                  <a:pt x="113" y="104"/>
                </a:moveTo>
                <a:lnTo>
                  <a:pt x="95" y="104"/>
                </a:lnTo>
                <a:lnTo>
                  <a:pt x="95" y="85"/>
                </a:lnTo>
                <a:lnTo>
                  <a:pt x="113" y="85"/>
                </a:lnTo>
                <a:lnTo>
                  <a:pt x="113" y="104"/>
                </a:lnTo>
                <a:close/>
                <a:moveTo>
                  <a:pt x="113" y="76"/>
                </a:moveTo>
                <a:lnTo>
                  <a:pt x="95" y="76"/>
                </a:lnTo>
                <a:lnTo>
                  <a:pt x="95" y="57"/>
                </a:lnTo>
                <a:lnTo>
                  <a:pt x="113" y="57"/>
                </a:lnTo>
                <a:lnTo>
                  <a:pt x="113" y="76"/>
                </a:lnTo>
                <a:close/>
                <a:moveTo>
                  <a:pt x="142" y="133"/>
                </a:moveTo>
                <a:lnTo>
                  <a:pt x="123" y="133"/>
                </a:lnTo>
                <a:lnTo>
                  <a:pt x="123" y="114"/>
                </a:lnTo>
                <a:lnTo>
                  <a:pt x="142" y="114"/>
                </a:lnTo>
                <a:lnTo>
                  <a:pt x="142" y="133"/>
                </a:lnTo>
                <a:close/>
                <a:moveTo>
                  <a:pt x="142" y="104"/>
                </a:moveTo>
                <a:lnTo>
                  <a:pt x="123" y="104"/>
                </a:lnTo>
                <a:lnTo>
                  <a:pt x="123" y="85"/>
                </a:lnTo>
                <a:lnTo>
                  <a:pt x="142" y="85"/>
                </a:lnTo>
                <a:lnTo>
                  <a:pt x="142" y="104"/>
                </a:lnTo>
                <a:close/>
                <a:moveTo>
                  <a:pt x="142" y="76"/>
                </a:moveTo>
                <a:lnTo>
                  <a:pt x="123" y="76"/>
                </a:lnTo>
                <a:lnTo>
                  <a:pt x="123" y="57"/>
                </a:lnTo>
                <a:lnTo>
                  <a:pt x="142" y="57"/>
                </a:lnTo>
                <a:lnTo>
                  <a:pt x="142" y="76"/>
                </a:lnTo>
                <a:close/>
              </a:path>
            </a:pathLst>
          </a:custGeom>
          <a:solidFill>
            <a:schemeClr val="accent2">
              <a:lumMod val="60000"/>
              <a:lumOff val="40000"/>
            </a:schemeClr>
          </a:solidFill>
          <a:ln>
            <a:noFill/>
          </a:ln>
        </p:spPr>
        <p:txBody>
          <a:bodyPr lIns="68580" tIns="34290" rIns="68580" bIns="34290"/>
          <a:lstStyle/>
          <a:p>
            <a:pPr eaLnBrk="1" fontAlgn="auto" hangingPunct="1">
              <a:spcBef>
                <a:spcPts val="0"/>
              </a:spcBef>
              <a:spcAft>
                <a:spcPts val="0"/>
              </a:spcAft>
              <a:defRPr/>
            </a:pPr>
            <a:endParaRPr lang="id-ID" sz="1350">
              <a:solidFill>
                <a:schemeClr val="bg2">
                  <a:lumMod val="10000"/>
                </a:schemeClr>
              </a:solidFill>
              <a:latin typeface="Open Sans" pitchFamily="34" charset="0"/>
              <a:ea typeface="Open Sans" pitchFamily="34" charset="0"/>
              <a:cs typeface="Open Sans" pitchFamily="34" charset="0"/>
            </a:endParaRPr>
          </a:p>
        </p:txBody>
      </p:sp>
      <p:grpSp>
        <p:nvGrpSpPr>
          <p:cNvPr id="88" name="Grup 87">
            <a:extLst>
              <a:ext uri="{FF2B5EF4-FFF2-40B4-BE49-F238E27FC236}">
                <a16:creationId xmlns:a16="http://schemas.microsoft.com/office/drawing/2014/main" id="{E27EEC66-AE0B-F534-8FCF-E4178C331C02}"/>
              </a:ext>
            </a:extLst>
          </p:cNvPr>
          <p:cNvGrpSpPr/>
          <p:nvPr/>
        </p:nvGrpSpPr>
        <p:grpSpPr>
          <a:xfrm flipH="1">
            <a:off x="1753013" y="5604984"/>
            <a:ext cx="178475" cy="172715"/>
            <a:chOff x="5680558" y="6103512"/>
            <a:chExt cx="307748" cy="289404"/>
          </a:xfrm>
          <a:solidFill>
            <a:schemeClr val="accent2">
              <a:lumMod val="60000"/>
              <a:lumOff val="40000"/>
            </a:schemeClr>
          </a:solidFill>
        </p:grpSpPr>
        <p:sp>
          <p:nvSpPr>
            <p:cNvPr id="89" name="Freeform 65">
              <a:extLst>
                <a:ext uri="{FF2B5EF4-FFF2-40B4-BE49-F238E27FC236}">
                  <a16:creationId xmlns:a16="http://schemas.microsoft.com/office/drawing/2014/main" id="{123309D5-22A8-3F05-84C7-6F9DB342BA41}"/>
                </a:ext>
              </a:extLst>
            </p:cNvPr>
            <p:cNvSpPr>
              <a:spLocks/>
            </p:cNvSpPr>
            <p:nvPr/>
          </p:nvSpPr>
          <p:spPr bwMode="auto">
            <a:xfrm>
              <a:off x="5680558" y="6103512"/>
              <a:ext cx="307748" cy="116170"/>
            </a:xfrm>
            <a:custGeom>
              <a:avLst/>
              <a:gdLst>
                <a:gd name="T0" fmla="*/ 59 w 64"/>
                <a:gd name="T1" fmla="*/ 8 h 24"/>
                <a:gd name="T2" fmla="*/ 32 w 64"/>
                <a:gd name="T3" fmla="*/ 0 h 24"/>
                <a:gd name="T4" fmla="*/ 5 w 64"/>
                <a:gd name="T5" fmla="*/ 8 h 24"/>
                <a:gd name="T6" fmla="*/ 0 w 64"/>
                <a:gd name="T7" fmla="*/ 16 h 24"/>
                <a:gd name="T8" fmla="*/ 0 w 64"/>
                <a:gd name="T9" fmla="*/ 20 h 24"/>
                <a:gd name="T10" fmla="*/ 4 w 64"/>
                <a:gd name="T11" fmla="*/ 24 h 24"/>
                <a:gd name="T12" fmla="*/ 12 w 64"/>
                <a:gd name="T13" fmla="*/ 24 h 24"/>
                <a:gd name="T14" fmla="*/ 16 w 64"/>
                <a:gd name="T15" fmla="*/ 20 h 24"/>
                <a:gd name="T16" fmla="*/ 18 w 64"/>
                <a:gd name="T17" fmla="*/ 13 h 24"/>
                <a:gd name="T18" fmla="*/ 32 w 64"/>
                <a:gd name="T19" fmla="*/ 8 h 24"/>
                <a:gd name="T20" fmla="*/ 46 w 64"/>
                <a:gd name="T21" fmla="*/ 13 h 24"/>
                <a:gd name="T22" fmla="*/ 48 w 64"/>
                <a:gd name="T23" fmla="*/ 20 h 24"/>
                <a:gd name="T24" fmla="*/ 52 w 64"/>
                <a:gd name="T25" fmla="*/ 24 h 24"/>
                <a:gd name="T26" fmla="*/ 60 w 64"/>
                <a:gd name="T27" fmla="*/ 24 h 24"/>
                <a:gd name="T28" fmla="*/ 64 w 64"/>
                <a:gd name="T29" fmla="*/ 20 h 24"/>
                <a:gd name="T30" fmla="*/ 64 w 64"/>
                <a:gd name="T31" fmla="*/ 16 h 24"/>
                <a:gd name="T32" fmla="*/ 59 w 64"/>
                <a:gd name="T33"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24">
                  <a:moveTo>
                    <a:pt x="59" y="8"/>
                  </a:moveTo>
                  <a:cubicBezTo>
                    <a:pt x="55" y="4"/>
                    <a:pt x="48" y="0"/>
                    <a:pt x="32" y="0"/>
                  </a:cubicBezTo>
                  <a:cubicBezTo>
                    <a:pt x="16" y="0"/>
                    <a:pt x="10" y="4"/>
                    <a:pt x="5" y="8"/>
                  </a:cubicBezTo>
                  <a:cubicBezTo>
                    <a:pt x="2" y="11"/>
                    <a:pt x="0" y="12"/>
                    <a:pt x="0" y="16"/>
                  </a:cubicBezTo>
                  <a:cubicBezTo>
                    <a:pt x="0" y="20"/>
                    <a:pt x="0" y="20"/>
                    <a:pt x="0" y="20"/>
                  </a:cubicBezTo>
                  <a:cubicBezTo>
                    <a:pt x="0" y="22"/>
                    <a:pt x="2" y="24"/>
                    <a:pt x="4" y="24"/>
                  </a:cubicBezTo>
                  <a:cubicBezTo>
                    <a:pt x="12" y="24"/>
                    <a:pt x="12" y="24"/>
                    <a:pt x="12" y="24"/>
                  </a:cubicBezTo>
                  <a:cubicBezTo>
                    <a:pt x="14" y="24"/>
                    <a:pt x="16" y="22"/>
                    <a:pt x="16" y="20"/>
                  </a:cubicBezTo>
                  <a:cubicBezTo>
                    <a:pt x="16" y="18"/>
                    <a:pt x="16" y="16"/>
                    <a:pt x="18" y="13"/>
                  </a:cubicBezTo>
                  <a:cubicBezTo>
                    <a:pt x="20" y="11"/>
                    <a:pt x="24" y="8"/>
                    <a:pt x="32" y="8"/>
                  </a:cubicBezTo>
                  <a:cubicBezTo>
                    <a:pt x="40" y="8"/>
                    <a:pt x="44" y="11"/>
                    <a:pt x="46" y="13"/>
                  </a:cubicBezTo>
                  <a:cubicBezTo>
                    <a:pt x="48" y="16"/>
                    <a:pt x="48" y="18"/>
                    <a:pt x="48" y="20"/>
                  </a:cubicBezTo>
                  <a:cubicBezTo>
                    <a:pt x="48" y="22"/>
                    <a:pt x="50" y="24"/>
                    <a:pt x="52" y="24"/>
                  </a:cubicBezTo>
                  <a:cubicBezTo>
                    <a:pt x="60" y="24"/>
                    <a:pt x="60" y="24"/>
                    <a:pt x="60" y="24"/>
                  </a:cubicBezTo>
                  <a:cubicBezTo>
                    <a:pt x="62" y="24"/>
                    <a:pt x="64" y="22"/>
                    <a:pt x="64" y="20"/>
                  </a:cubicBezTo>
                  <a:cubicBezTo>
                    <a:pt x="64" y="16"/>
                    <a:pt x="64" y="16"/>
                    <a:pt x="64" y="16"/>
                  </a:cubicBezTo>
                  <a:cubicBezTo>
                    <a:pt x="64" y="12"/>
                    <a:pt x="62" y="11"/>
                    <a:pt x="59" y="8"/>
                  </a:cubicBez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90" name="Oval 66">
              <a:extLst>
                <a:ext uri="{FF2B5EF4-FFF2-40B4-BE49-F238E27FC236}">
                  <a16:creationId xmlns:a16="http://schemas.microsoft.com/office/drawing/2014/main" id="{90C5D60C-33AE-8359-78F0-31F804A07BD0}"/>
                </a:ext>
              </a:extLst>
            </p:cNvPr>
            <p:cNvSpPr>
              <a:spLocks noChangeArrowheads="1"/>
            </p:cNvSpPr>
            <p:nvPr/>
          </p:nvSpPr>
          <p:spPr bwMode="auto">
            <a:xfrm>
              <a:off x="5794689" y="6276747"/>
              <a:ext cx="77446" cy="77446"/>
            </a:xfrm>
            <a:prstGeom prst="ellipse">
              <a:avLst/>
            </a:pr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91" name="Freeform 67">
              <a:extLst>
                <a:ext uri="{FF2B5EF4-FFF2-40B4-BE49-F238E27FC236}">
                  <a16:creationId xmlns:a16="http://schemas.microsoft.com/office/drawing/2014/main" id="{B82372A2-C08D-6282-3F1E-2E306D443C14}"/>
                </a:ext>
              </a:extLst>
            </p:cNvPr>
            <p:cNvSpPr>
              <a:spLocks noEditPoints="1"/>
            </p:cNvSpPr>
            <p:nvPr/>
          </p:nvSpPr>
          <p:spPr bwMode="auto">
            <a:xfrm>
              <a:off x="5698900" y="6180958"/>
              <a:ext cx="271063" cy="211958"/>
            </a:xfrm>
            <a:custGeom>
              <a:avLst/>
              <a:gdLst>
                <a:gd name="T0" fmla="*/ 42 w 56"/>
                <a:gd name="T1" fmla="*/ 8 h 44"/>
                <a:gd name="T2" fmla="*/ 40 w 56"/>
                <a:gd name="T3" fmla="*/ 8 h 44"/>
                <a:gd name="T4" fmla="*/ 40 w 56"/>
                <a:gd name="T5" fmla="*/ 3 h 44"/>
                <a:gd name="T6" fmla="*/ 36 w 56"/>
                <a:gd name="T7" fmla="*/ 0 h 44"/>
                <a:gd name="T8" fmla="*/ 32 w 56"/>
                <a:gd name="T9" fmla="*/ 3 h 44"/>
                <a:gd name="T10" fmla="*/ 32 w 56"/>
                <a:gd name="T11" fmla="*/ 8 h 44"/>
                <a:gd name="T12" fmla="*/ 24 w 56"/>
                <a:gd name="T13" fmla="*/ 8 h 44"/>
                <a:gd name="T14" fmla="*/ 24 w 56"/>
                <a:gd name="T15" fmla="*/ 3 h 44"/>
                <a:gd name="T16" fmla="*/ 20 w 56"/>
                <a:gd name="T17" fmla="*/ 0 h 44"/>
                <a:gd name="T18" fmla="*/ 16 w 56"/>
                <a:gd name="T19" fmla="*/ 3 h 44"/>
                <a:gd name="T20" fmla="*/ 16 w 56"/>
                <a:gd name="T21" fmla="*/ 8 h 44"/>
                <a:gd name="T22" fmla="*/ 14 w 56"/>
                <a:gd name="T23" fmla="*/ 8 h 44"/>
                <a:gd name="T24" fmla="*/ 11 w 56"/>
                <a:gd name="T25" fmla="*/ 10 h 44"/>
                <a:gd name="T26" fmla="*/ 0 w 56"/>
                <a:gd name="T27" fmla="*/ 32 h 44"/>
                <a:gd name="T28" fmla="*/ 0 w 56"/>
                <a:gd name="T29" fmla="*/ 40 h 44"/>
                <a:gd name="T30" fmla="*/ 4 w 56"/>
                <a:gd name="T31" fmla="*/ 44 h 44"/>
                <a:gd name="T32" fmla="*/ 52 w 56"/>
                <a:gd name="T33" fmla="*/ 44 h 44"/>
                <a:gd name="T34" fmla="*/ 56 w 56"/>
                <a:gd name="T35" fmla="*/ 40 h 44"/>
                <a:gd name="T36" fmla="*/ 56 w 56"/>
                <a:gd name="T37" fmla="*/ 32 h 44"/>
                <a:gd name="T38" fmla="*/ 45 w 56"/>
                <a:gd name="T39" fmla="*/ 10 h 44"/>
                <a:gd name="T40" fmla="*/ 42 w 56"/>
                <a:gd name="T41" fmla="*/ 8 h 44"/>
                <a:gd name="T42" fmla="*/ 28 w 56"/>
                <a:gd name="T43" fmla="*/ 40 h 44"/>
                <a:gd name="T44" fmla="*/ 16 w 56"/>
                <a:gd name="T45" fmla="*/ 28 h 44"/>
                <a:gd name="T46" fmla="*/ 28 w 56"/>
                <a:gd name="T47" fmla="*/ 16 h 44"/>
                <a:gd name="T48" fmla="*/ 40 w 56"/>
                <a:gd name="T49" fmla="*/ 28 h 44"/>
                <a:gd name="T50" fmla="*/ 28 w 56"/>
                <a:gd name="T51"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6" h="44">
                  <a:moveTo>
                    <a:pt x="42" y="8"/>
                  </a:moveTo>
                  <a:cubicBezTo>
                    <a:pt x="40" y="8"/>
                    <a:pt x="40" y="8"/>
                    <a:pt x="40" y="8"/>
                  </a:cubicBezTo>
                  <a:cubicBezTo>
                    <a:pt x="40" y="3"/>
                    <a:pt x="40" y="3"/>
                    <a:pt x="40" y="3"/>
                  </a:cubicBezTo>
                  <a:cubicBezTo>
                    <a:pt x="40" y="1"/>
                    <a:pt x="38" y="0"/>
                    <a:pt x="36" y="0"/>
                  </a:cubicBezTo>
                  <a:cubicBezTo>
                    <a:pt x="34" y="0"/>
                    <a:pt x="32" y="1"/>
                    <a:pt x="32" y="3"/>
                  </a:cubicBezTo>
                  <a:cubicBezTo>
                    <a:pt x="32" y="8"/>
                    <a:pt x="32" y="8"/>
                    <a:pt x="32" y="8"/>
                  </a:cubicBezTo>
                  <a:cubicBezTo>
                    <a:pt x="24" y="8"/>
                    <a:pt x="24" y="8"/>
                    <a:pt x="24" y="8"/>
                  </a:cubicBezTo>
                  <a:cubicBezTo>
                    <a:pt x="24" y="3"/>
                    <a:pt x="24" y="3"/>
                    <a:pt x="24" y="3"/>
                  </a:cubicBezTo>
                  <a:cubicBezTo>
                    <a:pt x="24" y="1"/>
                    <a:pt x="22" y="0"/>
                    <a:pt x="20" y="0"/>
                  </a:cubicBezTo>
                  <a:cubicBezTo>
                    <a:pt x="18" y="0"/>
                    <a:pt x="16" y="1"/>
                    <a:pt x="16" y="3"/>
                  </a:cubicBezTo>
                  <a:cubicBezTo>
                    <a:pt x="16" y="8"/>
                    <a:pt x="16" y="8"/>
                    <a:pt x="16" y="8"/>
                  </a:cubicBezTo>
                  <a:cubicBezTo>
                    <a:pt x="14" y="8"/>
                    <a:pt x="14" y="8"/>
                    <a:pt x="14" y="8"/>
                  </a:cubicBezTo>
                  <a:cubicBezTo>
                    <a:pt x="13" y="8"/>
                    <a:pt x="12" y="9"/>
                    <a:pt x="11" y="10"/>
                  </a:cubicBezTo>
                  <a:cubicBezTo>
                    <a:pt x="8" y="14"/>
                    <a:pt x="0" y="27"/>
                    <a:pt x="0" y="32"/>
                  </a:cubicBezTo>
                  <a:cubicBezTo>
                    <a:pt x="0" y="40"/>
                    <a:pt x="0" y="40"/>
                    <a:pt x="0" y="40"/>
                  </a:cubicBezTo>
                  <a:cubicBezTo>
                    <a:pt x="0" y="42"/>
                    <a:pt x="2" y="44"/>
                    <a:pt x="4" y="44"/>
                  </a:cubicBezTo>
                  <a:cubicBezTo>
                    <a:pt x="52" y="44"/>
                    <a:pt x="52" y="44"/>
                    <a:pt x="52" y="44"/>
                  </a:cubicBezTo>
                  <a:cubicBezTo>
                    <a:pt x="54" y="44"/>
                    <a:pt x="56" y="42"/>
                    <a:pt x="56" y="40"/>
                  </a:cubicBezTo>
                  <a:cubicBezTo>
                    <a:pt x="56" y="37"/>
                    <a:pt x="56" y="32"/>
                    <a:pt x="56" y="32"/>
                  </a:cubicBezTo>
                  <a:cubicBezTo>
                    <a:pt x="56" y="25"/>
                    <a:pt x="48" y="14"/>
                    <a:pt x="45" y="10"/>
                  </a:cubicBezTo>
                  <a:cubicBezTo>
                    <a:pt x="44" y="9"/>
                    <a:pt x="43" y="8"/>
                    <a:pt x="42" y="8"/>
                  </a:cubicBezTo>
                  <a:close/>
                  <a:moveTo>
                    <a:pt x="28" y="40"/>
                  </a:moveTo>
                  <a:cubicBezTo>
                    <a:pt x="21" y="40"/>
                    <a:pt x="16" y="35"/>
                    <a:pt x="16" y="28"/>
                  </a:cubicBezTo>
                  <a:cubicBezTo>
                    <a:pt x="16" y="21"/>
                    <a:pt x="21" y="16"/>
                    <a:pt x="28" y="16"/>
                  </a:cubicBezTo>
                  <a:cubicBezTo>
                    <a:pt x="35" y="16"/>
                    <a:pt x="40" y="21"/>
                    <a:pt x="40" y="28"/>
                  </a:cubicBezTo>
                  <a:cubicBezTo>
                    <a:pt x="40" y="35"/>
                    <a:pt x="35" y="40"/>
                    <a:pt x="28" y="40"/>
                  </a:cubicBez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grpSp>
      <p:sp>
        <p:nvSpPr>
          <p:cNvPr id="42025" name="Dikdörtgen 91">
            <a:extLst>
              <a:ext uri="{FF2B5EF4-FFF2-40B4-BE49-F238E27FC236}">
                <a16:creationId xmlns:a16="http://schemas.microsoft.com/office/drawing/2014/main" id="{B5867EE2-D2B4-26DC-A0B5-B23E71029A44}"/>
              </a:ext>
            </a:extLst>
          </p:cNvPr>
          <p:cNvSpPr>
            <a:spLocks noChangeArrowheads="1"/>
          </p:cNvSpPr>
          <p:nvPr/>
        </p:nvSpPr>
        <p:spPr bwMode="auto">
          <a:xfrm>
            <a:off x="1947863" y="4899025"/>
            <a:ext cx="36226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r>
              <a:rPr lang="nn-NO" altLang="tr-TR" sz="1000">
                <a:latin typeface="Open Sans" panose="020B0606030504020204" pitchFamily="34" charset="0"/>
                <a:cs typeface="Open Sans" panose="020B0606030504020204" pitchFamily="34" charset="0"/>
              </a:rPr>
              <a:t>Etiler Mh, Adnan Menderes Bul, Sami Kaya İş Merkezi, No:47, 1. Kat No:105</a:t>
            </a:r>
            <a:r>
              <a:rPr lang="tr-TR" altLang="tr-TR" sz="1000">
                <a:latin typeface="Open Sans" panose="020B0606030504020204" pitchFamily="34" charset="0"/>
                <a:cs typeface="Open Sans" panose="020B0606030504020204" pitchFamily="34" charset="0"/>
              </a:rPr>
              <a:t> Muratpaşa / Antalya</a:t>
            </a:r>
            <a:endParaRPr lang="tr-TR" altLang="tr-TR" sz="1000">
              <a:solidFill>
                <a:srgbClr val="181717"/>
              </a:solidFill>
              <a:latin typeface="Open Sans" panose="020B0606030504020204" pitchFamily="34" charset="0"/>
              <a:cs typeface="Open Sans" panose="020B0606030504020204" pitchFamily="34" charset="0"/>
            </a:endParaRPr>
          </a:p>
        </p:txBody>
      </p:sp>
      <p:sp>
        <p:nvSpPr>
          <p:cNvPr id="42026" name="Dikdörtgen 92">
            <a:extLst>
              <a:ext uri="{FF2B5EF4-FFF2-40B4-BE49-F238E27FC236}">
                <a16:creationId xmlns:a16="http://schemas.microsoft.com/office/drawing/2014/main" id="{D8C3E7E5-F914-3108-FEC0-15E671C93A25}"/>
              </a:ext>
            </a:extLst>
          </p:cNvPr>
          <p:cNvSpPr>
            <a:spLocks noChangeArrowheads="1"/>
          </p:cNvSpPr>
          <p:nvPr/>
        </p:nvSpPr>
        <p:spPr bwMode="auto">
          <a:xfrm>
            <a:off x="1985963" y="4572000"/>
            <a:ext cx="31654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r>
              <a:rPr lang="tr-TR" altLang="tr-TR" sz="1200" b="1">
                <a:solidFill>
                  <a:srgbClr val="AD119B"/>
                </a:solidFill>
                <a:latin typeface="Open Sans" panose="020B0606030504020204" pitchFamily="34" charset="0"/>
                <a:cs typeface="Open Sans" panose="020B0606030504020204" pitchFamily="34" charset="0"/>
              </a:rPr>
              <a:t>Antalya Akdeniz Bölge Müdürlüğü</a:t>
            </a:r>
            <a:endParaRPr lang="tr-TR" altLang="tr-TR" sz="1200" u="sng">
              <a:solidFill>
                <a:srgbClr val="AD119B"/>
              </a:solidFill>
              <a:latin typeface="Open Sans" panose="020B0606030504020204" pitchFamily="34" charset="0"/>
              <a:cs typeface="Open Sans" panose="020B0606030504020204" pitchFamily="34" charset="0"/>
            </a:endParaRPr>
          </a:p>
        </p:txBody>
      </p:sp>
      <p:grpSp>
        <p:nvGrpSpPr>
          <p:cNvPr id="42027" name="Grup 93">
            <a:extLst>
              <a:ext uri="{FF2B5EF4-FFF2-40B4-BE49-F238E27FC236}">
                <a16:creationId xmlns:a16="http://schemas.microsoft.com/office/drawing/2014/main" id="{659DE018-0AEA-5161-5D8D-349B32C02CB0}"/>
              </a:ext>
            </a:extLst>
          </p:cNvPr>
          <p:cNvGrpSpPr>
            <a:grpSpLocks/>
          </p:cNvGrpSpPr>
          <p:nvPr/>
        </p:nvGrpSpPr>
        <p:grpSpPr bwMode="auto">
          <a:xfrm>
            <a:off x="2093913" y="4818063"/>
            <a:ext cx="584200" cy="26987"/>
            <a:chOff x="2155275" y="960249"/>
            <a:chExt cx="584814" cy="26989"/>
          </a:xfrm>
        </p:grpSpPr>
        <p:cxnSp>
          <p:nvCxnSpPr>
            <p:cNvPr id="95" name="Straight Connector 6">
              <a:extLst>
                <a:ext uri="{FF2B5EF4-FFF2-40B4-BE49-F238E27FC236}">
                  <a16:creationId xmlns:a16="http://schemas.microsoft.com/office/drawing/2014/main" id="{86B227A9-919B-5C40-BF26-5615701677E0}"/>
                </a:ext>
              </a:extLst>
            </p:cNvPr>
            <p:cNvCxnSpPr/>
            <p:nvPr/>
          </p:nvCxnSpPr>
          <p:spPr>
            <a:xfrm flipV="1">
              <a:off x="2155275" y="969775"/>
              <a:ext cx="495821" cy="1587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6" name="Rectangle 7">
              <a:extLst>
                <a:ext uri="{FF2B5EF4-FFF2-40B4-BE49-F238E27FC236}">
                  <a16:creationId xmlns:a16="http://schemas.microsoft.com/office/drawing/2014/main" id="{3DB4814E-D387-619F-34E1-821AAD5D24C3}"/>
                </a:ext>
              </a:extLst>
            </p:cNvPr>
            <p:cNvSpPr/>
            <p:nvPr/>
          </p:nvSpPr>
          <p:spPr>
            <a:xfrm>
              <a:off x="2318959" y="960249"/>
              <a:ext cx="421130" cy="269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
        <p:nvSpPr>
          <p:cNvPr id="97" name="TextBox 14">
            <a:extLst>
              <a:ext uri="{FF2B5EF4-FFF2-40B4-BE49-F238E27FC236}">
                <a16:creationId xmlns:a16="http://schemas.microsoft.com/office/drawing/2014/main" id="{79710378-74BF-8E75-79CC-AF79550A5628}"/>
              </a:ext>
            </a:extLst>
          </p:cNvPr>
          <p:cNvSpPr txBox="1"/>
          <p:nvPr/>
        </p:nvSpPr>
        <p:spPr>
          <a:xfrm>
            <a:off x="6743700" y="2801938"/>
            <a:ext cx="2801938" cy="246062"/>
          </a:xfrm>
          <a:prstGeom prst="rect">
            <a:avLst/>
          </a:prstGeom>
          <a:noFill/>
        </p:spPr>
        <p:txBody>
          <a:bodyPr>
            <a:spAutoFit/>
          </a:bodyPr>
          <a:lstStyle/>
          <a:p>
            <a:pPr eaLnBrk="1" fontAlgn="auto" hangingPunct="1">
              <a:spcBef>
                <a:spcPts val="0"/>
              </a:spcBef>
              <a:spcAft>
                <a:spcPts val="0"/>
              </a:spcAft>
              <a:defRPr/>
            </a:pPr>
            <a:r>
              <a:rPr lang="tr-TR" sz="1000" dirty="0">
                <a:solidFill>
                  <a:schemeClr val="bg2">
                    <a:lumMod val="10000"/>
                  </a:schemeClr>
                </a:solidFill>
                <a:latin typeface="Open Sans" pitchFamily="34" charset="0"/>
                <a:ea typeface="Open Sans" pitchFamily="34" charset="0"/>
                <a:cs typeface="Open Sans" pitchFamily="34" charset="0"/>
              </a:rPr>
              <a:t>vizyon@vizyongd.com</a:t>
            </a:r>
            <a:endParaRPr lang="id-ID" sz="1000" dirty="0">
              <a:solidFill>
                <a:schemeClr val="bg2">
                  <a:lumMod val="10000"/>
                </a:schemeClr>
              </a:solidFill>
              <a:latin typeface="Open Sans" pitchFamily="34" charset="0"/>
              <a:ea typeface="Open Sans" pitchFamily="34" charset="0"/>
              <a:cs typeface="Open Sans" pitchFamily="34" charset="0"/>
            </a:endParaRPr>
          </a:p>
        </p:txBody>
      </p:sp>
      <p:sp>
        <p:nvSpPr>
          <p:cNvPr id="98" name="TextBox 15">
            <a:extLst>
              <a:ext uri="{FF2B5EF4-FFF2-40B4-BE49-F238E27FC236}">
                <a16:creationId xmlns:a16="http://schemas.microsoft.com/office/drawing/2014/main" id="{BAA489B8-13F2-406B-6F47-0F059F526565}"/>
              </a:ext>
            </a:extLst>
          </p:cNvPr>
          <p:cNvSpPr txBox="1"/>
          <p:nvPr/>
        </p:nvSpPr>
        <p:spPr>
          <a:xfrm>
            <a:off x="6734175" y="3095625"/>
            <a:ext cx="2811463" cy="246063"/>
          </a:xfrm>
          <a:prstGeom prst="rect">
            <a:avLst/>
          </a:prstGeom>
          <a:noFill/>
        </p:spPr>
        <p:txBody>
          <a:bodyPr>
            <a:spAutoFit/>
          </a:bodyPr>
          <a:lstStyle/>
          <a:p>
            <a:pPr eaLnBrk="1" fontAlgn="auto" hangingPunct="1">
              <a:spcBef>
                <a:spcPts val="0"/>
              </a:spcBef>
              <a:spcAft>
                <a:spcPts val="0"/>
              </a:spcAft>
              <a:defRPr/>
            </a:pPr>
            <a:r>
              <a:rPr lang="tr-TR" sz="1000" dirty="0">
                <a:latin typeface="Open Sans" pitchFamily="34" charset="0"/>
                <a:ea typeface="Open Sans" pitchFamily="34" charset="0"/>
                <a:cs typeface="Open Sans" pitchFamily="34" charset="0"/>
              </a:rPr>
              <a:t>0533 607 40 39</a:t>
            </a:r>
            <a:endParaRPr lang="id-ID" sz="1000" dirty="0">
              <a:solidFill>
                <a:schemeClr val="bg2">
                  <a:lumMod val="10000"/>
                </a:schemeClr>
              </a:solidFill>
              <a:latin typeface="Open Sans" pitchFamily="34" charset="0"/>
              <a:ea typeface="Open Sans" pitchFamily="34" charset="0"/>
              <a:cs typeface="Open Sans" pitchFamily="34" charset="0"/>
            </a:endParaRPr>
          </a:p>
        </p:txBody>
      </p:sp>
      <p:grpSp>
        <p:nvGrpSpPr>
          <p:cNvPr id="99" name="Grup 98">
            <a:extLst>
              <a:ext uri="{FF2B5EF4-FFF2-40B4-BE49-F238E27FC236}">
                <a16:creationId xmlns:a16="http://schemas.microsoft.com/office/drawing/2014/main" id="{17E1981C-50E1-968A-B750-DE36565C96ED}"/>
              </a:ext>
            </a:extLst>
          </p:cNvPr>
          <p:cNvGrpSpPr/>
          <p:nvPr/>
        </p:nvGrpSpPr>
        <p:grpSpPr>
          <a:xfrm flipH="1">
            <a:off x="6542105" y="2860703"/>
            <a:ext cx="198435" cy="128471"/>
            <a:chOff x="5682010" y="5792554"/>
            <a:chExt cx="304839" cy="191785"/>
          </a:xfrm>
          <a:solidFill>
            <a:schemeClr val="accent2">
              <a:lumMod val="60000"/>
              <a:lumOff val="40000"/>
            </a:schemeClr>
          </a:solidFill>
        </p:grpSpPr>
        <p:sp>
          <p:nvSpPr>
            <p:cNvPr id="100" name="Freeform 108">
              <a:extLst>
                <a:ext uri="{FF2B5EF4-FFF2-40B4-BE49-F238E27FC236}">
                  <a16:creationId xmlns:a16="http://schemas.microsoft.com/office/drawing/2014/main" id="{EC7A50D9-A608-E926-19D5-E994C724EA0B}"/>
                </a:ext>
              </a:extLst>
            </p:cNvPr>
            <p:cNvSpPr>
              <a:spLocks/>
            </p:cNvSpPr>
            <p:nvPr/>
          </p:nvSpPr>
          <p:spPr bwMode="auto">
            <a:xfrm>
              <a:off x="5700184" y="5792554"/>
              <a:ext cx="272538" cy="121128"/>
            </a:xfrm>
            <a:custGeom>
              <a:avLst/>
              <a:gdLst>
                <a:gd name="T0" fmla="*/ 135 w 135"/>
                <a:gd name="T1" fmla="*/ 0 h 60"/>
                <a:gd name="T2" fmla="*/ 132 w 135"/>
                <a:gd name="T3" fmla="*/ 0 h 60"/>
                <a:gd name="T4" fmla="*/ 0 w 135"/>
                <a:gd name="T5" fmla="*/ 0 h 60"/>
                <a:gd name="T6" fmla="*/ 0 w 135"/>
                <a:gd name="T7" fmla="*/ 0 h 60"/>
                <a:gd name="T8" fmla="*/ 66 w 135"/>
                <a:gd name="T9" fmla="*/ 60 h 60"/>
                <a:gd name="T10" fmla="*/ 135 w 135"/>
                <a:gd name="T11" fmla="*/ 0 h 60"/>
              </a:gdLst>
              <a:ahLst/>
              <a:cxnLst>
                <a:cxn ang="0">
                  <a:pos x="T0" y="T1"/>
                </a:cxn>
                <a:cxn ang="0">
                  <a:pos x="T2" y="T3"/>
                </a:cxn>
                <a:cxn ang="0">
                  <a:pos x="T4" y="T5"/>
                </a:cxn>
                <a:cxn ang="0">
                  <a:pos x="T6" y="T7"/>
                </a:cxn>
                <a:cxn ang="0">
                  <a:pos x="T8" y="T9"/>
                </a:cxn>
                <a:cxn ang="0">
                  <a:pos x="T10" y="T11"/>
                </a:cxn>
              </a:cxnLst>
              <a:rect l="0" t="0" r="r" b="b"/>
              <a:pathLst>
                <a:path w="135" h="60">
                  <a:moveTo>
                    <a:pt x="135" y="0"/>
                  </a:moveTo>
                  <a:lnTo>
                    <a:pt x="132" y="0"/>
                  </a:lnTo>
                  <a:lnTo>
                    <a:pt x="0" y="0"/>
                  </a:lnTo>
                  <a:lnTo>
                    <a:pt x="0" y="0"/>
                  </a:lnTo>
                  <a:lnTo>
                    <a:pt x="66" y="60"/>
                  </a:lnTo>
                  <a:lnTo>
                    <a:pt x="135" y="0"/>
                  </a:ln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101" name="Freeform 109">
              <a:extLst>
                <a:ext uri="{FF2B5EF4-FFF2-40B4-BE49-F238E27FC236}">
                  <a16:creationId xmlns:a16="http://schemas.microsoft.com/office/drawing/2014/main" id="{7BF53C53-594E-0E47-DE61-8B7494BD51E8}"/>
                </a:ext>
              </a:extLst>
            </p:cNvPr>
            <p:cNvSpPr>
              <a:spLocks/>
            </p:cNvSpPr>
            <p:nvPr/>
          </p:nvSpPr>
          <p:spPr bwMode="auto">
            <a:xfrm>
              <a:off x="5891965" y="5808704"/>
              <a:ext cx="94884" cy="165541"/>
            </a:xfrm>
            <a:custGeom>
              <a:avLst/>
              <a:gdLst>
                <a:gd name="T0" fmla="*/ 20 w 20"/>
                <a:gd name="T1" fmla="*/ 0 h 35"/>
                <a:gd name="T2" fmla="*/ 0 w 20"/>
                <a:gd name="T3" fmla="*/ 17 h 35"/>
                <a:gd name="T4" fmla="*/ 19 w 20"/>
                <a:gd name="T5" fmla="*/ 35 h 35"/>
                <a:gd name="T6" fmla="*/ 20 w 20"/>
                <a:gd name="T7" fmla="*/ 33 h 35"/>
                <a:gd name="T8" fmla="*/ 20 w 20"/>
                <a:gd name="T9" fmla="*/ 1 h 35"/>
                <a:gd name="T10" fmla="*/ 20 w 20"/>
                <a:gd name="T11" fmla="*/ 0 h 35"/>
              </a:gdLst>
              <a:ahLst/>
              <a:cxnLst>
                <a:cxn ang="0">
                  <a:pos x="T0" y="T1"/>
                </a:cxn>
                <a:cxn ang="0">
                  <a:pos x="T2" y="T3"/>
                </a:cxn>
                <a:cxn ang="0">
                  <a:pos x="T4" y="T5"/>
                </a:cxn>
                <a:cxn ang="0">
                  <a:pos x="T6" y="T7"/>
                </a:cxn>
                <a:cxn ang="0">
                  <a:pos x="T8" y="T9"/>
                </a:cxn>
                <a:cxn ang="0">
                  <a:pos x="T10" y="T11"/>
                </a:cxn>
              </a:cxnLst>
              <a:rect l="0" t="0" r="r" b="b"/>
              <a:pathLst>
                <a:path w="20" h="35">
                  <a:moveTo>
                    <a:pt x="20" y="0"/>
                  </a:moveTo>
                  <a:cubicBezTo>
                    <a:pt x="0" y="17"/>
                    <a:pt x="0" y="17"/>
                    <a:pt x="0" y="17"/>
                  </a:cubicBezTo>
                  <a:cubicBezTo>
                    <a:pt x="19" y="35"/>
                    <a:pt x="19" y="35"/>
                    <a:pt x="19" y="35"/>
                  </a:cubicBezTo>
                  <a:cubicBezTo>
                    <a:pt x="20" y="34"/>
                    <a:pt x="20" y="34"/>
                    <a:pt x="20" y="33"/>
                  </a:cubicBezTo>
                  <a:cubicBezTo>
                    <a:pt x="20" y="1"/>
                    <a:pt x="20" y="1"/>
                    <a:pt x="20" y="1"/>
                  </a:cubicBezTo>
                  <a:cubicBezTo>
                    <a:pt x="20" y="1"/>
                    <a:pt x="20" y="0"/>
                    <a:pt x="20" y="0"/>
                  </a:cubicBez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102" name="Freeform 110">
              <a:extLst>
                <a:ext uri="{FF2B5EF4-FFF2-40B4-BE49-F238E27FC236}">
                  <a16:creationId xmlns:a16="http://schemas.microsoft.com/office/drawing/2014/main" id="{F87309FF-24D1-22D4-4000-1AF5102296B6}"/>
                </a:ext>
              </a:extLst>
            </p:cNvPr>
            <p:cNvSpPr>
              <a:spLocks/>
            </p:cNvSpPr>
            <p:nvPr/>
          </p:nvSpPr>
          <p:spPr bwMode="auto">
            <a:xfrm>
              <a:off x="5682010" y="5802647"/>
              <a:ext cx="94884" cy="171598"/>
            </a:xfrm>
            <a:custGeom>
              <a:avLst/>
              <a:gdLst>
                <a:gd name="T0" fmla="*/ 0 w 20"/>
                <a:gd name="T1" fmla="*/ 0 h 36"/>
                <a:gd name="T2" fmla="*/ 0 w 20"/>
                <a:gd name="T3" fmla="*/ 2 h 36"/>
                <a:gd name="T4" fmla="*/ 0 w 20"/>
                <a:gd name="T5" fmla="*/ 34 h 36"/>
                <a:gd name="T6" fmla="*/ 0 w 20"/>
                <a:gd name="T7" fmla="*/ 36 h 36"/>
                <a:gd name="T8" fmla="*/ 20 w 20"/>
                <a:gd name="T9" fmla="*/ 18 h 36"/>
                <a:gd name="T10" fmla="*/ 0 w 20"/>
                <a:gd name="T11" fmla="*/ 0 h 36"/>
              </a:gdLst>
              <a:ahLst/>
              <a:cxnLst>
                <a:cxn ang="0">
                  <a:pos x="T0" y="T1"/>
                </a:cxn>
                <a:cxn ang="0">
                  <a:pos x="T2" y="T3"/>
                </a:cxn>
                <a:cxn ang="0">
                  <a:pos x="T4" y="T5"/>
                </a:cxn>
                <a:cxn ang="0">
                  <a:pos x="T6" y="T7"/>
                </a:cxn>
                <a:cxn ang="0">
                  <a:pos x="T8" y="T9"/>
                </a:cxn>
                <a:cxn ang="0">
                  <a:pos x="T10" y="T11"/>
                </a:cxn>
              </a:cxnLst>
              <a:rect l="0" t="0" r="r" b="b"/>
              <a:pathLst>
                <a:path w="20" h="36">
                  <a:moveTo>
                    <a:pt x="0" y="0"/>
                  </a:moveTo>
                  <a:cubicBezTo>
                    <a:pt x="0" y="1"/>
                    <a:pt x="0" y="1"/>
                    <a:pt x="0" y="2"/>
                  </a:cubicBezTo>
                  <a:cubicBezTo>
                    <a:pt x="0" y="34"/>
                    <a:pt x="0" y="34"/>
                    <a:pt x="0" y="34"/>
                  </a:cubicBezTo>
                  <a:cubicBezTo>
                    <a:pt x="0" y="35"/>
                    <a:pt x="0" y="35"/>
                    <a:pt x="0" y="36"/>
                  </a:cubicBezTo>
                  <a:cubicBezTo>
                    <a:pt x="20" y="18"/>
                    <a:pt x="20" y="18"/>
                    <a:pt x="20" y="18"/>
                  </a:cubicBezTo>
                  <a:lnTo>
                    <a:pt x="0" y="0"/>
                  </a:ln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103" name="Freeform 111">
              <a:extLst>
                <a:ext uri="{FF2B5EF4-FFF2-40B4-BE49-F238E27FC236}">
                  <a16:creationId xmlns:a16="http://schemas.microsoft.com/office/drawing/2014/main" id="{96532F00-FAA1-2238-EBA7-5850A8237570}"/>
                </a:ext>
              </a:extLst>
            </p:cNvPr>
            <p:cNvSpPr>
              <a:spLocks/>
            </p:cNvSpPr>
            <p:nvPr/>
          </p:nvSpPr>
          <p:spPr bwMode="auto">
            <a:xfrm>
              <a:off x="5700179" y="5903587"/>
              <a:ext cx="266481" cy="80752"/>
            </a:xfrm>
            <a:custGeom>
              <a:avLst/>
              <a:gdLst>
                <a:gd name="T0" fmla="*/ 66 w 132"/>
                <a:gd name="T1" fmla="*/ 19 h 40"/>
                <a:gd name="T2" fmla="*/ 45 w 132"/>
                <a:gd name="T3" fmla="*/ 0 h 40"/>
                <a:gd name="T4" fmla="*/ 0 w 132"/>
                <a:gd name="T5" fmla="*/ 40 h 40"/>
                <a:gd name="T6" fmla="*/ 0 w 132"/>
                <a:gd name="T7" fmla="*/ 40 h 40"/>
                <a:gd name="T8" fmla="*/ 132 w 132"/>
                <a:gd name="T9" fmla="*/ 40 h 40"/>
                <a:gd name="T10" fmla="*/ 88 w 132"/>
                <a:gd name="T11" fmla="*/ 0 h 40"/>
                <a:gd name="T12" fmla="*/ 66 w 132"/>
                <a:gd name="T13" fmla="*/ 19 h 40"/>
              </a:gdLst>
              <a:ahLst/>
              <a:cxnLst>
                <a:cxn ang="0">
                  <a:pos x="T0" y="T1"/>
                </a:cxn>
                <a:cxn ang="0">
                  <a:pos x="T2" y="T3"/>
                </a:cxn>
                <a:cxn ang="0">
                  <a:pos x="T4" y="T5"/>
                </a:cxn>
                <a:cxn ang="0">
                  <a:pos x="T6" y="T7"/>
                </a:cxn>
                <a:cxn ang="0">
                  <a:pos x="T8" y="T9"/>
                </a:cxn>
                <a:cxn ang="0">
                  <a:pos x="T10" y="T11"/>
                </a:cxn>
                <a:cxn ang="0">
                  <a:pos x="T12" y="T13"/>
                </a:cxn>
              </a:cxnLst>
              <a:rect l="0" t="0" r="r" b="b"/>
              <a:pathLst>
                <a:path w="132" h="40">
                  <a:moveTo>
                    <a:pt x="66" y="19"/>
                  </a:moveTo>
                  <a:lnTo>
                    <a:pt x="45" y="0"/>
                  </a:lnTo>
                  <a:lnTo>
                    <a:pt x="0" y="40"/>
                  </a:lnTo>
                  <a:lnTo>
                    <a:pt x="0" y="40"/>
                  </a:lnTo>
                  <a:lnTo>
                    <a:pt x="132" y="40"/>
                  </a:lnTo>
                  <a:lnTo>
                    <a:pt x="88" y="0"/>
                  </a:lnTo>
                  <a:lnTo>
                    <a:pt x="66" y="19"/>
                  </a:ln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grpSp>
      <p:sp>
        <p:nvSpPr>
          <p:cNvPr id="104" name="Freeform 165">
            <a:extLst>
              <a:ext uri="{FF2B5EF4-FFF2-40B4-BE49-F238E27FC236}">
                <a16:creationId xmlns:a16="http://schemas.microsoft.com/office/drawing/2014/main" id="{3656779D-7D7F-C198-36AC-935CA6CF5201}"/>
              </a:ext>
            </a:extLst>
          </p:cNvPr>
          <p:cNvSpPr>
            <a:spLocks noEditPoints="1"/>
          </p:cNvSpPr>
          <p:nvPr/>
        </p:nvSpPr>
        <p:spPr bwMode="auto">
          <a:xfrm flipH="1">
            <a:off x="6551613" y="2509838"/>
            <a:ext cx="190500" cy="196850"/>
          </a:xfrm>
          <a:custGeom>
            <a:avLst/>
            <a:gdLst>
              <a:gd name="T0" fmla="*/ 76 w 151"/>
              <a:gd name="T1" fmla="*/ 0 h 152"/>
              <a:gd name="T2" fmla="*/ 9 w 151"/>
              <a:gd name="T3" fmla="*/ 142 h 152"/>
              <a:gd name="T4" fmla="*/ 0 w 151"/>
              <a:gd name="T5" fmla="*/ 152 h 152"/>
              <a:gd name="T6" fmla="*/ 151 w 151"/>
              <a:gd name="T7" fmla="*/ 38 h 152"/>
              <a:gd name="T8" fmla="*/ 57 w 151"/>
              <a:gd name="T9" fmla="*/ 142 h 152"/>
              <a:gd name="T10" fmla="*/ 28 w 151"/>
              <a:gd name="T11" fmla="*/ 123 h 152"/>
              <a:gd name="T12" fmla="*/ 57 w 151"/>
              <a:gd name="T13" fmla="*/ 142 h 152"/>
              <a:gd name="T14" fmla="*/ 19 w 151"/>
              <a:gd name="T15" fmla="*/ 104 h 152"/>
              <a:gd name="T16" fmla="*/ 66 w 151"/>
              <a:gd name="T17" fmla="*/ 95 h 152"/>
              <a:gd name="T18" fmla="*/ 66 w 151"/>
              <a:gd name="T19" fmla="*/ 85 h 152"/>
              <a:gd name="T20" fmla="*/ 19 w 151"/>
              <a:gd name="T21" fmla="*/ 76 h 152"/>
              <a:gd name="T22" fmla="*/ 66 w 151"/>
              <a:gd name="T23" fmla="*/ 85 h 152"/>
              <a:gd name="T24" fmla="*/ 19 w 151"/>
              <a:gd name="T25" fmla="*/ 66 h 152"/>
              <a:gd name="T26" fmla="*/ 66 w 151"/>
              <a:gd name="T27" fmla="*/ 57 h 152"/>
              <a:gd name="T28" fmla="*/ 66 w 151"/>
              <a:gd name="T29" fmla="*/ 47 h 152"/>
              <a:gd name="T30" fmla="*/ 19 w 151"/>
              <a:gd name="T31" fmla="*/ 38 h 152"/>
              <a:gd name="T32" fmla="*/ 66 w 151"/>
              <a:gd name="T33" fmla="*/ 47 h 152"/>
              <a:gd name="T34" fmla="*/ 19 w 151"/>
              <a:gd name="T35" fmla="*/ 29 h 152"/>
              <a:gd name="T36" fmla="*/ 66 w 151"/>
              <a:gd name="T37" fmla="*/ 19 h 152"/>
              <a:gd name="T38" fmla="*/ 113 w 151"/>
              <a:gd name="T39" fmla="*/ 133 h 152"/>
              <a:gd name="T40" fmla="*/ 95 w 151"/>
              <a:gd name="T41" fmla="*/ 114 h 152"/>
              <a:gd name="T42" fmla="*/ 113 w 151"/>
              <a:gd name="T43" fmla="*/ 133 h 152"/>
              <a:gd name="T44" fmla="*/ 95 w 151"/>
              <a:gd name="T45" fmla="*/ 104 h 152"/>
              <a:gd name="T46" fmla="*/ 113 w 151"/>
              <a:gd name="T47" fmla="*/ 85 h 152"/>
              <a:gd name="T48" fmla="*/ 113 w 151"/>
              <a:gd name="T49" fmla="*/ 76 h 152"/>
              <a:gd name="T50" fmla="*/ 95 w 151"/>
              <a:gd name="T51" fmla="*/ 57 h 152"/>
              <a:gd name="T52" fmla="*/ 113 w 151"/>
              <a:gd name="T53" fmla="*/ 76 h 152"/>
              <a:gd name="T54" fmla="*/ 123 w 151"/>
              <a:gd name="T55" fmla="*/ 133 h 152"/>
              <a:gd name="T56" fmla="*/ 142 w 151"/>
              <a:gd name="T57" fmla="*/ 114 h 152"/>
              <a:gd name="T58" fmla="*/ 142 w 151"/>
              <a:gd name="T59" fmla="*/ 104 h 152"/>
              <a:gd name="T60" fmla="*/ 123 w 151"/>
              <a:gd name="T61" fmla="*/ 85 h 152"/>
              <a:gd name="T62" fmla="*/ 142 w 151"/>
              <a:gd name="T63" fmla="*/ 104 h 152"/>
              <a:gd name="T64" fmla="*/ 123 w 151"/>
              <a:gd name="T65" fmla="*/ 76 h 152"/>
              <a:gd name="T66" fmla="*/ 142 w 151"/>
              <a:gd name="T67" fmla="*/ 5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1" h="152">
                <a:moveTo>
                  <a:pt x="76" y="38"/>
                </a:moveTo>
                <a:lnTo>
                  <a:pt x="76" y="0"/>
                </a:lnTo>
                <a:lnTo>
                  <a:pt x="9" y="0"/>
                </a:lnTo>
                <a:lnTo>
                  <a:pt x="9" y="142"/>
                </a:lnTo>
                <a:lnTo>
                  <a:pt x="0" y="142"/>
                </a:lnTo>
                <a:lnTo>
                  <a:pt x="0" y="152"/>
                </a:lnTo>
                <a:lnTo>
                  <a:pt x="151" y="152"/>
                </a:lnTo>
                <a:lnTo>
                  <a:pt x="151" y="38"/>
                </a:lnTo>
                <a:lnTo>
                  <a:pt x="76" y="38"/>
                </a:lnTo>
                <a:close/>
                <a:moveTo>
                  <a:pt x="57" y="142"/>
                </a:moveTo>
                <a:lnTo>
                  <a:pt x="28" y="142"/>
                </a:lnTo>
                <a:lnTo>
                  <a:pt x="28" y="123"/>
                </a:lnTo>
                <a:lnTo>
                  <a:pt x="57" y="123"/>
                </a:lnTo>
                <a:lnTo>
                  <a:pt x="57" y="142"/>
                </a:lnTo>
                <a:close/>
                <a:moveTo>
                  <a:pt x="66" y="104"/>
                </a:moveTo>
                <a:lnTo>
                  <a:pt x="19" y="104"/>
                </a:lnTo>
                <a:lnTo>
                  <a:pt x="19" y="95"/>
                </a:lnTo>
                <a:lnTo>
                  <a:pt x="66" y="95"/>
                </a:lnTo>
                <a:lnTo>
                  <a:pt x="66" y="104"/>
                </a:lnTo>
                <a:close/>
                <a:moveTo>
                  <a:pt x="66" y="85"/>
                </a:moveTo>
                <a:lnTo>
                  <a:pt x="19" y="85"/>
                </a:lnTo>
                <a:lnTo>
                  <a:pt x="19" y="76"/>
                </a:lnTo>
                <a:lnTo>
                  <a:pt x="66" y="76"/>
                </a:lnTo>
                <a:lnTo>
                  <a:pt x="66" y="85"/>
                </a:lnTo>
                <a:close/>
                <a:moveTo>
                  <a:pt x="66" y="66"/>
                </a:moveTo>
                <a:lnTo>
                  <a:pt x="19" y="66"/>
                </a:lnTo>
                <a:lnTo>
                  <a:pt x="19" y="57"/>
                </a:lnTo>
                <a:lnTo>
                  <a:pt x="66" y="57"/>
                </a:lnTo>
                <a:lnTo>
                  <a:pt x="66" y="66"/>
                </a:lnTo>
                <a:close/>
                <a:moveTo>
                  <a:pt x="66" y="47"/>
                </a:moveTo>
                <a:lnTo>
                  <a:pt x="19" y="47"/>
                </a:lnTo>
                <a:lnTo>
                  <a:pt x="19" y="38"/>
                </a:lnTo>
                <a:lnTo>
                  <a:pt x="66" y="38"/>
                </a:lnTo>
                <a:lnTo>
                  <a:pt x="66" y="47"/>
                </a:lnTo>
                <a:close/>
                <a:moveTo>
                  <a:pt x="66" y="29"/>
                </a:moveTo>
                <a:lnTo>
                  <a:pt x="19" y="29"/>
                </a:lnTo>
                <a:lnTo>
                  <a:pt x="19" y="19"/>
                </a:lnTo>
                <a:lnTo>
                  <a:pt x="66" y="19"/>
                </a:lnTo>
                <a:lnTo>
                  <a:pt x="66" y="29"/>
                </a:lnTo>
                <a:close/>
                <a:moveTo>
                  <a:pt x="113" y="133"/>
                </a:moveTo>
                <a:lnTo>
                  <a:pt x="95" y="133"/>
                </a:lnTo>
                <a:lnTo>
                  <a:pt x="95" y="114"/>
                </a:lnTo>
                <a:lnTo>
                  <a:pt x="113" y="114"/>
                </a:lnTo>
                <a:lnTo>
                  <a:pt x="113" y="133"/>
                </a:lnTo>
                <a:close/>
                <a:moveTo>
                  <a:pt x="113" y="104"/>
                </a:moveTo>
                <a:lnTo>
                  <a:pt x="95" y="104"/>
                </a:lnTo>
                <a:lnTo>
                  <a:pt x="95" y="85"/>
                </a:lnTo>
                <a:lnTo>
                  <a:pt x="113" y="85"/>
                </a:lnTo>
                <a:lnTo>
                  <a:pt x="113" y="104"/>
                </a:lnTo>
                <a:close/>
                <a:moveTo>
                  <a:pt x="113" y="76"/>
                </a:moveTo>
                <a:lnTo>
                  <a:pt x="95" y="76"/>
                </a:lnTo>
                <a:lnTo>
                  <a:pt x="95" y="57"/>
                </a:lnTo>
                <a:lnTo>
                  <a:pt x="113" y="57"/>
                </a:lnTo>
                <a:lnTo>
                  <a:pt x="113" y="76"/>
                </a:lnTo>
                <a:close/>
                <a:moveTo>
                  <a:pt x="142" y="133"/>
                </a:moveTo>
                <a:lnTo>
                  <a:pt x="123" y="133"/>
                </a:lnTo>
                <a:lnTo>
                  <a:pt x="123" y="114"/>
                </a:lnTo>
                <a:lnTo>
                  <a:pt x="142" y="114"/>
                </a:lnTo>
                <a:lnTo>
                  <a:pt x="142" y="133"/>
                </a:lnTo>
                <a:close/>
                <a:moveTo>
                  <a:pt x="142" y="104"/>
                </a:moveTo>
                <a:lnTo>
                  <a:pt x="123" y="104"/>
                </a:lnTo>
                <a:lnTo>
                  <a:pt x="123" y="85"/>
                </a:lnTo>
                <a:lnTo>
                  <a:pt x="142" y="85"/>
                </a:lnTo>
                <a:lnTo>
                  <a:pt x="142" y="104"/>
                </a:lnTo>
                <a:close/>
                <a:moveTo>
                  <a:pt x="142" y="76"/>
                </a:moveTo>
                <a:lnTo>
                  <a:pt x="123" y="76"/>
                </a:lnTo>
                <a:lnTo>
                  <a:pt x="123" y="57"/>
                </a:lnTo>
                <a:lnTo>
                  <a:pt x="142" y="57"/>
                </a:lnTo>
                <a:lnTo>
                  <a:pt x="142" y="76"/>
                </a:lnTo>
                <a:close/>
              </a:path>
            </a:pathLst>
          </a:custGeom>
          <a:solidFill>
            <a:schemeClr val="accent2">
              <a:lumMod val="60000"/>
              <a:lumOff val="40000"/>
            </a:schemeClr>
          </a:solidFill>
          <a:ln>
            <a:noFill/>
          </a:ln>
        </p:spPr>
        <p:txBody>
          <a:bodyPr lIns="68580" tIns="34290" rIns="68580" bIns="34290"/>
          <a:lstStyle/>
          <a:p>
            <a:pPr eaLnBrk="1" fontAlgn="auto" hangingPunct="1">
              <a:spcBef>
                <a:spcPts val="0"/>
              </a:spcBef>
              <a:spcAft>
                <a:spcPts val="0"/>
              </a:spcAft>
              <a:defRPr/>
            </a:pPr>
            <a:endParaRPr lang="id-ID" sz="1350">
              <a:solidFill>
                <a:schemeClr val="bg2">
                  <a:lumMod val="10000"/>
                </a:schemeClr>
              </a:solidFill>
              <a:latin typeface="Open Sans" pitchFamily="34" charset="0"/>
              <a:ea typeface="Open Sans" pitchFamily="34" charset="0"/>
              <a:cs typeface="Open Sans" pitchFamily="34" charset="0"/>
            </a:endParaRPr>
          </a:p>
        </p:txBody>
      </p:sp>
      <p:grpSp>
        <p:nvGrpSpPr>
          <p:cNvPr id="105" name="Grup 104">
            <a:extLst>
              <a:ext uri="{FF2B5EF4-FFF2-40B4-BE49-F238E27FC236}">
                <a16:creationId xmlns:a16="http://schemas.microsoft.com/office/drawing/2014/main" id="{5630E5C2-2073-31A9-FB6E-5BEF688620B2}"/>
              </a:ext>
            </a:extLst>
          </p:cNvPr>
          <p:cNvGrpSpPr/>
          <p:nvPr/>
        </p:nvGrpSpPr>
        <p:grpSpPr>
          <a:xfrm flipH="1">
            <a:off x="6548947" y="3122089"/>
            <a:ext cx="178475" cy="172715"/>
            <a:chOff x="5680558" y="6103512"/>
            <a:chExt cx="307748" cy="289404"/>
          </a:xfrm>
          <a:solidFill>
            <a:schemeClr val="accent2">
              <a:lumMod val="60000"/>
              <a:lumOff val="40000"/>
            </a:schemeClr>
          </a:solidFill>
        </p:grpSpPr>
        <p:sp>
          <p:nvSpPr>
            <p:cNvPr id="106" name="Freeform 65">
              <a:extLst>
                <a:ext uri="{FF2B5EF4-FFF2-40B4-BE49-F238E27FC236}">
                  <a16:creationId xmlns:a16="http://schemas.microsoft.com/office/drawing/2014/main" id="{7E2BF14E-34A5-9A6E-CC47-2C7A3B045F84}"/>
                </a:ext>
              </a:extLst>
            </p:cNvPr>
            <p:cNvSpPr>
              <a:spLocks/>
            </p:cNvSpPr>
            <p:nvPr/>
          </p:nvSpPr>
          <p:spPr bwMode="auto">
            <a:xfrm>
              <a:off x="5680558" y="6103512"/>
              <a:ext cx="307748" cy="116170"/>
            </a:xfrm>
            <a:custGeom>
              <a:avLst/>
              <a:gdLst>
                <a:gd name="T0" fmla="*/ 59 w 64"/>
                <a:gd name="T1" fmla="*/ 8 h 24"/>
                <a:gd name="T2" fmla="*/ 32 w 64"/>
                <a:gd name="T3" fmla="*/ 0 h 24"/>
                <a:gd name="T4" fmla="*/ 5 w 64"/>
                <a:gd name="T5" fmla="*/ 8 h 24"/>
                <a:gd name="T6" fmla="*/ 0 w 64"/>
                <a:gd name="T7" fmla="*/ 16 h 24"/>
                <a:gd name="T8" fmla="*/ 0 w 64"/>
                <a:gd name="T9" fmla="*/ 20 h 24"/>
                <a:gd name="T10" fmla="*/ 4 w 64"/>
                <a:gd name="T11" fmla="*/ 24 h 24"/>
                <a:gd name="T12" fmla="*/ 12 w 64"/>
                <a:gd name="T13" fmla="*/ 24 h 24"/>
                <a:gd name="T14" fmla="*/ 16 w 64"/>
                <a:gd name="T15" fmla="*/ 20 h 24"/>
                <a:gd name="T16" fmla="*/ 18 w 64"/>
                <a:gd name="T17" fmla="*/ 13 h 24"/>
                <a:gd name="T18" fmla="*/ 32 w 64"/>
                <a:gd name="T19" fmla="*/ 8 h 24"/>
                <a:gd name="T20" fmla="*/ 46 w 64"/>
                <a:gd name="T21" fmla="*/ 13 h 24"/>
                <a:gd name="T22" fmla="*/ 48 w 64"/>
                <a:gd name="T23" fmla="*/ 20 h 24"/>
                <a:gd name="T24" fmla="*/ 52 w 64"/>
                <a:gd name="T25" fmla="*/ 24 h 24"/>
                <a:gd name="T26" fmla="*/ 60 w 64"/>
                <a:gd name="T27" fmla="*/ 24 h 24"/>
                <a:gd name="T28" fmla="*/ 64 w 64"/>
                <a:gd name="T29" fmla="*/ 20 h 24"/>
                <a:gd name="T30" fmla="*/ 64 w 64"/>
                <a:gd name="T31" fmla="*/ 16 h 24"/>
                <a:gd name="T32" fmla="*/ 59 w 64"/>
                <a:gd name="T33"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24">
                  <a:moveTo>
                    <a:pt x="59" y="8"/>
                  </a:moveTo>
                  <a:cubicBezTo>
                    <a:pt x="55" y="4"/>
                    <a:pt x="48" y="0"/>
                    <a:pt x="32" y="0"/>
                  </a:cubicBezTo>
                  <a:cubicBezTo>
                    <a:pt x="16" y="0"/>
                    <a:pt x="10" y="4"/>
                    <a:pt x="5" y="8"/>
                  </a:cubicBezTo>
                  <a:cubicBezTo>
                    <a:pt x="2" y="11"/>
                    <a:pt x="0" y="12"/>
                    <a:pt x="0" y="16"/>
                  </a:cubicBezTo>
                  <a:cubicBezTo>
                    <a:pt x="0" y="20"/>
                    <a:pt x="0" y="20"/>
                    <a:pt x="0" y="20"/>
                  </a:cubicBezTo>
                  <a:cubicBezTo>
                    <a:pt x="0" y="22"/>
                    <a:pt x="2" y="24"/>
                    <a:pt x="4" y="24"/>
                  </a:cubicBezTo>
                  <a:cubicBezTo>
                    <a:pt x="12" y="24"/>
                    <a:pt x="12" y="24"/>
                    <a:pt x="12" y="24"/>
                  </a:cubicBezTo>
                  <a:cubicBezTo>
                    <a:pt x="14" y="24"/>
                    <a:pt x="16" y="22"/>
                    <a:pt x="16" y="20"/>
                  </a:cubicBezTo>
                  <a:cubicBezTo>
                    <a:pt x="16" y="18"/>
                    <a:pt x="16" y="16"/>
                    <a:pt x="18" y="13"/>
                  </a:cubicBezTo>
                  <a:cubicBezTo>
                    <a:pt x="20" y="11"/>
                    <a:pt x="24" y="8"/>
                    <a:pt x="32" y="8"/>
                  </a:cubicBezTo>
                  <a:cubicBezTo>
                    <a:pt x="40" y="8"/>
                    <a:pt x="44" y="11"/>
                    <a:pt x="46" y="13"/>
                  </a:cubicBezTo>
                  <a:cubicBezTo>
                    <a:pt x="48" y="16"/>
                    <a:pt x="48" y="18"/>
                    <a:pt x="48" y="20"/>
                  </a:cubicBezTo>
                  <a:cubicBezTo>
                    <a:pt x="48" y="22"/>
                    <a:pt x="50" y="24"/>
                    <a:pt x="52" y="24"/>
                  </a:cubicBezTo>
                  <a:cubicBezTo>
                    <a:pt x="60" y="24"/>
                    <a:pt x="60" y="24"/>
                    <a:pt x="60" y="24"/>
                  </a:cubicBezTo>
                  <a:cubicBezTo>
                    <a:pt x="62" y="24"/>
                    <a:pt x="64" y="22"/>
                    <a:pt x="64" y="20"/>
                  </a:cubicBezTo>
                  <a:cubicBezTo>
                    <a:pt x="64" y="16"/>
                    <a:pt x="64" y="16"/>
                    <a:pt x="64" y="16"/>
                  </a:cubicBezTo>
                  <a:cubicBezTo>
                    <a:pt x="64" y="12"/>
                    <a:pt x="62" y="11"/>
                    <a:pt x="59" y="8"/>
                  </a:cubicBez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107" name="Oval 66">
              <a:extLst>
                <a:ext uri="{FF2B5EF4-FFF2-40B4-BE49-F238E27FC236}">
                  <a16:creationId xmlns:a16="http://schemas.microsoft.com/office/drawing/2014/main" id="{5B398A22-764C-886E-D036-B9AA194662C8}"/>
                </a:ext>
              </a:extLst>
            </p:cNvPr>
            <p:cNvSpPr>
              <a:spLocks noChangeArrowheads="1"/>
            </p:cNvSpPr>
            <p:nvPr/>
          </p:nvSpPr>
          <p:spPr bwMode="auto">
            <a:xfrm>
              <a:off x="5794689" y="6276747"/>
              <a:ext cx="77446" cy="77446"/>
            </a:xfrm>
            <a:prstGeom prst="ellipse">
              <a:avLst/>
            </a:pr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108" name="Freeform 67">
              <a:extLst>
                <a:ext uri="{FF2B5EF4-FFF2-40B4-BE49-F238E27FC236}">
                  <a16:creationId xmlns:a16="http://schemas.microsoft.com/office/drawing/2014/main" id="{96F89EA3-5EC5-F6DC-53B8-11DD74078CE3}"/>
                </a:ext>
              </a:extLst>
            </p:cNvPr>
            <p:cNvSpPr>
              <a:spLocks noEditPoints="1"/>
            </p:cNvSpPr>
            <p:nvPr/>
          </p:nvSpPr>
          <p:spPr bwMode="auto">
            <a:xfrm>
              <a:off x="5698900" y="6180958"/>
              <a:ext cx="271063" cy="211958"/>
            </a:xfrm>
            <a:custGeom>
              <a:avLst/>
              <a:gdLst>
                <a:gd name="T0" fmla="*/ 42 w 56"/>
                <a:gd name="T1" fmla="*/ 8 h 44"/>
                <a:gd name="T2" fmla="*/ 40 w 56"/>
                <a:gd name="T3" fmla="*/ 8 h 44"/>
                <a:gd name="T4" fmla="*/ 40 w 56"/>
                <a:gd name="T5" fmla="*/ 3 h 44"/>
                <a:gd name="T6" fmla="*/ 36 w 56"/>
                <a:gd name="T7" fmla="*/ 0 h 44"/>
                <a:gd name="T8" fmla="*/ 32 w 56"/>
                <a:gd name="T9" fmla="*/ 3 h 44"/>
                <a:gd name="T10" fmla="*/ 32 w 56"/>
                <a:gd name="T11" fmla="*/ 8 h 44"/>
                <a:gd name="T12" fmla="*/ 24 w 56"/>
                <a:gd name="T13" fmla="*/ 8 h 44"/>
                <a:gd name="T14" fmla="*/ 24 w 56"/>
                <a:gd name="T15" fmla="*/ 3 h 44"/>
                <a:gd name="T16" fmla="*/ 20 w 56"/>
                <a:gd name="T17" fmla="*/ 0 h 44"/>
                <a:gd name="T18" fmla="*/ 16 w 56"/>
                <a:gd name="T19" fmla="*/ 3 h 44"/>
                <a:gd name="T20" fmla="*/ 16 w 56"/>
                <a:gd name="T21" fmla="*/ 8 h 44"/>
                <a:gd name="T22" fmla="*/ 14 w 56"/>
                <a:gd name="T23" fmla="*/ 8 h 44"/>
                <a:gd name="T24" fmla="*/ 11 w 56"/>
                <a:gd name="T25" fmla="*/ 10 h 44"/>
                <a:gd name="T26" fmla="*/ 0 w 56"/>
                <a:gd name="T27" fmla="*/ 32 h 44"/>
                <a:gd name="T28" fmla="*/ 0 w 56"/>
                <a:gd name="T29" fmla="*/ 40 h 44"/>
                <a:gd name="T30" fmla="*/ 4 w 56"/>
                <a:gd name="T31" fmla="*/ 44 h 44"/>
                <a:gd name="T32" fmla="*/ 52 w 56"/>
                <a:gd name="T33" fmla="*/ 44 h 44"/>
                <a:gd name="T34" fmla="*/ 56 w 56"/>
                <a:gd name="T35" fmla="*/ 40 h 44"/>
                <a:gd name="T36" fmla="*/ 56 w 56"/>
                <a:gd name="T37" fmla="*/ 32 h 44"/>
                <a:gd name="T38" fmla="*/ 45 w 56"/>
                <a:gd name="T39" fmla="*/ 10 h 44"/>
                <a:gd name="T40" fmla="*/ 42 w 56"/>
                <a:gd name="T41" fmla="*/ 8 h 44"/>
                <a:gd name="T42" fmla="*/ 28 w 56"/>
                <a:gd name="T43" fmla="*/ 40 h 44"/>
                <a:gd name="T44" fmla="*/ 16 w 56"/>
                <a:gd name="T45" fmla="*/ 28 h 44"/>
                <a:gd name="T46" fmla="*/ 28 w 56"/>
                <a:gd name="T47" fmla="*/ 16 h 44"/>
                <a:gd name="T48" fmla="*/ 40 w 56"/>
                <a:gd name="T49" fmla="*/ 28 h 44"/>
                <a:gd name="T50" fmla="*/ 28 w 56"/>
                <a:gd name="T51"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6" h="44">
                  <a:moveTo>
                    <a:pt x="42" y="8"/>
                  </a:moveTo>
                  <a:cubicBezTo>
                    <a:pt x="40" y="8"/>
                    <a:pt x="40" y="8"/>
                    <a:pt x="40" y="8"/>
                  </a:cubicBezTo>
                  <a:cubicBezTo>
                    <a:pt x="40" y="3"/>
                    <a:pt x="40" y="3"/>
                    <a:pt x="40" y="3"/>
                  </a:cubicBezTo>
                  <a:cubicBezTo>
                    <a:pt x="40" y="1"/>
                    <a:pt x="38" y="0"/>
                    <a:pt x="36" y="0"/>
                  </a:cubicBezTo>
                  <a:cubicBezTo>
                    <a:pt x="34" y="0"/>
                    <a:pt x="32" y="1"/>
                    <a:pt x="32" y="3"/>
                  </a:cubicBezTo>
                  <a:cubicBezTo>
                    <a:pt x="32" y="8"/>
                    <a:pt x="32" y="8"/>
                    <a:pt x="32" y="8"/>
                  </a:cubicBezTo>
                  <a:cubicBezTo>
                    <a:pt x="24" y="8"/>
                    <a:pt x="24" y="8"/>
                    <a:pt x="24" y="8"/>
                  </a:cubicBezTo>
                  <a:cubicBezTo>
                    <a:pt x="24" y="3"/>
                    <a:pt x="24" y="3"/>
                    <a:pt x="24" y="3"/>
                  </a:cubicBezTo>
                  <a:cubicBezTo>
                    <a:pt x="24" y="1"/>
                    <a:pt x="22" y="0"/>
                    <a:pt x="20" y="0"/>
                  </a:cubicBezTo>
                  <a:cubicBezTo>
                    <a:pt x="18" y="0"/>
                    <a:pt x="16" y="1"/>
                    <a:pt x="16" y="3"/>
                  </a:cubicBezTo>
                  <a:cubicBezTo>
                    <a:pt x="16" y="8"/>
                    <a:pt x="16" y="8"/>
                    <a:pt x="16" y="8"/>
                  </a:cubicBezTo>
                  <a:cubicBezTo>
                    <a:pt x="14" y="8"/>
                    <a:pt x="14" y="8"/>
                    <a:pt x="14" y="8"/>
                  </a:cubicBezTo>
                  <a:cubicBezTo>
                    <a:pt x="13" y="8"/>
                    <a:pt x="12" y="9"/>
                    <a:pt x="11" y="10"/>
                  </a:cubicBezTo>
                  <a:cubicBezTo>
                    <a:pt x="8" y="14"/>
                    <a:pt x="0" y="27"/>
                    <a:pt x="0" y="32"/>
                  </a:cubicBezTo>
                  <a:cubicBezTo>
                    <a:pt x="0" y="40"/>
                    <a:pt x="0" y="40"/>
                    <a:pt x="0" y="40"/>
                  </a:cubicBezTo>
                  <a:cubicBezTo>
                    <a:pt x="0" y="42"/>
                    <a:pt x="2" y="44"/>
                    <a:pt x="4" y="44"/>
                  </a:cubicBezTo>
                  <a:cubicBezTo>
                    <a:pt x="52" y="44"/>
                    <a:pt x="52" y="44"/>
                    <a:pt x="52" y="44"/>
                  </a:cubicBezTo>
                  <a:cubicBezTo>
                    <a:pt x="54" y="44"/>
                    <a:pt x="56" y="42"/>
                    <a:pt x="56" y="40"/>
                  </a:cubicBezTo>
                  <a:cubicBezTo>
                    <a:pt x="56" y="37"/>
                    <a:pt x="56" y="32"/>
                    <a:pt x="56" y="32"/>
                  </a:cubicBezTo>
                  <a:cubicBezTo>
                    <a:pt x="56" y="25"/>
                    <a:pt x="48" y="14"/>
                    <a:pt x="45" y="10"/>
                  </a:cubicBezTo>
                  <a:cubicBezTo>
                    <a:pt x="44" y="9"/>
                    <a:pt x="43" y="8"/>
                    <a:pt x="42" y="8"/>
                  </a:cubicBezTo>
                  <a:close/>
                  <a:moveTo>
                    <a:pt x="28" y="40"/>
                  </a:moveTo>
                  <a:cubicBezTo>
                    <a:pt x="21" y="40"/>
                    <a:pt x="16" y="35"/>
                    <a:pt x="16" y="28"/>
                  </a:cubicBezTo>
                  <a:cubicBezTo>
                    <a:pt x="16" y="21"/>
                    <a:pt x="21" y="16"/>
                    <a:pt x="28" y="16"/>
                  </a:cubicBezTo>
                  <a:cubicBezTo>
                    <a:pt x="35" y="16"/>
                    <a:pt x="40" y="21"/>
                    <a:pt x="40" y="28"/>
                  </a:cubicBezTo>
                  <a:cubicBezTo>
                    <a:pt x="40" y="35"/>
                    <a:pt x="35" y="40"/>
                    <a:pt x="28" y="40"/>
                  </a:cubicBez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grpSp>
      <p:sp>
        <p:nvSpPr>
          <p:cNvPr id="42033" name="Dikdörtgen 108">
            <a:extLst>
              <a:ext uri="{FF2B5EF4-FFF2-40B4-BE49-F238E27FC236}">
                <a16:creationId xmlns:a16="http://schemas.microsoft.com/office/drawing/2014/main" id="{41BA11DF-1A2E-BAAE-1654-5DFBC9CC55C8}"/>
              </a:ext>
            </a:extLst>
          </p:cNvPr>
          <p:cNvSpPr>
            <a:spLocks noChangeArrowheads="1"/>
          </p:cNvSpPr>
          <p:nvPr/>
        </p:nvSpPr>
        <p:spPr bwMode="auto">
          <a:xfrm>
            <a:off x="6743700" y="2416175"/>
            <a:ext cx="36226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r>
              <a:rPr lang="nn-NO" altLang="tr-TR" sz="1000" dirty="0">
                <a:latin typeface="Open Sans" panose="020B0606030504020204" pitchFamily="34" charset="0"/>
                <a:cs typeface="Open Sans" panose="020B0606030504020204" pitchFamily="34" charset="0"/>
              </a:rPr>
              <a:t>Yenimahalle Mh,İstiklal Cd,Zehra Apt,No:14/4 </a:t>
            </a:r>
            <a:endParaRPr lang="tr-TR" altLang="tr-TR" sz="1000" dirty="0">
              <a:latin typeface="Open Sans" panose="020B0606030504020204" pitchFamily="34" charset="0"/>
              <a:cs typeface="Open Sans" panose="020B0606030504020204" pitchFamily="34" charset="0"/>
            </a:endParaRPr>
          </a:p>
          <a:p>
            <a:pPr eaLnBrk="1" hangingPunct="1">
              <a:lnSpc>
                <a:spcPct val="100000"/>
              </a:lnSpc>
              <a:spcBef>
                <a:spcPct val="0"/>
              </a:spcBef>
              <a:buFontTx/>
              <a:buNone/>
            </a:pPr>
            <a:r>
              <a:rPr lang="tr-TR" altLang="tr-TR" sz="1000" dirty="0">
                <a:latin typeface="Open Sans" panose="020B0606030504020204" pitchFamily="34" charset="0"/>
                <a:cs typeface="Open Sans" panose="020B0606030504020204" pitchFamily="34" charset="0"/>
              </a:rPr>
              <a:t>Atakum / Samsun</a:t>
            </a:r>
            <a:endParaRPr lang="tr-TR" altLang="tr-TR" sz="1000" dirty="0">
              <a:solidFill>
                <a:srgbClr val="181717"/>
              </a:solidFill>
              <a:latin typeface="Open Sans" panose="020B0606030504020204" pitchFamily="34" charset="0"/>
              <a:cs typeface="Open Sans" panose="020B0606030504020204" pitchFamily="34" charset="0"/>
            </a:endParaRPr>
          </a:p>
        </p:txBody>
      </p:sp>
      <p:sp>
        <p:nvSpPr>
          <p:cNvPr id="42034" name="Dikdörtgen 109">
            <a:extLst>
              <a:ext uri="{FF2B5EF4-FFF2-40B4-BE49-F238E27FC236}">
                <a16:creationId xmlns:a16="http://schemas.microsoft.com/office/drawing/2014/main" id="{484EA2FB-7656-658D-BD79-C9972F1A612D}"/>
              </a:ext>
            </a:extLst>
          </p:cNvPr>
          <p:cNvSpPr>
            <a:spLocks noChangeArrowheads="1"/>
          </p:cNvSpPr>
          <p:nvPr/>
        </p:nvSpPr>
        <p:spPr bwMode="auto">
          <a:xfrm>
            <a:off x="6781800" y="2089150"/>
            <a:ext cx="31654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r>
              <a:rPr lang="tr-TR" altLang="tr-TR" sz="1200" b="1" dirty="0">
                <a:solidFill>
                  <a:srgbClr val="AD119B"/>
                </a:solidFill>
                <a:latin typeface="Open Sans" panose="020B0606030504020204" pitchFamily="34" charset="0"/>
                <a:cs typeface="Open Sans" panose="020B0606030504020204" pitchFamily="34" charset="0"/>
              </a:rPr>
              <a:t>Samsun Karadeniz Bölge Müdürlüğü</a:t>
            </a:r>
            <a:endParaRPr lang="tr-TR" altLang="tr-TR" sz="1200" u="sng" dirty="0">
              <a:solidFill>
                <a:srgbClr val="AD119B"/>
              </a:solidFill>
              <a:latin typeface="Open Sans" panose="020B0606030504020204" pitchFamily="34" charset="0"/>
              <a:cs typeface="Open Sans" panose="020B0606030504020204" pitchFamily="34" charset="0"/>
            </a:endParaRPr>
          </a:p>
        </p:txBody>
      </p:sp>
      <p:grpSp>
        <p:nvGrpSpPr>
          <p:cNvPr id="42035" name="Grup 110">
            <a:extLst>
              <a:ext uri="{FF2B5EF4-FFF2-40B4-BE49-F238E27FC236}">
                <a16:creationId xmlns:a16="http://schemas.microsoft.com/office/drawing/2014/main" id="{4F9D58AB-6027-D964-31D9-745A20800CBE}"/>
              </a:ext>
            </a:extLst>
          </p:cNvPr>
          <p:cNvGrpSpPr>
            <a:grpSpLocks/>
          </p:cNvGrpSpPr>
          <p:nvPr/>
        </p:nvGrpSpPr>
        <p:grpSpPr bwMode="auto">
          <a:xfrm>
            <a:off x="6889750" y="2335213"/>
            <a:ext cx="584200" cy="26987"/>
            <a:chOff x="2155275" y="960249"/>
            <a:chExt cx="584814" cy="26989"/>
          </a:xfrm>
        </p:grpSpPr>
        <p:cxnSp>
          <p:nvCxnSpPr>
            <p:cNvPr id="112" name="Straight Connector 6">
              <a:extLst>
                <a:ext uri="{FF2B5EF4-FFF2-40B4-BE49-F238E27FC236}">
                  <a16:creationId xmlns:a16="http://schemas.microsoft.com/office/drawing/2014/main" id="{BF0528A2-CBE4-608D-2C2A-7030D5C45C1D}"/>
                </a:ext>
              </a:extLst>
            </p:cNvPr>
            <p:cNvCxnSpPr/>
            <p:nvPr/>
          </p:nvCxnSpPr>
          <p:spPr>
            <a:xfrm flipV="1">
              <a:off x="2155275" y="969775"/>
              <a:ext cx="495821" cy="1587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3" name="Rectangle 7">
              <a:extLst>
                <a:ext uri="{FF2B5EF4-FFF2-40B4-BE49-F238E27FC236}">
                  <a16:creationId xmlns:a16="http://schemas.microsoft.com/office/drawing/2014/main" id="{C62A9C19-3A29-9800-7EB5-A227C6473FFB}"/>
                </a:ext>
              </a:extLst>
            </p:cNvPr>
            <p:cNvSpPr/>
            <p:nvPr/>
          </p:nvSpPr>
          <p:spPr>
            <a:xfrm>
              <a:off x="2318960" y="960249"/>
              <a:ext cx="421129" cy="269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
        <p:nvSpPr>
          <p:cNvPr id="114" name="TextBox 14">
            <a:extLst>
              <a:ext uri="{FF2B5EF4-FFF2-40B4-BE49-F238E27FC236}">
                <a16:creationId xmlns:a16="http://schemas.microsoft.com/office/drawing/2014/main" id="{F4E9AB5C-DBFF-104F-10C3-0118D3DD16E1}"/>
              </a:ext>
            </a:extLst>
          </p:cNvPr>
          <p:cNvSpPr txBox="1"/>
          <p:nvPr/>
        </p:nvSpPr>
        <p:spPr>
          <a:xfrm>
            <a:off x="6743700" y="4305300"/>
            <a:ext cx="2801938" cy="246063"/>
          </a:xfrm>
          <a:prstGeom prst="rect">
            <a:avLst/>
          </a:prstGeom>
          <a:noFill/>
        </p:spPr>
        <p:txBody>
          <a:bodyPr>
            <a:spAutoFit/>
          </a:bodyPr>
          <a:lstStyle/>
          <a:p>
            <a:pPr eaLnBrk="1" fontAlgn="auto" hangingPunct="1">
              <a:spcBef>
                <a:spcPts val="0"/>
              </a:spcBef>
              <a:spcAft>
                <a:spcPts val="0"/>
              </a:spcAft>
              <a:defRPr/>
            </a:pPr>
            <a:r>
              <a:rPr lang="tr-TR" sz="1000" dirty="0">
                <a:solidFill>
                  <a:schemeClr val="bg2">
                    <a:lumMod val="10000"/>
                  </a:schemeClr>
                </a:solidFill>
                <a:latin typeface="Open Sans" pitchFamily="34" charset="0"/>
                <a:ea typeface="Open Sans" pitchFamily="34" charset="0"/>
                <a:cs typeface="Open Sans" pitchFamily="34" charset="0"/>
              </a:rPr>
              <a:t>vizyon@vizyongd.com</a:t>
            </a:r>
            <a:endParaRPr lang="id-ID" sz="1000" dirty="0">
              <a:solidFill>
                <a:schemeClr val="bg2">
                  <a:lumMod val="10000"/>
                </a:schemeClr>
              </a:solidFill>
              <a:latin typeface="Open Sans" pitchFamily="34" charset="0"/>
              <a:ea typeface="Open Sans" pitchFamily="34" charset="0"/>
              <a:cs typeface="Open Sans" pitchFamily="34" charset="0"/>
            </a:endParaRPr>
          </a:p>
        </p:txBody>
      </p:sp>
      <p:sp>
        <p:nvSpPr>
          <p:cNvPr id="115" name="TextBox 15">
            <a:extLst>
              <a:ext uri="{FF2B5EF4-FFF2-40B4-BE49-F238E27FC236}">
                <a16:creationId xmlns:a16="http://schemas.microsoft.com/office/drawing/2014/main" id="{BB43F15A-9F67-4D35-A431-77024538D5EB}"/>
              </a:ext>
            </a:extLst>
          </p:cNvPr>
          <p:cNvSpPr txBox="1"/>
          <p:nvPr/>
        </p:nvSpPr>
        <p:spPr>
          <a:xfrm>
            <a:off x="6734175" y="4597400"/>
            <a:ext cx="2811463" cy="246063"/>
          </a:xfrm>
          <a:prstGeom prst="rect">
            <a:avLst/>
          </a:prstGeom>
          <a:noFill/>
        </p:spPr>
        <p:txBody>
          <a:bodyPr>
            <a:spAutoFit/>
          </a:bodyPr>
          <a:lstStyle/>
          <a:p>
            <a:pPr eaLnBrk="1" fontAlgn="auto" hangingPunct="1">
              <a:spcBef>
                <a:spcPts val="0"/>
              </a:spcBef>
              <a:spcAft>
                <a:spcPts val="0"/>
              </a:spcAft>
              <a:defRPr/>
            </a:pPr>
            <a:r>
              <a:rPr lang="tr-TR" sz="1000" b="0" i="0" dirty="0">
                <a:solidFill>
                  <a:srgbClr val="383838"/>
                </a:solidFill>
                <a:effectLst/>
                <a:latin typeface="Arial" panose="020B0604020202020204" pitchFamily="34" charset="0"/>
              </a:rPr>
              <a:t>0 536 208 94 56</a:t>
            </a:r>
            <a:endParaRPr lang="id-ID" sz="1000" dirty="0">
              <a:solidFill>
                <a:schemeClr val="bg2">
                  <a:lumMod val="10000"/>
                </a:schemeClr>
              </a:solidFill>
              <a:latin typeface="Open Sans" pitchFamily="34" charset="0"/>
              <a:ea typeface="Open Sans" pitchFamily="34" charset="0"/>
              <a:cs typeface="Open Sans" pitchFamily="34" charset="0"/>
            </a:endParaRPr>
          </a:p>
        </p:txBody>
      </p:sp>
      <p:grpSp>
        <p:nvGrpSpPr>
          <p:cNvPr id="116" name="Grup 115">
            <a:extLst>
              <a:ext uri="{FF2B5EF4-FFF2-40B4-BE49-F238E27FC236}">
                <a16:creationId xmlns:a16="http://schemas.microsoft.com/office/drawing/2014/main" id="{3385C550-3BFA-F41F-8482-9267BB90978C}"/>
              </a:ext>
            </a:extLst>
          </p:cNvPr>
          <p:cNvGrpSpPr/>
          <p:nvPr/>
        </p:nvGrpSpPr>
        <p:grpSpPr>
          <a:xfrm flipH="1">
            <a:off x="6542105" y="4363530"/>
            <a:ext cx="198435" cy="128471"/>
            <a:chOff x="5682010" y="5792554"/>
            <a:chExt cx="304839" cy="191785"/>
          </a:xfrm>
          <a:solidFill>
            <a:schemeClr val="accent2">
              <a:lumMod val="60000"/>
              <a:lumOff val="40000"/>
            </a:schemeClr>
          </a:solidFill>
        </p:grpSpPr>
        <p:sp>
          <p:nvSpPr>
            <p:cNvPr id="117" name="Freeform 108">
              <a:extLst>
                <a:ext uri="{FF2B5EF4-FFF2-40B4-BE49-F238E27FC236}">
                  <a16:creationId xmlns:a16="http://schemas.microsoft.com/office/drawing/2014/main" id="{DC535C0E-924C-734E-9DE6-B6C289F8E561}"/>
                </a:ext>
              </a:extLst>
            </p:cNvPr>
            <p:cNvSpPr>
              <a:spLocks/>
            </p:cNvSpPr>
            <p:nvPr/>
          </p:nvSpPr>
          <p:spPr bwMode="auto">
            <a:xfrm>
              <a:off x="5700184" y="5792554"/>
              <a:ext cx="272538" cy="121128"/>
            </a:xfrm>
            <a:custGeom>
              <a:avLst/>
              <a:gdLst>
                <a:gd name="T0" fmla="*/ 135 w 135"/>
                <a:gd name="T1" fmla="*/ 0 h 60"/>
                <a:gd name="T2" fmla="*/ 132 w 135"/>
                <a:gd name="T3" fmla="*/ 0 h 60"/>
                <a:gd name="T4" fmla="*/ 0 w 135"/>
                <a:gd name="T5" fmla="*/ 0 h 60"/>
                <a:gd name="T6" fmla="*/ 0 w 135"/>
                <a:gd name="T7" fmla="*/ 0 h 60"/>
                <a:gd name="T8" fmla="*/ 66 w 135"/>
                <a:gd name="T9" fmla="*/ 60 h 60"/>
                <a:gd name="T10" fmla="*/ 135 w 135"/>
                <a:gd name="T11" fmla="*/ 0 h 60"/>
              </a:gdLst>
              <a:ahLst/>
              <a:cxnLst>
                <a:cxn ang="0">
                  <a:pos x="T0" y="T1"/>
                </a:cxn>
                <a:cxn ang="0">
                  <a:pos x="T2" y="T3"/>
                </a:cxn>
                <a:cxn ang="0">
                  <a:pos x="T4" y="T5"/>
                </a:cxn>
                <a:cxn ang="0">
                  <a:pos x="T6" y="T7"/>
                </a:cxn>
                <a:cxn ang="0">
                  <a:pos x="T8" y="T9"/>
                </a:cxn>
                <a:cxn ang="0">
                  <a:pos x="T10" y="T11"/>
                </a:cxn>
              </a:cxnLst>
              <a:rect l="0" t="0" r="r" b="b"/>
              <a:pathLst>
                <a:path w="135" h="60">
                  <a:moveTo>
                    <a:pt x="135" y="0"/>
                  </a:moveTo>
                  <a:lnTo>
                    <a:pt x="132" y="0"/>
                  </a:lnTo>
                  <a:lnTo>
                    <a:pt x="0" y="0"/>
                  </a:lnTo>
                  <a:lnTo>
                    <a:pt x="0" y="0"/>
                  </a:lnTo>
                  <a:lnTo>
                    <a:pt x="66" y="60"/>
                  </a:lnTo>
                  <a:lnTo>
                    <a:pt x="135" y="0"/>
                  </a:ln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118" name="Freeform 109">
              <a:extLst>
                <a:ext uri="{FF2B5EF4-FFF2-40B4-BE49-F238E27FC236}">
                  <a16:creationId xmlns:a16="http://schemas.microsoft.com/office/drawing/2014/main" id="{4E5A50ED-BF39-A56D-D128-609A81080DFC}"/>
                </a:ext>
              </a:extLst>
            </p:cNvPr>
            <p:cNvSpPr>
              <a:spLocks/>
            </p:cNvSpPr>
            <p:nvPr/>
          </p:nvSpPr>
          <p:spPr bwMode="auto">
            <a:xfrm>
              <a:off x="5891965" y="5808704"/>
              <a:ext cx="94884" cy="165541"/>
            </a:xfrm>
            <a:custGeom>
              <a:avLst/>
              <a:gdLst>
                <a:gd name="T0" fmla="*/ 20 w 20"/>
                <a:gd name="T1" fmla="*/ 0 h 35"/>
                <a:gd name="T2" fmla="*/ 0 w 20"/>
                <a:gd name="T3" fmla="*/ 17 h 35"/>
                <a:gd name="T4" fmla="*/ 19 w 20"/>
                <a:gd name="T5" fmla="*/ 35 h 35"/>
                <a:gd name="T6" fmla="*/ 20 w 20"/>
                <a:gd name="T7" fmla="*/ 33 h 35"/>
                <a:gd name="T8" fmla="*/ 20 w 20"/>
                <a:gd name="T9" fmla="*/ 1 h 35"/>
                <a:gd name="T10" fmla="*/ 20 w 20"/>
                <a:gd name="T11" fmla="*/ 0 h 35"/>
              </a:gdLst>
              <a:ahLst/>
              <a:cxnLst>
                <a:cxn ang="0">
                  <a:pos x="T0" y="T1"/>
                </a:cxn>
                <a:cxn ang="0">
                  <a:pos x="T2" y="T3"/>
                </a:cxn>
                <a:cxn ang="0">
                  <a:pos x="T4" y="T5"/>
                </a:cxn>
                <a:cxn ang="0">
                  <a:pos x="T6" y="T7"/>
                </a:cxn>
                <a:cxn ang="0">
                  <a:pos x="T8" y="T9"/>
                </a:cxn>
                <a:cxn ang="0">
                  <a:pos x="T10" y="T11"/>
                </a:cxn>
              </a:cxnLst>
              <a:rect l="0" t="0" r="r" b="b"/>
              <a:pathLst>
                <a:path w="20" h="35">
                  <a:moveTo>
                    <a:pt x="20" y="0"/>
                  </a:moveTo>
                  <a:cubicBezTo>
                    <a:pt x="0" y="17"/>
                    <a:pt x="0" y="17"/>
                    <a:pt x="0" y="17"/>
                  </a:cubicBezTo>
                  <a:cubicBezTo>
                    <a:pt x="19" y="35"/>
                    <a:pt x="19" y="35"/>
                    <a:pt x="19" y="35"/>
                  </a:cubicBezTo>
                  <a:cubicBezTo>
                    <a:pt x="20" y="34"/>
                    <a:pt x="20" y="34"/>
                    <a:pt x="20" y="33"/>
                  </a:cubicBezTo>
                  <a:cubicBezTo>
                    <a:pt x="20" y="1"/>
                    <a:pt x="20" y="1"/>
                    <a:pt x="20" y="1"/>
                  </a:cubicBezTo>
                  <a:cubicBezTo>
                    <a:pt x="20" y="1"/>
                    <a:pt x="20" y="0"/>
                    <a:pt x="20" y="0"/>
                  </a:cubicBez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119" name="Freeform 110">
              <a:extLst>
                <a:ext uri="{FF2B5EF4-FFF2-40B4-BE49-F238E27FC236}">
                  <a16:creationId xmlns:a16="http://schemas.microsoft.com/office/drawing/2014/main" id="{59F0A1B7-C3C0-F003-F4A8-B8D6857315AF}"/>
                </a:ext>
              </a:extLst>
            </p:cNvPr>
            <p:cNvSpPr>
              <a:spLocks/>
            </p:cNvSpPr>
            <p:nvPr/>
          </p:nvSpPr>
          <p:spPr bwMode="auto">
            <a:xfrm>
              <a:off x="5682010" y="5802647"/>
              <a:ext cx="94884" cy="171598"/>
            </a:xfrm>
            <a:custGeom>
              <a:avLst/>
              <a:gdLst>
                <a:gd name="T0" fmla="*/ 0 w 20"/>
                <a:gd name="T1" fmla="*/ 0 h 36"/>
                <a:gd name="T2" fmla="*/ 0 w 20"/>
                <a:gd name="T3" fmla="*/ 2 h 36"/>
                <a:gd name="T4" fmla="*/ 0 w 20"/>
                <a:gd name="T5" fmla="*/ 34 h 36"/>
                <a:gd name="T6" fmla="*/ 0 w 20"/>
                <a:gd name="T7" fmla="*/ 36 h 36"/>
                <a:gd name="T8" fmla="*/ 20 w 20"/>
                <a:gd name="T9" fmla="*/ 18 h 36"/>
                <a:gd name="T10" fmla="*/ 0 w 20"/>
                <a:gd name="T11" fmla="*/ 0 h 36"/>
              </a:gdLst>
              <a:ahLst/>
              <a:cxnLst>
                <a:cxn ang="0">
                  <a:pos x="T0" y="T1"/>
                </a:cxn>
                <a:cxn ang="0">
                  <a:pos x="T2" y="T3"/>
                </a:cxn>
                <a:cxn ang="0">
                  <a:pos x="T4" y="T5"/>
                </a:cxn>
                <a:cxn ang="0">
                  <a:pos x="T6" y="T7"/>
                </a:cxn>
                <a:cxn ang="0">
                  <a:pos x="T8" y="T9"/>
                </a:cxn>
                <a:cxn ang="0">
                  <a:pos x="T10" y="T11"/>
                </a:cxn>
              </a:cxnLst>
              <a:rect l="0" t="0" r="r" b="b"/>
              <a:pathLst>
                <a:path w="20" h="36">
                  <a:moveTo>
                    <a:pt x="0" y="0"/>
                  </a:moveTo>
                  <a:cubicBezTo>
                    <a:pt x="0" y="1"/>
                    <a:pt x="0" y="1"/>
                    <a:pt x="0" y="2"/>
                  </a:cubicBezTo>
                  <a:cubicBezTo>
                    <a:pt x="0" y="34"/>
                    <a:pt x="0" y="34"/>
                    <a:pt x="0" y="34"/>
                  </a:cubicBezTo>
                  <a:cubicBezTo>
                    <a:pt x="0" y="35"/>
                    <a:pt x="0" y="35"/>
                    <a:pt x="0" y="36"/>
                  </a:cubicBezTo>
                  <a:cubicBezTo>
                    <a:pt x="20" y="18"/>
                    <a:pt x="20" y="18"/>
                    <a:pt x="20" y="18"/>
                  </a:cubicBezTo>
                  <a:lnTo>
                    <a:pt x="0" y="0"/>
                  </a:ln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120" name="Freeform 111">
              <a:extLst>
                <a:ext uri="{FF2B5EF4-FFF2-40B4-BE49-F238E27FC236}">
                  <a16:creationId xmlns:a16="http://schemas.microsoft.com/office/drawing/2014/main" id="{E4286BCF-B6D1-69C3-9929-3A8BEA57A51E}"/>
                </a:ext>
              </a:extLst>
            </p:cNvPr>
            <p:cNvSpPr>
              <a:spLocks/>
            </p:cNvSpPr>
            <p:nvPr/>
          </p:nvSpPr>
          <p:spPr bwMode="auto">
            <a:xfrm>
              <a:off x="5700179" y="5903587"/>
              <a:ext cx="266481" cy="80752"/>
            </a:xfrm>
            <a:custGeom>
              <a:avLst/>
              <a:gdLst>
                <a:gd name="T0" fmla="*/ 66 w 132"/>
                <a:gd name="T1" fmla="*/ 19 h 40"/>
                <a:gd name="T2" fmla="*/ 45 w 132"/>
                <a:gd name="T3" fmla="*/ 0 h 40"/>
                <a:gd name="T4" fmla="*/ 0 w 132"/>
                <a:gd name="T5" fmla="*/ 40 h 40"/>
                <a:gd name="T6" fmla="*/ 0 w 132"/>
                <a:gd name="T7" fmla="*/ 40 h 40"/>
                <a:gd name="T8" fmla="*/ 132 w 132"/>
                <a:gd name="T9" fmla="*/ 40 h 40"/>
                <a:gd name="T10" fmla="*/ 88 w 132"/>
                <a:gd name="T11" fmla="*/ 0 h 40"/>
                <a:gd name="T12" fmla="*/ 66 w 132"/>
                <a:gd name="T13" fmla="*/ 19 h 40"/>
              </a:gdLst>
              <a:ahLst/>
              <a:cxnLst>
                <a:cxn ang="0">
                  <a:pos x="T0" y="T1"/>
                </a:cxn>
                <a:cxn ang="0">
                  <a:pos x="T2" y="T3"/>
                </a:cxn>
                <a:cxn ang="0">
                  <a:pos x="T4" y="T5"/>
                </a:cxn>
                <a:cxn ang="0">
                  <a:pos x="T6" y="T7"/>
                </a:cxn>
                <a:cxn ang="0">
                  <a:pos x="T8" y="T9"/>
                </a:cxn>
                <a:cxn ang="0">
                  <a:pos x="T10" y="T11"/>
                </a:cxn>
                <a:cxn ang="0">
                  <a:pos x="T12" y="T13"/>
                </a:cxn>
              </a:cxnLst>
              <a:rect l="0" t="0" r="r" b="b"/>
              <a:pathLst>
                <a:path w="132" h="40">
                  <a:moveTo>
                    <a:pt x="66" y="19"/>
                  </a:moveTo>
                  <a:lnTo>
                    <a:pt x="45" y="0"/>
                  </a:lnTo>
                  <a:lnTo>
                    <a:pt x="0" y="40"/>
                  </a:lnTo>
                  <a:lnTo>
                    <a:pt x="0" y="40"/>
                  </a:lnTo>
                  <a:lnTo>
                    <a:pt x="132" y="40"/>
                  </a:lnTo>
                  <a:lnTo>
                    <a:pt x="88" y="0"/>
                  </a:lnTo>
                  <a:lnTo>
                    <a:pt x="66" y="19"/>
                  </a:ln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grpSp>
      <p:sp>
        <p:nvSpPr>
          <p:cNvPr id="121" name="Freeform 165">
            <a:extLst>
              <a:ext uri="{FF2B5EF4-FFF2-40B4-BE49-F238E27FC236}">
                <a16:creationId xmlns:a16="http://schemas.microsoft.com/office/drawing/2014/main" id="{D3DB0396-61CF-CEE7-D419-078373368342}"/>
              </a:ext>
            </a:extLst>
          </p:cNvPr>
          <p:cNvSpPr>
            <a:spLocks noEditPoints="1"/>
          </p:cNvSpPr>
          <p:nvPr/>
        </p:nvSpPr>
        <p:spPr bwMode="auto">
          <a:xfrm flipH="1">
            <a:off x="6551613" y="4011613"/>
            <a:ext cx="190500" cy="196850"/>
          </a:xfrm>
          <a:custGeom>
            <a:avLst/>
            <a:gdLst>
              <a:gd name="T0" fmla="*/ 76 w 151"/>
              <a:gd name="T1" fmla="*/ 0 h 152"/>
              <a:gd name="T2" fmla="*/ 9 w 151"/>
              <a:gd name="T3" fmla="*/ 142 h 152"/>
              <a:gd name="T4" fmla="*/ 0 w 151"/>
              <a:gd name="T5" fmla="*/ 152 h 152"/>
              <a:gd name="T6" fmla="*/ 151 w 151"/>
              <a:gd name="T7" fmla="*/ 38 h 152"/>
              <a:gd name="T8" fmla="*/ 57 w 151"/>
              <a:gd name="T9" fmla="*/ 142 h 152"/>
              <a:gd name="T10" fmla="*/ 28 w 151"/>
              <a:gd name="T11" fmla="*/ 123 h 152"/>
              <a:gd name="T12" fmla="*/ 57 w 151"/>
              <a:gd name="T13" fmla="*/ 142 h 152"/>
              <a:gd name="T14" fmla="*/ 19 w 151"/>
              <a:gd name="T15" fmla="*/ 104 h 152"/>
              <a:gd name="T16" fmla="*/ 66 w 151"/>
              <a:gd name="T17" fmla="*/ 95 h 152"/>
              <a:gd name="T18" fmla="*/ 66 w 151"/>
              <a:gd name="T19" fmla="*/ 85 h 152"/>
              <a:gd name="T20" fmla="*/ 19 w 151"/>
              <a:gd name="T21" fmla="*/ 76 h 152"/>
              <a:gd name="T22" fmla="*/ 66 w 151"/>
              <a:gd name="T23" fmla="*/ 85 h 152"/>
              <a:gd name="T24" fmla="*/ 19 w 151"/>
              <a:gd name="T25" fmla="*/ 66 h 152"/>
              <a:gd name="T26" fmla="*/ 66 w 151"/>
              <a:gd name="T27" fmla="*/ 57 h 152"/>
              <a:gd name="T28" fmla="*/ 66 w 151"/>
              <a:gd name="T29" fmla="*/ 47 h 152"/>
              <a:gd name="T30" fmla="*/ 19 w 151"/>
              <a:gd name="T31" fmla="*/ 38 h 152"/>
              <a:gd name="T32" fmla="*/ 66 w 151"/>
              <a:gd name="T33" fmla="*/ 47 h 152"/>
              <a:gd name="T34" fmla="*/ 19 w 151"/>
              <a:gd name="T35" fmla="*/ 29 h 152"/>
              <a:gd name="T36" fmla="*/ 66 w 151"/>
              <a:gd name="T37" fmla="*/ 19 h 152"/>
              <a:gd name="T38" fmla="*/ 113 w 151"/>
              <a:gd name="T39" fmla="*/ 133 h 152"/>
              <a:gd name="T40" fmla="*/ 95 w 151"/>
              <a:gd name="T41" fmla="*/ 114 h 152"/>
              <a:gd name="T42" fmla="*/ 113 w 151"/>
              <a:gd name="T43" fmla="*/ 133 h 152"/>
              <a:gd name="T44" fmla="*/ 95 w 151"/>
              <a:gd name="T45" fmla="*/ 104 h 152"/>
              <a:gd name="T46" fmla="*/ 113 w 151"/>
              <a:gd name="T47" fmla="*/ 85 h 152"/>
              <a:gd name="T48" fmla="*/ 113 w 151"/>
              <a:gd name="T49" fmla="*/ 76 h 152"/>
              <a:gd name="T50" fmla="*/ 95 w 151"/>
              <a:gd name="T51" fmla="*/ 57 h 152"/>
              <a:gd name="T52" fmla="*/ 113 w 151"/>
              <a:gd name="T53" fmla="*/ 76 h 152"/>
              <a:gd name="T54" fmla="*/ 123 w 151"/>
              <a:gd name="T55" fmla="*/ 133 h 152"/>
              <a:gd name="T56" fmla="*/ 142 w 151"/>
              <a:gd name="T57" fmla="*/ 114 h 152"/>
              <a:gd name="T58" fmla="*/ 142 w 151"/>
              <a:gd name="T59" fmla="*/ 104 h 152"/>
              <a:gd name="T60" fmla="*/ 123 w 151"/>
              <a:gd name="T61" fmla="*/ 85 h 152"/>
              <a:gd name="T62" fmla="*/ 142 w 151"/>
              <a:gd name="T63" fmla="*/ 104 h 152"/>
              <a:gd name="T64" fmla="*/ 123 w 151"/>
              <a:gd name="T65" fmla="*/ 76 h 152"/>
              <a:gd name="T66" fmla="*/ 142 w 151"/>
              <a:gd name="T67" fmla="*/ 5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1" h="152">
                <a:moveTo>
                  <a:pt x="76" y="38"/>
                </a:moveTo>
                <a:lnTo>
                  <a:pt x="76" y="0"/>
                </a:lnTo>
                <a:lnTo>
                  <a:pt x="9" y="0"/>
                </a:lnTo>
                <a:lnTo>
                  <a:pt x="9" y="142"/>
                </a:lnTo>
                <a:lnTo>
                  <a:pt x="0" y="142"/>
                </a:lnTo>
                <a:lnTo>
                  <a:pt x="0" y="152"/>
                </a:lnTo>
                <a:lnTo>
                  <a:pt x="151" y="152"/>
                </a:lnTo>
                <a:lnTo>
                  <a:pt x="151" y="38"/>
                </a:lnTo>
                <a:lnTo>
                  <a:pt x="76" y="38"/>
                </a:lnTo>
                <a:close/>
                <a:moveTo>
                  <a:pt x="57" y="142"/>
                </a:moveTo>
                <a:lnTo>
                  <a:pt x="28" y="142"/>
                </a:lnTo>
                <a:lnTo>
                  <a:pt x="28" y="123"/>
                </a:lnTo>
                <a:lnTo>
                  <a:pt x="57" y="123"/>
                </a:lnTo>
                <a:lnTo>
                  <a:pt x="57" y="142"/>
                </a:lnTo>
                <a:close/>
                <a:moveTo>
                  <a:pt x="66" y="104"/>
                </a:moveTo>
                <a:lnTo>
                  <a:pt x="19" y="104"/>
                </a:lnTo>
                <a:lnTo>
                  <a:pt x="19" y="95"/>
                </a:lnTo>
                <a:lnTo>
                  <a:pt x="66" y="95"/>
                </a:lnTo>
                <a:lnTo>
                  <a:pt x="66" y="104"/>
                </a:lnTo>
                <a:close/>
                <a:moveTo>
                  <a:pt x="66" y="85"/>
                </a:moveTo>
                <a:lnTo>
                  <a:pt x="19" y="85"/>
                </a:lnTo>
                <a:lnTo>
                  <a:pt x="19" y="76"/>
                </a:lnTo>
                <a:lnTo>
                  <a:pt x="66" y="76"/>
                </a:lnTo>
                <a:lnTo>
                  <a:pt x="66" y="85"/>
                </a:lnTo>
                <a:close/>
                <a:moveTo>
                  <a:pt x="66" y="66"/>
                </a:moveTo>
                <a:lnTo>
                  <a:pt x="19" y="66"/>
                </a:lnTo>
                <a:lnTo>
                  <a:pt x="19" y="57"/>
                </a:lnTo>
                <a:lnTo>
                  <a:pt x="66" y="57"/>
                </a:lnTo>
                <a:lnTo>
                  <a:pt x="66" y="66"/>
                </a:lnTo>
                <a:close/>
                <a:moveTo>
                  <a:pt x="66" y="47"/>
                </a:moveTo>
                <a:lnTo>
                  <a:pt x="19" y="47"/>
                </a:lnTo>
                <a:lnTo>
                  <a:pt x="19" y="38"/>
                </a:lnTo>
                <a:lnTo>
                  <a:pt x="66" y="38"/>
                </a:lnTo>
                <a:lnTo>
                  <a:pt x="66" y="47"/>
                </a:lnTo>
                <a:close/>
                <a:moveTo>
                  <a:pt x="66" y="29"/>
                </a:moveTo>
                <a:lnTo>
                  <a:pt x="19" y="29"/>
                </a:lnTo>
                <a:lnTo>
                  <a:pt x="19" y="19"/>
                </a:lnTo>
                <a:lnTo>
                  <a:pt x="66" y="19"/>
                </a:lnTo>
                <a:lnTo>
                  <a:pt x="66" y="29"/>
                </a:lnTo>
                <a:close/>
                <a:moveTo>
                  <a:pt x="113" y="133"/>
                </a:moveTo>
                <a:lnTo>
                  <a:pt x="95" y="133"/>
                </a:lnTo>
                <a:lnTo>
                  <a:pt x="95" y="114"/>
                </a:lnTo>
                <a:lnTo>
                  <a:pt x="113" y="114"/>
                </a:lnTo>
                <a:lnTo>
                  <a:pt x="113" y="133"/>
                </a:lnTo>
                <a:close/>
                <a:moveTo>
                  <a:pt x="113" y="104"/>
                </a:moveTo>
                <a:lnTo>
                  <a:pt x="95" y="104"/>
                </a:lnTo>
                <a:lnTo>
                  <a:pt x="95" y="85"/>
                </a:lnTo>
                <a:lnTo>
                  <a:pt x="113" y="85"/>
                </a:lnTo>
                <a:lnTo>
                  <a:pt x="113" y="104"/>
                </a:lnTo>
                <a:close/>
                <a:moveTo>
                  <a:pt x="113" y="76"/>
                </a:moveTo>
                <a:lnTo>
                  <a:pt x="95" y="76"/>
                </a:lnTo>
                <a:lnTo>
                  <a:pt x="95" y="57"/>
                </a:lnTo>
                <a:lnTo>
                  <a:pt x="113" y="57"/>
                </a:lnTo>
                <a:lnTo>
                  <a:pt x="113" y="76"/>
                </a:lnTo>
                <a:close/>
                <a:moveTo>
                  <a:pt x="142" y="133"/>
                </a:moveTo>
                <a:lnTo>
                  <a:pt x="123" y="133"/>
                </a:lnTo>
                <a:lnTo>
                  <a:pt x="123" y="114"/>
                </a:lnTo>
                <a:lnTo>
                  <a:pt x="142" y="114"/>
                </a:lnTo>
                <a:lnTo>
                  <a:pt x="142" y="133"/>
                </a:lnTo>
                <a:close/>
                <a:moveTo>
                  <a:pt x="142" y="104"/>
                </a:moveTo>
                <a:lnTo>
                  <a:pt x="123" y="104"/>
                </a:lnTo>
                <a:lnTo>
                  <a:pt x="123" y="85"/>
                </a:lnTo>
                <a:lnTo>
                  <a:pt x="142" y="85"/>
                </a:lnTo>
                <a:lnTo>
                  <a:pt x="142" y="104"/>
                </a:lnTo>
                <a:close/>
                <a:moveTo>
                  <a:pt x="142" y="76"/>
                </a:moveTo>
                <a:lnTo>
                  <a:pt x="123" y="76"/>
                </a:lnTo>
                <a:lnTo>
                  <a:pt x="123" y="57"/>
                </a:lnTo>
                <a:lnTo>
                  <a:pt x="142" y="57"/>
                </a:lnTo>
                <a:lnTo>
                  <a:pt x="142" y="76"/>
                </a:lnTo>
                <a:close/>
              </a:path>
            </a:pathLst>
          </a:custGeom>
          <a:solidFill>
            <a:schemeClr val="accent2">
              <a:lumMod val="60000"/>
              <a:lumOff val="40000"/>
            </a:schemeClr>
          </a:solidFill>
          <a:ln>
            <a:noFill/>
          </a:ln>
        </p:spPr>
        <p:txBody>
          <a:bodyPr lIns="68580" tIns="34290" rIns="68580" bIns="34290"/>
          <a:lstStyle/>
          <a:p>
            <a:pPr eaLnBrk="1" fontAlgn="auto" hangingPunct="1">
              <a:spcBef>
                <a:spcPts val="0"/>
              </a:spcBef>
              <a:spcAft>
                <a:spcPts val="0"/>
              </a:spcAft>
              <a:defRPr/>
            </a:pPr>
            <a:endParaRPr lang="id-ID" sz="1350">
              <a:solidFill>
                <a:schemeClr val="bg2">
                  <a:lumMod val="10000"/>
                </a:schemeClr>
              </a:solidFill>
              <a:latin typeface="Open Sans" pitchFamily="34" charset="0"/>
              <a:ea typeface="Open Sans" pitchFamily="34" charset="0"/>
              <a:cs typeface="Open Sans" pitchFamily="34" charset="0"/>
            </a:endParaRPr>
          </a:p>
        </p:txBody>
      </p:sp>
      <p:grpSp>
        <p:nvGrpSpPr>
          <p:cNvPr id="122" name="Grup 121">
            <a:extLst>
              <a:ext uri="{FF2B5EF4-FFF2-40B4-BE49-F238E27FC236}">
                <a16:creationId xmlns:a16="http://schemas.microsoft.com/office/drawing/2014/main" id="{D4001697-AE97-8C0D-0A1C-E82F3BDD88D9}"/>
              </a:ext>
            </a:extLst>
          </p:cNvPr>
          <p:cNvGrpSpPr/>
          <p:nvPr/>
        </p:nvGrpSpPr>
        <p:grpSpPr>
          <a:xfrm flipH="1">
            <a:off x="6548947" y="4624916"/>
            <a:ext cx="178475" cy="172715"/>
            <a:chOff x="5680558" y="6103512"/>
            <a:chExt cx="307748" cy="289404"/>
          </a:xfrm>
          <a:solidFill>
            <a:schemeClr val="accent2">
              <a:lumMod val="60000"/>
              <a:lumOff val="40000"/>
            </a:schemeClr>
          </a:solidFill>
        </p:grpSpPr>
        <p:sp>
          <p:nvSpPr>
            <p:cNvPr id="123" name="Freeform 65">
              <a:extLst>
                <a:ext uri="{FF2B5EF4-FFF2-40B4-BE49-F238E27FC236}">
                  <a16:creationId xmlns:a16="http://schemas.microsoft.com/office/drawing/2014/main" id="{3B3BFD4B-0F62-CBB4-A9D9-2EA1A744C5B9}"/>
                </a:ext>
              </a:extLst>
            </p:cNvPr>
            <p:cNvSpPr>
              <a:spLocks/>
            </p:cNvSpPr>
            <p:nvPr/>
          </p:nvSpPr>
          <p:spPr bwMode="auto">
            <a:xfrm>
              <a:off x="5680558" y="6103512"/>
              <a:ext cx="307748" cy="116170"/>
            </a:xfrm>
            <a:custGeom>
              <a:avLst/>
              <a:gdLst>
                <a:gd name="T0" fmla="*/ 59 w 64"/>
                <a:gd name="T1" fmla="*/ 8 h 24"/>
                <a:gd name="T2" fmla="*/ 32 w 64"/>
                <a:gd name="T3" fmla="*/ 0 h 24"/>
                <a:gd name="T4" fmla="*/ 5 w 64"/>
                <a:gd name="T5" fmla="*/ 8 h 24"/>
                <a:gd name="T6" fmla="*/ 0 w 64"/>
                <a:gd name="T7" fmla="*/ 16 h 24"/>
                <a:gd name="T8" fmla="*/ 0 w 64"/>
                <a:gd name="T9" fmla="*/ 20 h 24"/>
                <a:gd name="T10" fmla="*/ 4 w 64"/>
                <a:gd name="T11" fmla="*/ 24 h 24"/>
                <a:gd name="T12" fmla="*/ 12 w 64"/>
                <a:gd name="T13" fmla="*/ 24 h 24"/>
                <a:gd name="T14" fmla="*/ 16 w 64"/>
                <a:gd name="T15" fmla="*/ 20 h 24"/>
                <a:gd name="T16" fmla="*/ 18 w 64"/>
                <a:gd name="T17" fmla="*/ 13 h 24"/>
                <a:gd name="T18" fmla="*/ 32 w 64"/>
                <a:gd name="T19" fmla="*/ 8 h 24"/>
                <a:gd name="T20" fmla="*/ 46 w 64"/>
                <a:gd name="T21" fmla="*/ 13 h 24"/>
                <a:gd name="T22" fmla="*/ 48 w 64"/>
                <a:gd name="T23" fmla="*/ 20 h 24"/>
                <a:gd name="T24" fmla="*/ 52 w 64"/>
                <a:gd name="T25" fmla="*/ 24 h 24"/>
                <a:gd name="T26" fmla="*/ 60 w 64"/>
                <a:gd name="T27" fmla="*/ 24 h 24"/>
                <a:gd name="T28" fmla="*/ 64 w 64"/>
                <a:gd name="T29" fmla="*/ 20 h 24"/>
                <a:gd name="T30" fmla="*/ 64 w 64"/>
                <a:gd name="T31" fmla="*/ 16 h 24"/>
                <a:gd name="T32" fmla="*/ 59 w 64"/>
                <a:gd name="T33"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24">
                  <a:moveTo>
                    <a:pt x="59" y="8"/>
                  </a:moveTo>
                  <a:cubicBezTo>
                    <a:pt x="55" y="4"/>
                    <a:pt x="48" y="0"/>
                    <a:pt x="32" y="0"/>
                  </a:cubicBezTo>
                  <a:cubicBezTo>
                    <a:pt x="16" y="0"/>
                    <a:pt x="10" y="4"/>
                    <a:pt x="5" y="8"/>
                  </a:cubicBezTo>
                  <a:cubicBezTo>
                    <a:pt x="2" y="11"/>
                    <a:pt x="0" y="12"/>
                    <a:pt x="0" y="16"/>
                  </a:cubicBezTo>
                  <a:cubicBezTo>
                    <a:pt x="0" y="20"/>
                    <a:pt x="0" y="20"/>
                    <a:pt x="0" y="20"/>
                  </a:cubicBezTo>
                  <a:cubicBezTo>
                    <a:pt x="0" y="22"/>
                    <a:pt x="2" y="24"/>
                    <a:pt x="4" y="24"/>
                  </a:cubicBezTo>
                  <a:cubicBezTo>
                    <a:pt x="12" y="24"/>
                    <a:pt x="12" y="24"/>
                    <a:pt x="12" y="24"/>
                  </a:cubicBezTo>
                  <a:cubicBezTo>
                    <a:pt x="14" y="24"/>
                    <a:pt x="16" y="22"/>
                    <a:pt x="16" y="20"/>
                  </a:cubicBezTo>
                  <a:cubicBezTo>
                    <a:pt x="16" y="18"/>
                    <a:pt x="16" y="16"/>
                    <a:pt x="18" y="13"/>
                  </a:cubicBezTo>
                  <a:cubicBezTo>
                    <a:pt x="20" y="11"/>
                    <a:pt x="24" y="8"/>
                    <a:pt x="32" y="8"/>
                  </a:cubicBezTo>
                  <a:cubicBezTo>
                    <a:pt x="40" y="8"/>
                    <a:pt x="44" y="11"/>
                    <a:pt x="46" y="13"/>
                  </a:cubicBezTo>
                  <a:cubicBezTo>
                    <a:pt x="48" y="16"/>
                    <a:pt x="48" y="18"/>
                    <a:pt x="48" y="20"/>
                  </a:cubicBezTo>
                  <a:cubicBezTo>
                    <a:pt x="48" y="22"/>
                    <a:pt x="50" y="24"/>
                    <a:pt x="52" y="24"/>
                  </a:cubicBezTo>
                  <a:cubicBezTo>
                    <a:pt x="60" y="24"/>
                    <a:pt x="60" y="24"/>
                    <a:pt x="60" y="24"/>
                  </a:cubicBezTo>
                  <a:cubicBezTo>
                    <a:pt x="62" y="24"/>
                    <a:pt x="64" y="22"/>
                    <a:pt x="64" y="20"/>
                  </a:cubicBezTo>
                  <a:cubicBezTo>
                    <a:pt x="64" y="16"/>
                    <a:pt x="64" y="16"/>
                    <a:pt x="64" y="16"/>
                  </a:cubicBezTo>
                  <a:cubicBezTo>
                    <a:pt x="64" y="12"/>
                    <a:pt x="62" y="11"/>
                    <a:pt x="59" y="8"/>
                  </a:cubicBez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124" name="Oval 66">
              <a:extLst>
                <a:ext uri="{FF2B5EF4-FFF2-40B4-BE49-F238E27FC236}">
                  <a16:creationId xmlns:a16="http://schemas.microsoft.com/office/drawing/2014/main" id="{EDE1B958-6285-0259-0D62-93C341BACED7}"/>
                </a:ext>
              </a:extLst>
            </p:cNvPr>
            <p:cNvSpPr>
              <a:spLocks noChangeArrowheads="1"/>
            </p:cNvSpPr>
            <p:nvPr/>
          </p:nvSpPr>
          <p:spPr bwMode="auto">
            <a:xfrm>
              <a:off x="5794689" y="6276747"/>
              <a:ext cx="77446" cy="77446"/>
            </a:xfrm>
            <a:prstGeom prst="ellipse">
              <a:avLst/>
            </a:pr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125" name="Freeform 67">
              <a:extLst>
                <a:ext uri="{FF2B5EF4-FFF2-40B4-BE49-F238E27FC236}">
                  <a16:creationId xmlns:a16="http://schemas.microsoft.com/office/drawing/2014/main" id="{AAF82BDE-80B0-3D5D-4AF0-B5CD7EBFB611}"/>
                </a:ext>
              </a:extLst>
            </p:cNvPr>
            <p:cNvSpPr>
              <a:spLocks noEditPoints="1"/>
            </p:cNvSpPr>
            <p:nvPr/>
          </p:nvSpPr>
          <p:spPr bwMode="auto">
            <a:xfrm>
              <a:off x="5698900" y="6180958"/>
              <a:ext cx="271063" cy="211958"/>
            </a:xfrm>
            <a:custGeom>
              <a:avLst/>
              <a:gdLst>
                <a:gd name="T0" fmla="*/ 42 w 56"/>
                <a:gd name="T1" fmla="*/ 8 h 44"/>
                <a:gd name="T2" fmla="*/ 40 w 56"/>
                <a:gd name="T3" fmla="*/ 8 h 44"/>
                <a:gd name="T4" fmla="*/ 40 w 56"/>
                <a:gd name="T5" fmla="*/ 3 h 44"/>
                <a:gd name="T6" fmla="*/ 36 w 56"/>
                <a:gd name="T7" fmla="*/ 0 h 44"/>
                <a:gd name="T8" fmla="*/ 32 w 56"/>
                <a:gd name="T9" fmla="*/ 3 h 44"/>
                <a:gd name="T10" fmla="*/ 32 w 56"/>
                <a:gd name="T11" fmla="*/ 8 h 44"/>
                <a:gd name="T12" fmla="*/ 24 w 56"/>
                <a:gd name="T13" fmla="*/ 8 h 44"/>
                <a:gd name="T14" fmla="*/ 24 w 56"/>
                <a:gd name="T15" fmla="*/ 3 h 44"/>
                <a:gd name="T16" fmla="*/ 20 w 56"/>
                <a:gd name="T17" fmla="*/ 0 h 44"/>
                <a:gd name="T18" fmla="*/ 16 w 56"/>
                <a:gd name="T19" fmla="*/ 3 h 44"/>
                <a:gd name="T20" fmla="*/ 16 w 56"/>
                <a:gd name="T21" fmla="*/ 8 h 44"/>
                <a:gd name="T22" fmla="*/ 14 w 56"/>
                <a:gd name="T23" fmla="*/ 8 h 44"/>
                <a:gd name="T24" fmla="*/ 11 w 56"/>
                <a:gd name="T25" fmla="*/ 10 h 44"/>
                <a:gd name="T26" fmla="*/ 0 w 56"/>
                <a:gd name="T27" fmla="*/ 32 h 44"/>
                <a:gd name="T28" fmla="*/ 0 w 56"/>
                <a:gd name="T29" fmla="*/ 40 h 44"/>
                <a:gd name="T30" fmla="*/ 4 w 56"/>
                <a:gd name="T31" fmla="*/ 44 h 44"/>
                <a:gd name="T32" fmla="*/ 52 w 56"/>
                <a:gd name="T33" fmla="*/ 44 h 44"/>
                <a:gd name="T34" fmla="*/ 56 w 56"/>
                <a:gd name="T35" fmla="*/ 40 h 44"/>
                <a:gd name="T36" fmla="*/ 56 w 56"/>
                <a:gd name="T37" fmla="*/ 32 h 44"/>
                <a:gd name="T38" fmla="*/ 45 w 56"/>
                <a:gd name="T39" fmla="*/ 10 h 44"/>
                <a:gd name="T40" fmla="*/ 42 w 56"/>
                <a:gd name="T41" fmla="*/ 8 h 44"/>
                <a:gd name="T42" fmla="*/ 28 w 56"/>
                <a:gd name="T43" fmla="*/ 40 h 44"/>
                <a:gd name="T44" fmla="*/ 16 w 56"/>
                <a:gd name="T45" fmla="*/ 28 h 44"/>
                <a:gd name="T46" fmla="*/ 28 w 56"/>
                <a:gd name="T47" fmla="*/ 16 h 44"/>
                <a:gd name="T48" fmla="*/ 40 w 56"/>
                <a:gd name="T49" fmla="*/ 28 h 44"/>
                <a:gd name="T50" fmla="*/ 28 w 56"/>
                <a:gd name="T51"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6" h="44">
                  <a:moveTo>
                    <a:pt x="42" y="8"/>
                  </a:moveTo>
                  <a:cubicBezTo>
                    <a:pt x="40" y="8"/>
                    <a:pt x="40" y="8"/>
                    <a:pt x="40" y="8"/>
                  </a:cubicBezTo>
                  <a:cubicBezTo>
                    <a:pt x="40" y="3"/>
                    <a:pt x="40" y="3"/>
                    <a:pt x="40" y="3"/>
                  </a:cubicBezTo>
                  <a:cubicBezTo>
                    <a:pt x="40" y="1"/>
                    <a:pt x="38" y="0"/>
                    <a:pt x="36" y="0"/>
                  </a:cubicBezTo>
                  <a:cubicBezTo>
                    <a:pt x="34" y="0"/>
                    <a:pt x="32" y="1"/>
                    <a:pt x="32" y="3"/>
                  </a:cubicBezTo>
                  <a:cubicBezTo>
                    <a:pt x="32" y="8"/>
                    <a:pt x="32" y="8"/>
                    <a:pt x="32" y="8"/>
                  </a:cubicBezTo>
                  <a:cubicBezTo>
                    <a:pt x="24" y="8"/>
                    <a:pt x="24" y="8"/>
                    <a:pt x="24" y="8"/>
                  </a:cubicBezTo>
                  <a:cubicBezTo>
                    <a:pt x="24" y="3"/>
                    <a:pt x="24" y="3"/>
                    <a:pt x="24" y="3"/>
                  </a:cubicBezTo>
                  <a:cubicBezTo>
                    <a:pt x="24" y="1"/>
                    <a:pt x="22" y="0"/>
                    <a:pt x="20" y="0"/>
                  </a:cubicBezTo>
                  <a:cubicBezTo>
                    <a:pt x="18" y="0"/>
                    <a:pt x="16" y="1"/>
                    <a:pt x="16" y="3"/>
                  </a:cubicBezTo>
                  <a:cubicBezTo>
                    <a:pt x="16" y="8"/>
                    <a:pt x="16" y="8"/>
                    <a:pt x="16" y="8"/>
                  </a:cubicBezTo>
                  <a:cubicBezTo>
                    <a:pt x="14" y="8"/>
                    <a:pt x="14" y="8"/>
                    <a:pt x="14" y="8"/>
                  </a:cubicBezTo>
                  <a:cubicBezTo>
                    <a:pt x="13" y="8"/>
                    <a:pt x="12" y="9"/>
                    <a:pt x="11" y="10"/>
                  </a:cubicBezTo>
                  <a:cubicBezTo>
                    <a:pt x="8" y="14"/>
                    <a:pt x="0" y="27"/>
                    <a:pt x="0" y="32"/>
                  </a:cubicBezTo>
                  <a:cubicBezTo>
                    <a:pt x="0" y="40"/>
                    <a:pt x="0" y="40"/>
                    <a:pt x="0" y="40"/>
                  </a:cubicBezTo>
                  <a:cubicBezTo>
                    <a:pt x="0" y="42"/>
                    <a:pt x="2" y="44"/>
                    <a:pt x="4" y="44"/>
                  </a:cubicBezTo>
                  <a:cubicBezTo>
                    <a:pt x="52" y="44"/>
                    <a:pt x="52" y="44"/>
                    <a:pt x="52" y="44"/>
                  </a:cubicBezTo>
                  <a:cubicBezTo>
                    <a:pt x="54" y="44"/>
                    <a:pt x="56" y="42"/>
                    <a:pt x="56" y="40"/>
                  </a:cubicBezTo>
                  <a:cubicBezTo>
                    <a:pt x="56" y="37"/>
                    <a:pt x="56" y="32"/>
                    <a:pt x="56" y="32"/>
                  </a:cubicBezTo>
                  <a:cubicBezTo>
                    <a:pt x="56" y="25"/>
                    <a:pt x="48" y="14"/>
                    <a:pt x="45" y="10"/>
                  </a:cubicBezTo>
                  <a:cubicBezTo>
                    <a:pt x="44" y="9"/>
                    <a:pt x="43" y="8"/>
                    <a:pt x="42" y="8"/>
                  </a:cubicBezTo>
                  <a:close/>
                  <a:moveTo>
                    <a:pt x="28" y="40"/>
                  </a:moveTo>
                  <a:cubicBezTo>
                    <a:pt x="21" y="40"/>
                    <a:pt x="16" y="35"/>
                    <a:pt x="16" y="28"/>
                  </a:cubicBezTo>
                  <a:cubicBezTo>
                    <a:pt x="16" y="21"/>
                    <a:pt x="21" y="16"/>
                    <a:pt x="28" y="16"/>
                  </a:cubicBezTo>
                  <a:cubicBezTo>
                    <a:pt x="35" y="16"/>
                    <a:pt x="40" y="21"/>
                    <a:pt x="40" y="28"/>
                  </a:cubicBezTo>
                  <a:cubicBezTo>
                    <a:pt x="40" y="35"/>
                    <a:pt x="35" y="40"/>
                    <a:pt x="28" y="40"/>
                  </a:cubicBez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grpSp>
      <p:sp>
        <p:nvSpPr>
          <p:cNvPr id="42041" name="Dikdörtgen 125">
            <a:extLst>
              <a:ext uri="{FF2B5EF4-FFF2-40B4-BE49-F238E27FC236}">
                <a16:creationId xmlns:a16="http://schemas.microsoft.com/office/drawing/2014/main" id="{82D0F960-B4F3-FEC3-0275-BBFF9ADD8419}"/>
              </a:ext>
            </a:extLst>
          </p:cNvPr>
          <p:cNvSpPr>
            <a:spLocks noChangeArrowheads="1"/>
          </p:cNvSpPr>
          <p:nvPr/>
        </p:nvSpPr>
        <p:spPr bwMode="auto">
          <a:xfrm>
            <a:off x="6740525" y="3957638"/>
            <a:ext cx="362267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r>
              <a:rPr lang="nn-NO" altLang="tr-TR" sz="1000" dirty="0">
                <a:latin typeface="Open Sans" panose="020B0606030504020204" pitchFamily="34" charset="0"/>
                <a:cs typeface="Open Sans" panose="020B0606030504020204" pitchFamily="34" charset="0"/>
              </a:rPr>
              <a:t>Muratpaşa Mh, Saraybosna Cd, Kotan İş.Mer.No:29/21 </a:t>
            </a:r>
            <a:r>
              <a:rPr lang="tr-TR" altLang="tr-TR" sz="1000" dirty="0">
                <a:latin typeface="Open Sans" panose="020B0606030504020204" pitchFamily="34" charset="0"/>
                <a:cs typeface="Open Sans" panose="020B0606030504020204" pitchFamily="34" charset="0"/>
              </a:rPr>
              <a:t>Yakutiye / Erzurum</a:t>
            </a:r>
            <a:endParaRPr lang="tr-TR" altLang="tr-TR" sz="1000" dirty="0">
              <a:solidFill>
                <a:srgbClr val="181717"/>
              </a:solidFill>
              <a:latin typeface="Open Sans" panose="020B0606030504020204" pitchFamily="34" charset="0"/>
              <a:cs typeface="Open Sans" panose="020B0606030504020204" pitchFamily="34" charset="0"/>
            </a:endParaRPr>
          </a:p>
        </p:txBody>
      </p:sp>
      <p:sp>
        <p:nvSpPr>
          <p:cNvPr id="42042" name="Dikdörtgen 126">
            <a:extLst>
              <a:ext uri="{FF2B5EF4-FFF2-40B4-BE49-F238E27FC236}">
                <a16:creationId xmlns:a16="http://schemas.microsoft.com/office/drawing/2014/main" id="{9E344AC2-856A-15A4-3106-43F63125ADDB}"/>
              </a:ext>
            </a:extLst>
          </p:cNvPr>
          <p:cNvSpPr>
            <a:spLocks noChangeArrowheads="1"/>
          </p:cNvSpPr>
          <p:nvPr/>
        </p:nvSpPr>
        <p:spPr bwMode="auto">
          <a:xfrm>
            <a:off x="6781799" y="3592513"/>
            <a:ext cx="346233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r>
              <a:rPr lang="tr-TR" altLang="tr-TR" sz="1200" b="1" dirty="0">
                <a:solidFill>
                  <a:srgbClr val="AD119B"/>
                </a:solidFill>
                <a:latin typeface="Open Sans" panose="020B0606030504020204" pitchFamily="34" charset="0"/>
                <a:cs typeface="Open Sans" panose="020B0606030504020204" pitchFamily="34" charset="0"/>
              </a:rPr>
              <a:t>Erzurum Doğu Anadolu Bölge Müdürlüğü</a:t>
            </a:r>
            <a:endParaRPr lang="tr-TR" altLang="tr-TR" sz="1200" u="sng" dirty="0">
              <a:solidFill>
                <a:srgbClr val="AD119B"/>
              </a:solidFill>
              <a:latin typeface="Open Sans" panose="020B0606030504020204" pitchFamily="34" charset="0"/>
              <a:cs typeface="Open Sans" panose="020B0606030504020204" pitchFamily="34" charset="0"/>
            </a:endParaRPr>
          </a:p>
        </p:txBody>
      </p:sp>
      <p:grpSp>
        <p:nvGrpSpPr>
          <p:cNvPr id="42043" name="Grup 127">
            <a:extLst>
              <a:ext uri="{FF2B5EF4-FFF2-40B4-BE49-F238E27FC236}">
                <a16:creationId xmlns:a16="http://schemas.microsoft.com/office/drawing/2014/main" id="{F0A745A4-C536-1952-0376-E5FD3005DE30}"/>
              </a:ext>
            </a:extLst>
          </p:cNvPr>
          <p:cNvGrpSpPr>
            <a:grpSpLocks/>
          </p:cNvGrpSpPr>
          <p:nvPr/>
        </p:nvGrpSpPr>
        <p:grpSpPr bwMode="auto">
          <a:xfrm>
            <a:off x="6889750" y="3838575"/>
            <a:ext cx="584200" cy="26988"/>
            <a:chOff x="2155275" y="960249"/>
            <a:chExt cx="584814" cy="26989"/>
          </a:xfrm>
        </p:grpSpPr>
        <p:cxnSp>
          <p:nvCxnSpPr>
            <p:cNvPr id="129" name="Straight Connector 6">
              <a:extLst>
                <a:ext uri="{FF2B5EF4-FFF2-40B4-BE49-F238E27FC236}">
                  <a16:creationId xmlns:a16="http://schemas.microsoft.com/office/drawing/2014/main" id="{D58C305D-068B-3CB1-883F-D57CAEC577D7}"/>
                </a:ext>
              </a:extLst>
            </p:cNvPr>
            <p:cNvCxnSpPr/>
            <p:nvPr/>
          </p:nvCxnSpPr>
          <p:spPr>
            <a:xfrm flipV="1">
              <a:off x="2155275" y="969774"/>
              <a:ext cx="495821" cy="1587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0" name="Rectangle 7">
              <a:extLst>
                <a:ext uri="{FF2B5EF4-FFF2-40B4-BE49-F238E27FC236}">
                  <a16:creationId xmlns:a16="http://schemas.microsoft.com/office/drawing/2014/main" id="{80226918-A0B6-BEB0-CB7C-D16CF18254D2}"/>
                </a:ext>
              </a:extLst>
            </p:cNvPr>
            <p:cNvSpPr/>
            <p:nvPr/>
          </p:nvSpPr>
          <p:spPr>
            <a:xfrm>
              <a:off x="2318960" y="960249"/>
              <a:ext cx="421129" cy="269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
        <p:nvSpPr>
          <p:cNvPr id="131" name="TextBox 14">
            <a:extLst>
              <a:ext uri="{FF2B5EF4-FFF2-40B4-BE49-F238E27FC236}">
                <a16:creationId xmlns:a16="http://schemas.microsoft.com/office/drawing/2014/main" id="{87FF4A78-B9E3-DC24-F96A-344EA4DD1FD9}"/>
              </a:ext>
            </a:extLst>
          </p:cNvPr>
          <p:cNvSpPr txBox="1"/>
          <p:nvPr/>
        </p:nvSpPr>
        <p:spPr>
          <a:xfrm>
            <a:off x="6743700" y="5834063"/>
            <a:ext cx="2801938" cy="247650"/>
          </a:xfrm>
          <a:prstGeom prst="rect">
            <a:avLst/>
          </a:prstGeom>
          <a:noFill/>
        </p:spPr>
        <p:txBody>
          <a:bodyPr>
            <a:spAutoFit/>
          </a:bodyPr>
          <a:lstStyle/>
          <a:p>
            <a:pPr eaLnBrk="1" fontAlgn="auto" hangingPunct="1">
              <a:spcBef>
                <a:spcPts val="0"/>
              </a:spcBef>
              <a:spcAft>
                <a:spcPts val="0"/>
              </a:spcAft>
              <a:defRPr/>
            </a:pPr>
            <a:r>
              <a:rPr lang="tr-TR" sz="1000" dirty="0">
                <a:solidFill>
                  <a:schemeClr val="bg2">
                    <a:lumMod val="10000"/>
                  </a:schemeClr>
                </a:solidFill>
                <a:latin typeface="Open Sans" pitchFamily="34" charset="0"/>
                <a:ea typeface="Open Sans" pitchFamily="34" charset="0"/>
                <a:cs typeface="Open Sans" pitchFamily="34" charset="0"/>
              </a:rPr>
              <a:t>vizyon@vizyongd.com</a:t>
            </a:r>
            <a:endParaRPr lang="id-ID" sz="1000" dirty="0">
              <a:solidFill>
                <a:schemeClr val="bg2">
                  <a:lumMod val="10000"/>
                </a:schemeClr>
              </a:solidFill>
              <a:latin typeface="Open Sans" pitchFamily="34" charset="0"/>
              <a:ea typeface="Open Sans" pitchFamily="34" charset="0"/>
              <a:cs typeface="Open Sans" pitchFamily="34" charset="0"/>
            </a:endParaRPr>
          </a:p>
        </p:txBody>
      </p:sp>
      <p:sp>
        <p:nvSpPr>
          <p:cNvPr id="132" name="TextBox 15">
            <a:extLst>
              <a:ext uri="{FF2B5EF4-FFF2-40B4-BE49-F238E27FC236}">
                <a16:creationId xmlns:a16="http://schemas.microsoft.com/office/drawing/2014/main" id="{68569836-572F-BA78-C092-8B3C863528BF}"/>
              </a:ext>
            </a:extLst>
          </p:cNvPr>
          <p:cNvSpPr txBox="1"/>
          <p:nvPr/>
        </p:nvSpPr>
        <p:spPr>
          <a:xfrm>
            <a:off x="6734175" y="6127750"/>
            <a:ext cx="2811463" cy="246063"/>
          </a:xfrm>
          <a:prstGeom prst="rect">
            <a:avLst/>
          </a:prstGeom>
          <a:noFill/>
        </p:spPr>
        <p:txBody>
          <a:bodyPr>
            <a:spAutoFit/>
          </a:bodyPr>
          <a:lstStyle/>
          <a:p>
            <a:pPr eaLnBrk="1" fontAlgn="auto" hangingPunct="1">
              <a:spcBef>
                <a:spcPts val="0"/>
              </a:spcBef>
              <a:spcAft>
                <a:spcPts val="0"/>
              </a:spcAft>
              <a:defRPr/>
            </a:pPr>
            <a:r>
              <a:rPr lang="tr-TR" sz="1000" dirty="0">
                <a:latin typeface="Open Sans" pitchFamily="34" charset="0"/>
                <a:ea typeface="Open Sans" pitchFamily="34" charset="0"/>
                <a:cs typeface="Open Sans" pitchFamily="34" charset="0"/>
              </a:rPr>
              <a:t>0 </a:t>
            </a:r>
            <a:r>
              <a:rPr lang="tr-TR" sz="1000" b="0" i="0" dirty="0">
                <a:solidFill>
                  <a:srgbClr val="383838"/>
                </a:solidFill>
                <a:effectLst/>
                <a:latin typeface="Arial" panose="020B0604020202020204" pitchFamily="34" charset="0"/>
              </a:rPr>
              <a:t>544 278 30 14</a:t>
            </a:r>
            <a:endParaRPr lang="id-ID" sz="1000" dirty="0">
              <a:solidFill>
                <a:schemeClr val="bg2">
                  <a:lumMod val="10000"/>
                </a:schemeClr>
              </a:solidFill>
              <a:latin typeface="Open Sans" pitchFamily="34" charset="0"/>
              <a:ea typeface="Open Sans" pitchFamily="34" charset="0"/>
              <a:cs typeface="Open Sans" pitchFamily="34" charset="0"/>
            </a:endParaRPr>
          </a:p>
        </p:txBody>
      </p:sp>
      <p:grpSp>
        <p:nvGrpSpPr>
          <p:cNvPr id="133" name="Grup 132">
            <a:extLst>
              <a:ext uri="{FF2B5EF4-FFF2-40B4-BE49-F238E27FC236}">
                <a16:creationId xmlns:a16="http://schemas.microsoft.com/office/drawing/2014/main" id="{805D7ABA-DC72-2774-9C67-BF1169F96A7A}"/>
              </a:ext>
            </a:extLst>
          </p:cNvPr>
          <p:cNvGrpSpPr/>
          <p:nvPr/>
        </p:nvGrpSpPr>
        <p:grpSpPr>
          <a:xfrm flipH="1">
            <a:off x="6542105" y="5893750"/>
            <a:ext cx="198435" cy="128471"/>
            <a:chOff x="5682010" y="5792554"/>
            <a:chExt cx="304839" cy="191785"/>
          </a:xfrm>
          <a:solidFill>
            <a:schemeClr val="accent2">
              <a:lumMod val="60000"/>
              <a:lumOff val="40000"/>
            </a:schemeClr>
          </a:solidFill>
        </p:grpSpPr>
        <p:sp>
          <p:nvSpPr>
            <p:cNvPr id="134" name="Freeform 108">
              <a:extLst>
                <a:ext uri="{FF2B5EF4-FFF2-40B4-BE49-F238E27FC236}">
                  <a16:creationId xmlns:a16="http://schemas.microsoft.com/office/drawing/2014/main" id="{76C337E2-B33C-9FA6-8CE5-A34D04F4F032}"/>
                </a:ext>
              </a:extLst>
            </p:cNvPr>
            <p:cNvSpPr>
              <a:spLocks/>
            </p:cNvSpPr>
            <p:nvPr/>
          </p:nvSpPr>
          <p:spPr bwMode="auto">
            <a:xfrm>
              <a:off x="5700184" y="5792554"/>
              <a:ext cx="272538" cy="121128"/>
            </a:xfrm>
            <a:custGeom>
              <a:avLst/>
              <a:gdLst>
                <a:gd name="T0" fmla="*/ 135 w 135"/>
                <a:gd name="T1" fmla="*/ 0 h 60"/>
                <a:gd name="T2" fmla="*/ 132 w 135"/>
                <a:gd name="T3" fmla="*/ 0 h 60"/>
                <a:gd name="T4" fmla="*/ 0 w 135"/>
                <a:gd name="T5" fmla="*/ 0 h 60"/>
                <a:gd name="T6" fmla="*/ 0 w 135"/>
                <a:gd name="T7" fmla="*/ 0 h 60"/>
                <a:gd name="T8" fmla="*/ 66 w 135"/>
                <a:gd name="T9" fmla="*/ 60 h 60"/>
                <a:gd name="T10" fmla="*/ 135 w 135"/>
                <a:gd name="T11" fmla="*/ 0 h 60"/>
              </a:gdLst>
              <a:ahLst/>
              <a:cxnLst>
                <a:cxn ang="0">
                  <a:pos x="T0" y="T1"/>
                </a:cxn>
                <a:cxn ang="0">
                  <a:pos x="T2" y="T3"/>
                </a:cxn>
                <a:cxn ang="0">
                  <a:pos x="T4" y="T5"/>
                </a:cxn>
                <a:cxn ang="0">
                  <a:pos x="T6" y="T7"/>
                </a:cxn>
                <a:cxn ang="0">
                  <a:pos x="T8" y="T9"/>
                </a:cxn>
                <a:cxn ang="0">
                  <a:pos x="T10" y="T11"/>
                </a:cxn>
              </a:cxnLst>
              <a:rect l="0" t="0" r="r" b="b"/>
              <a:pathLst>
                <a:path w="135" h="60">
                  <a:moveTo>
                    <a:pt x="135" y="0"/>
                  </a:moveTo>
                  <a:lnTo>
                    <a:pt x="132" y="0"/>
                  </a:lnTo>
                  <a:lnTo>
                    <a:pt x="0" y="0"/>
                  </a:lnTo>
                  <a:lnTo>
                    <a:pt x="0" y="0"/>
                  </a:lnTo>
                  <a:lnTo>
                    <a:pt x="66" y="60"/>
                  </a:lnTo>
                  <a:lnTo>
                    <a:pt x="135" y="0"/>
                  </a:ln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135" name="Freeform 109">
              <a:extLst>
                <a:ext uri="{FF2B5EF4-FFF2-40B4-BE49-F238E27FC236}">
                  <a16:creationId xmlns:a16="http://schemas.microsoft.com/office/drawing/2014/main" id="{5DF069F6-F28C-12D0-18B5-493DB4884787}"/>
                </a:ext>
              </a:extLst>
            </p:cNvPr>
            <p:cNvSpPr>
              <a:spLocks/>
            </p:cNvSpPr>
            <p:nvPr/>
          </p:nvSpPr>
          <p:spPr bwMode="auto">
            <a:xfrm>
              <a:off x="5891965" y="5808704"/>
              <a:ext cx="94884" cy="165541"/>
            </a:xfrm>
            <a:custGeom>
              <a:avLst/>
              <a:gdLst>
                <a:gd name="T0" fmla="*/ 20 w 20"/>
                <a:gd name="T1" fmla="*/ 0 h 35"/>
                <a:gd name="T2" fmla="*/ 0 w 20"/>
                <a:gd name="T3" fmla="*/ 17 h 35"/>
                <a:gd name="T4" fmla="*/ 19 w 20"/>
                <a:gd name="T5" fmla="*/ 35 h 35"/>
                <a:gd name="T6" fmla="*/ 20 w 20"/>
                <a:gd name="T7" fmla="*/ 33 h 35"/>
                <a:gd name="T8" fmla="*/ 20 w 20"/>
                <a:gd name="T9" fmla="*/ 1 h 35"/>
                <a:gd name="T10" fmla="*/ 20 w 20"/>
                <a:gd name="T11" fmla="*/ 0 h 35"/>
              </a:gdLst>
              <a:ahLst/>
              <a:cxnLst>
                <a:cxn ang="0">
                  <a:pos x="T0" y="T1"/>
                </a:cxn>
                <a:cxn ang="0">
                  <a:pos x="T2" y="T3"/>
                </a:cxn>
                <a:cxn ang="0">
                  <a:pos x="T4" y="T5"/>
                </a:cxn>
                <a:cxn ang="0">
                  <a:pos x="T6" y="T7"/>
                </a:cxn>
                <a:cxn ang="0">
                  <a:pos x="T8" y="T9"/>
                </a:cxn>
                <a:cxn ang="0">
                  <a:pos x="T10" y="T11"/>
                </a:cxn>
              </a:cxnLst>
              <a:rect l="0" t="0" r="r" b="b"/>
              <a:pathLst>
                <a:path w="20" h="35">
                  <a:moveTo>
                    <a:pt x="20" y="0"/>
                  </a:moveTo>
                  <a:cubicBezTo>
                    <a:pt x="0" y="17"/>
                    <a:pt x="0" y="17"/>
                    <a:pt x="0" y="17"/>
                  </a:cubicBezTo>
                  <a:cubicBezTo>
                    <a:pt x="19" y="35"/>
                    <a:pt x="19" y="35"/>
                    <a:pt x="19" y="35"/>
                  </a:cubicBezTo>
                  <a:cubicBezTo>
                    <a:pt x="20" y="34"/>
                    <a:pt x="20" y="34"/>
                    <a:pt x="20" y="33"/>
                  </a:cubicBezTo>
                  <a:cubicBezTo>
                    <a:pt x="20" y="1"/>
                    <a:pt x="20" y="1"/>
                    <a:pt x="20" y="1"/>
                  </a:cubicBezTo>
                  <a:cubicBezTo>
                    <a:pt x="20" y="1"/>
                    <a:pt x="20" y="0"/>
                    <a:pt x="20" y="0"/>
                  </a:cubicBez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136" name="Freeform 110">
              <a:extLst>
                <a:ext uri="{FF2B5EF4-FFF2-40B4-BE49-F238E27FC236}">
                  <a16:creationId xmlns:a16="http://schemas.microsoft.com/office/drawing/2014/main" id="{1E38343F-1FF9-3342-ACD5-F03E26CCC178}"/>
                </a:ext>
              </a:extLst>
            </p:cNvPr>
            <p:cNvSpPr>
              <a:spLocks/>
            </p:cNvSpPr>
            <p:nvPr/>
          </p:nvSpPr>
          <p:spPr bwMode="auto">
            <a:xfrm>
              <a:off x="5682010" y="5802647"/>
              <a:ext cx="94884" cy="171598"/>
            </a:xfrm>
            <a:custGeom>
              <a:avLst/>
              <a:gdLst>
                <a:gd name="T0" fmla="*/ 0 w 20"/>
                <a:gd name="T1" fmla="*/ 0 h 36"/>
                <a:gd name="T2" fmla="*/ 0 w 20"/>
                <a:gd name="T3" fmla="*/ 2 h 36"/>
                <a:gd name="T4" fmla="*/ 0 w 20"/>
                <a:gd name="T5" fmla="*/ 34 h 36"/>
                <a:gd name="T6" fmla="*/ 0 w 20"/>
                <a:gd name="T7" fmla="*/ 36 h 36"/>
                <a:gd name="T8" fmla="*/ 20 w 20"/>
                <a:gd name="T9" fmla="*/ 18 h 36"/>
                <a:gd name="T10" fmla="*/ 0 w 20"/>
                <a:gd name="T11" fmla="*/ 0 h 36"/>
              </a:gdLst>
              <a:ahLst/>
              <a:cxnLst>
                <a:cxn ang="0">
                  <a:pos x="T0" y="T1"/>
                </a:cxn>
                <a:cxn ang="0">
                  <a:pos x="T2" y="T3"/>
                </a:cxn>
                <a:cxn ang="0">
                  <a:pos x="T4" y="T5"/>
                </a:cxn>
                <a:cxn ang="0">
                  <a:pos x="T6" y="T7"/>
                </a:cxn>
                <a:cxn ang="0">
                  <a:pos x="T8" y="T9"/>
                </a:cxn>
                <a:cxn ang="0">
                  <a:pos x="T10" y="T11"/>
                </a:cxn>
              </a:cxnLst>
              <a:rect l="0" t="0" r="r" b="b"/>
              <a:pathLst>
                <a:path w="20" h="36">
                  <a:moveTo>
                    <a:pt x="0" y="0"/>
                  </a:moveTo>
                  <a:cubicBezTo>
                    <a:pt x="0" y="1"/>
                    <a:pt x="0" y="1"/>
                    <a:pt x="0" y="2"/>
                  </a:cubicBezTo>
                  <a:cubicBezTo>
                    <a:pt x="0" y="34"/>
                    <a:pt x="0" y="34"/>
                    <a:pt x="0" y="34"/>
                  </a:cubicBezTo>
                  <a:cubicBezTo>
                    <a:pt x="0" y="35"/>
                    <a:pt x="0" y="35"/>
                    <a:pt x="0" y="36"/>
                  </a:cubicBezTo>
                  <a:cubicBezTo>
                    <a:pt x="20" y="18"/>
                    <a:pt x="20" y="18"/>
                    <a:pt x="20" y="18"/>
                  </a:cubicBezTo>
                  <a:lnTo>
                    <a:pt x="0" y="0"/>
                  </a:ln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137" name="Freeform 111">
              <a:extLst>
                <a:ext uri="{FF2B5EF4-FFF2-40B4-BE49-F238E27FC236}">
                  <a16:creationId xmlns:a16="http://schemas.microsoft.com/office/drawing/2014/main" id="{7F297F52-096A-CFA8-10CA-07F344D0B4B5}"/>
                </a:ext>
              </a:extLst>
            </p:cNvPr>
            <p:cNvSpPr>
              <a:spLocks/>
            </p:cNvSpPr>
            <p:nvPr/>
          </p:nvSpPr>
          <p:spPr bwMode="auto">
            <a:xfrm>
              <a:off x="5700179" y="5903587"/>
              <a:ext cx="266481" cy="80752"/>
            </a:xfrm>
            <a:custGeom>
              <a:avLst/>
              <a:gdLst>
                <a:gd name="T0" fmla="*/ 66 w 132"/>
                <a:gd name="T1" fmla="*/ 19 h 40"/>
                <a:gd name="T2" fmla="*/ 45 w 132"/>
                <a:gd name="T3" fmla="*/ 0 h 40"/>
                <a:gd name="T4" fmla="*/ 0 w 132"/>
                <a:gd name="T5" fmla="*/ 40 h 40"/>
                <a:gd name="T6" fmla="*/ 0 w 132"/>
                <a:gd name="T7" fmla="*/ 40 h 40"/>
                <a:gd name="T8" fmla="*/ 132 w 132"/>
                <a:gd name="T9" fmla="*/ 40 h 40"/>
                <a:gd name="T10" fmla="*/ 88 w 132"/>
                <a:gd name="T11" fmla="*/ 0 h 40"/>
                <a:gd name="T12" fmla="*/ 66 w 132"/>
                <a:gd name="T13" fmla="*/ 19 h 40"/>
              </a:gdLst>
              <a:ahLst/>
              <a:cxnLst>
                <a:cxn ang="0">
                  <a:pos x="T0" y="T1"/>
                </a:cxn>
                <a:cxn ang="0">
                  <a:pos x="T2" y="T3"/>
                </a:cxn>
                <a:cxn ang="0">
                  <a:pos x="T4" y="T5"/>
                </a:cxn>
                <a:cxn ang="0">
                  <a:pos x="T6" y="T7"/>
                </a:cxn>
                <a:cxn ang="0">
                  <a:pos x="T8" y="T9"/>
                </a:cxn>
                <a:cxn ang="0">
                  <a:pos x="T10" y="T11"/>
                </a:cxn>
                <a:cxn ang="0">
                  <a:pos x="T12" y="T13"/>
                </a:cxn>
              </a:cxnLst>
              <a:rect l="0" t="0" r="r" b="b"/>
              <a:pathLst>
                <a:path w="132" h="40">
                  <a:moveTo>
                    <a:pt x="66" y="19"/>
                  </a:moveTo>
                  <a:lnTo>
                    <a:pt x="45" y="0"/>
                  </a:lnTo>
                  <a:lnTo>
                    <a:pt x="0" y="40"/>
                  </a:lnTo>
                  <a:lnTo>
                    <a:pt x="0" y="40"/>
                  </a:lnTo>
                  <a:lnTo>
                    <a:pt x="132" y="40"/>
                  </a:lnTo>
                  <a:lnTo>
                    <a:pt x="88" y="0"/>
                  </a:lnTo>
                  <a:lnTo>
                    <a:pt x="66" y="19"/>
                  </a:ln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grpSp>
      <p:sp>
        <p:nvSpPr>
          <p:cNvPr id="138" name="Freeform 165">
            <a:extLst>
              <a:ext uri="{FF2B5EF4-FFF2-40B4-BE49-F238E27FC236}">
                <a16:creationId xmlns:a16="http://schemas.microsoft.com/office/drawing/2014/main" id="{61036A5C-933D-676A-E5F7-592B18FEBF5F}"/>
              </a:ext>
            </a:extLst>
          </p:cNvPr>
          <p:cNvSpPr>
            <a:spLocks noEditPoints="1"/>
          </p:cNvSpPr>
          <p:nvPr/>
        </p:nvSpPr>
        <p:spPr bwMode="auto">
          <a:xfrm flipH="1">
            <a:off x="6551613" y="5541963"/>
            <a:ext cx="190500" cy="196850"/>
          </a:xfrm>
          <a:custGeom>
            <a:avLst/>
            <a:gdLst>
              <a:gd name="T0" fmla="*/ 76 w 151"/>
              <a:gd name="T1" fmla="*/ 0 h 152"/>
              <a:gd name="T2" fmla="*/ 9 w 151"/>
              <a:gd name="T3" fmla="*/ 142 h 152"/>
              <a:gd name="T4" fmla="*/ 0 w 151"/>
              <a:gd name="T5" fmla="*/ 152 h 152"/>
              <a:gd name="T6" fmla="*/ 151 w 151"/>
              <a:gd name="T7" fmla="*/ 38 h 152"/>
              <a:gd name="T8" fmla="*/ 57 w 151"/>
              <a:gd name="T9" fmla="*/ 142 h 152"/>
              <a:gd name="T10" fmla="*/ 28 w 151"/>
              <a:gd name="T11" fmla="*/ 123 h 152"/>
              <a:gd name="T12" fmla="*/ 57 w 151"/>
              <a:gd name="T13" fmla="*/ 142 h 152"/>
              <a:gd name="T14" fmla="*/ 19 w 151"/>
              <a:gd name="T15" fmla="*/ 104 h 152"/>
              <a:gd name="T16" fmla="*/ 66 w 151"/>
              <a:gd name="T17" fmla="*/ 95 h 152"/>
              <a:gd name="T18" fmla="*/ 66 w 151"/>
              <a:gd name="T19" fmla="*/ 85 h 152"/>
              <a:gd name="T20" fmla="*/ 19 w 151"/>
              <a:gd name="T21" fmla="*/ 76 h 152"/>
              <a:gd name="T22" fmla="*/ 66 w 151"/>
              <a:gd name="T23" fmla="*/ 85 h 152"/>
              <a:gd name="T24" fmla="*/ 19 w 151"/>
              <a:gd name="T25" fmla="*/ 66 h 152"/>
              <a:gd name="T26" fmla="*/ 66 w 151"/>
              <a:gd name="T27" fmla="*/ 57 h 152"/>
              <a:gd name="T28" fmla="*/ 66 w 151"/>
              <a:gd name="T29" fmla="*/ 47 h 152"/>
              <a:gd name="T30" fmla="*/ 19 w 151"/>
              <a:gd name="T31" fmla="*/ 38 h 152"/>
              <a:gd name="T32" fmla="*/ 66 w 151"/>
              <a:gd name="T33" fmla="*/ 47 h 152"/>
              <a:gd name="T34" fmla="*/ 19 w 151"/>
              <a:gd name="T35" fmla="*/ 29 h 152"/>
              <a:gd name="T36" fmla="*/ 66 w 151"/>
              <a:gd name="T37" fmla="*/ 19 h 152"/>
              <a:gd name="T38" fmla="*/ 113 w 151"/>
              <a:gd name="T39" fmla="*/ 133 h 152"/>
              <a:gd name="T40" fmla="*/ 95 w 151"/>
              <a:gd name="T41" fmla="*/ 114 h 152"/>
              <a:gd name="T42" fmla="*/ 113 w 151"/>
              <a:gd name="T43" fmla="*/ 133 h 152"/>
              <a:gd name="T44" fmla="*/ 95 w 151"/>
              <a:gd name="T45" fmla="*/ 104 h 152"/>
              <a:gd name="T46" fmla="*/ 113 w 151"/>
              <a:gd name="T47" fmla="*/ 85 h 152"/>
              <a:gd name="T48" fmla="*/ 113 w 151"/>
              <a:gd name="T49" fmla="*/ 76 h 152"/>
              <a:gd name="T50" fmla="*/ 95 w 151"/>
              <a:gd name="T51" fmla="*/ 57 h 152"/>
              <a:gd name="T52" fmla="*/ 113 w 151"/>
              <a:gd name="T53" fmla="*/ 76 h 152"/>
              <a:gd name="T54" fmla="*/ 123 w 151"/>
              <a:gd name="T55" fmla="*/ 133 h 152"/>
              <a:gd name="T56" fmla="*/ 142 w 151"/>
              <a:gd name="T57" fmla="*/ 114 h 152"/>
              <a:gd name="T58" fmla="*/ 142 w 151"/>
              <a:gd name="T59" fmla="*/ 104 h 152"/>
              <a:gd name="T60" fmla="*/ 123 w 151"/>
              <a:gd name="T61" fmla="*/ 85 h 152"/>
              <a:gd name="T62" fmla="*/ 142 w 151"/>
              <a:gd name="T63" fmla="*/ 104 h 152"/>
              <a:gd name="T64" fmla="*/ 123 w 151"/>
              <a:gd name="T65" fmla="*/ 76 h 152"/>
              <a:gd name="T66" fmla="*/ 142 w 151"/>
              <a:gd name="T67" fmla="*/ 5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1" h="152">
                <a:moveTo>
                  <a:pt x="76" y="38"/>
                </a:moveTo>
                <a:lnTo>
                  <a:pt x="76" y="0"/>
                </a:lnTo>
                <a:lnTo>
                  <a:pt x="9" y="0"/>
                </a:lnTo>
                <a:lnTo>
                  <a:pt x="9" y="142"/>
                </a:lnTo>
                <a:lnTo>
                  <a:pt x="0" y="142"/>
                </a:lnTo>
                <a:lnTo>
                  <a:pt x="0" y="152"/>
                </a:lnTo>
                <a:lnTo>
                  <a:pt x="151" y="152"/>
                </a:lnTo>
                <a:lnTo>
                  <a:pt x="151" y="38"/>
                </a:lnTo>
                <a:lnTo>
                  <a:pt x="76" y="38"/>
                </a:lnTo>
                <a:close/>
                <a:moveTo>
                  <a:pt x="57" y="142"/>
                </a:moveTo>
                <a:lnTo>
                  <a:pt x="28" y="142"/>
                </a:lnTo>
                <a:lnTo>
                  <a:pt x="28" y="123"/>
                </a:lnTo>
                <a:lnTo>
                  <a:pt x="57" y="123"/>
                </a:lnTo>
                <a:lnTo>
                  <a:pt x="57" y="142"/>
                </a:lnTo>
                <a:close/>
                <a:moveTo>
                  <a:pt x="66" y="104"/>
                </a:moveTo>
                <a:lnTo>
                  <a:pt x="19" y="104"/>
                </a:lnTo>
                <a:lnTo>
                  <a:pt x="19" y="95"/>
                </a:lnTo>
                <a:lnTo>
                  <a:pt x="66" y="95"/>
                </a:lnTo>
                <a:lnTo>
                  <a:pt x="66" y="104"/>
                </a:lnTo>
                <a:close/>
                <a:moveTo>
                  <a:pt x="66" y="85"/>
                </a:moveTo>
                <a:lnTo>
                  <a:pt x="19" y="85"/>
                </a:lnTo>
                <a:lnTo>
                  <a:pt x="19" y="76"/>
                </a:lnTo>
                <a:lnTo>
                  <a:pt x="66" y="76"/>
                </a:lnTo>
                <a:lnTo>
                  <a:pt x="66" y="85"/>
                </a:lnTo>
                <a:close/>
                <a:moveTo>
                  <a:pt x="66" y="66"/>
                </a:moveTo>
                <a:lnTo>
                  <a:pt x="19" y="66"/>
                </a:lnTo>
                <a:lnTo>
                  <a:pt x="19" y="57"/>
                </a:lnTo>
                <a:lnTo>
                  <a:pt x="66" y="57"/>
                </a:lnTo>
                <a:lnTo>
                  <a:pt x="66" y="66"/>
                </a:lnTo>
                <a:close/>
                <a:moveTo>
                  <a:pt x="66" y="47"/>
                </a:moveTo>
                <a:lnTo>
                  <a:pt x="19" y="47"/>
                </a:lnTo>
                <a:lnTo>
                  <a:pt x="19" y="38"/>
                </a:lnTo>
                <a:lnTo>
                  <a:pt x="66" y="38"/>
                </a:lnTo>
                <a:lnTo>
                  <a:pt x="66" y="47"/>
                </a:lnTo>
                <a:close/>
                <a:moveTo>
                  <a:pt x="66" y="29"/>
                </a:moveTo>
                <a:lnTo>
                  <a:pt x="19" y="29"/>
                </a:lnTo>
                <a:lnTo>
                  <a:pt x="19" y="19"/>
                </a:lnTo>
                <a:lnTo>
                  <a:pt x="66" y="19"/>
                </a:lnTo>
                <a:lnTo>
                  <a:pt x="66" y="29"/>
                </a:lnTo>
                <a:close/>
                <a:moveTo>
                  <a:pt x="113" y="133"/>
                </a:moveTo>
                <a:lnTo>
                  <a:pt x="95" y="133"/>
                </a:lnTo>
                <a:lnTo>
                  <a:pt x="95" y="114"/>
                </a:lnTo>
                <a:lnTo>
                  <a:pt x="113" y="114"/>
                </a:lnTo>
                <a:lnTo>
                  <a:pt x="113" y="133"/>
                </a:lnTo>
                <a:close/>
                <a:moveTo>
                  <a:pt x="113" y="104"/>
                </a:moveTo>
                <a:lnTo>
                  <a:pt x="95" y="104"/>
                </a:lnTo>
                <a:lnTo>
                  <a:pt x="95" y="85"/>
                </a:lnTo>
                <a:lnTo>
                  <a:pt x="113" y="85"/>
                </a:lnTo>
                <a:lnTo>
                  <a:pt x="113" y="104"/>
                </a:lnTo>
                <a:close/>
                <a:moveTo>
                  <a:pt x="113" y="76"/>
                </a:moveTo>
                <a:lnTo>
                  <a:pt x="95" y="76"/>
                </a:lnTo>
                <a:lnTo>
                  <a:pt x="95" y="57"/>
                </a:lnTo>
                <a:lnTo>
                  <a:pt x="113" y="57"/>
                </a:lnTo>
                <a:lnTo>
                  <a:pt x="113" y="76"/>
                </a:lnTo>
                <a:close/>
                <a:moveTo>
                  <a:pt x="142" y="133"/>
                </a:moveTo>
                <a:lnTo>
                  <a:pt x="123" y="133"/>
                </a:lnTo>
                <a:lnTo>
                  <a:pt x="123" y="114"/>
                </a:lnTo>
                <a:lnTo>
                  <a:pt x="142" y="114"/>
                </a:lnTo>
                <a:lnTo>
                  <a:pt x="142" y="133"/>
                </a:lnTo>
                <a:close/>
                <a:moveTo>
                  <a:pt x="142" y="104"/>
                </a:moveTo>
                <a:lnTo>
                  <a:pt x="123" y="104"/>
                </a:lnTo>
                <a:lnTo>
                  <a:pt x="123" y="85"/>
                </a:lnTo>
                <a:lnTo>
                  <a:pt x="142" y="85"/>
                </a:lnTo>
                <a:lnTo>
                  <a:pt x="142" y="104"/>
                </a:lnTo>
                <a:close/>
                <a:moveTo>
                  <a:pt x="142" y="76"/>
                </a:moveTo>
                <a:lnTo>
                  <a:pt x="123" y="76"/>
                </a:lnTo>
                <a:lnTo>
                  <a:pt x="123" y="57"/>
                </a:lnTo>
                <a:lnTo>
                  <a:pt x="142" y="57"/>
                </a:lnTo>
                <a:lnTo>
                  <a:pt x="142" y="76"/>
                </a:lnTo>
                <a:close/>
              </a:path>
            </a:pathLst>
          </a:custGeom>
          <a:solidFill>
            <a:schemeClr val="accent2">
              <a:lumMod val="60000"/>
              <a:lumOff val="40000"/>
            </a:schemeClr>
          </a:solidFill>
          <a:ln>
            <a:noFill/>
          </a:ln>
        </p:spPr>
        <p:txBody>
          <a:bodyPr lIns="68580" tIns="34290" rIns="68580" bIns="34290"/>
          <a:lstStyle/>
          <a:p>
            <a:pPr eaLnBrk="1" fontAlgn="auto" hangingPunct="1">
              <a:spcBef>
                <a:spcPts val="0"/>
              </a:spcBef>
              <a:spcAft>
                <a:spcPts val="0"/>
              </a:spcAft>
              <a:defRPr/>
            </a:pPr>
            <a:endParaRPr lang="id-ID" sz="1350">
              <a:solidFill>
                <a:schemeClr val="bg2">
                  <a:lumMod val="10000"/>
                </a:schemeClr>
              </a:solidFill>
              <a:latin typeface="Open Sans" pitchFamily="34" charset="0"/>
              <a:ea typeface="Open Sans" pitchFamily="34" charset="0"/>
              <a:cs typeface="Open Sans" pitchFamily="34" charset="0"/>
            </a:endParaRPr>
          </a:p>
        </p:txBody>
      </p:sp>
      <p:grpSp>
        <p:nvGrpSpPr>
          <p:cNvPr id="139" name="Grup 138">
            <a:extLst>
              <a:ext uri="{FF2B5EF4-FFF2-40B4-BE49-F238E27FC236}">
                <a16:creationId xmlns:a16="http://schemas.microsoft.com/office/drawing/2014/main" id="{BA84038B-076C-A6AD-1646-38224D9115EA}"/>
              </a:ext>
            </a:extLst>
          </p:cNvPr>
          <p:cNvGrpSpPr/>
          <p:nvPr/>
        </p:nvGrpSpPr>
        <p:grpSpPr>
          <a:xfrm flipH="1">
            <a:off x="6548947" y="6155136"/>
            <a:ext cx="178475" cy="172715"/>
            <a:chOff x="5680558" y="6103512"/>
            <a:chExt cx="307748" cy="289404"/>
          </a:xfrm>
          <a:solidFill>
            <a:schemeClr val="accent2">
              <a:lumMod val="60000"/>
              <a:lumOff val="40000"/>
            </a:schemeClr>
          </a:solidFill>
        </p:grpSpPr>
        <p:sp>
          <p:nvSpPr>
            <p:cNvPr id="154" name="Freeform 65">
              <a:extLst>
                <a:ext uri="{FF2B5EF4-FFF2-40B4-BE49-F238E27FC236}">
                  <a16:creationId xmlns:a16="http://schemas.microsoft.com/office/drawing/2014/main" id="{2978E50F-510E-403F-3978-86225160BA31}"/>
                </a:ext>
              </a:extLst>
            </p:cNvPr>
            <p:cNvSpPr>
              <a:spLocks/>
            </p:cNvSpPr>
            <p:nvPr/>
          </p:nvSpPr>
          <p:spPr bwMode="auto">
            <a:xfrm>
              <a:off x="5680558" y="6103512"/>
              <a:ext cx="307748" cy="116170"/>
            </a:xfrm>
            <a:custGeom>
              <a:avLst/>
              <a:gdLst>
                <a:gd name="T0" fmla="*/ 59 w 64"/>
                <a:gd name="T1" fmla="*/ 8 h 24"/>
                <a:gd name="T2" fmla="*/ 32 w 64"/>
                <a:gd name="T3" fmla="*/ 0 h 24"/>
                <a:gd name="T4" fmla="*/ 5 w 64"/>
                <a:gd name="T5" fmla="*/ 8 h 24"/>
                <a:gd name="T6" fmla="*/ 0 w 64"/>
                <a:gd name="T7" fmla="*/ 16 h 24"/>
                <a:gd name="T8" fmla="*/ 0 w 64"/>
                <a:gd name="T9" fmla="*/ 20 h 24"/>
                <a:gd name="T10" fmla="*/ 4 w 64"/>
                <a:gd name="T11" fmla="*/ 24 h 24"/>
                <a:gd name="T12" fmla="*/ 12 w 64"/>
                <a:gd name="T13" fmla="*/ 24 h 24"/>
                <a:gd name="T14" fmla="*/ 16 w 64"/>
                <a:gd name="T15" fmla="*/ 20 h 24"/>
                <a:gd name="T16" fmla="*/ 18 w 64"/>
                <a:gd name="T17" fmla="*/ 13 h 24"/>
                <a:gd name="T18" fmla="*/ 32 w 64"/>
                <a:gd name="T19" fmla="*/ 8 h 24"/>
                <a:gd name="T20" fmla="*/ 46 w 64"/>
                <a:gd name="T21" fmla="*/ 13 h 24"/>
                <a:gd name="T22" fmla="*/ 48 w 64"/>
                <a:gd name="T23" fmla="*/ 20 h 24"/>
                <a:gd name="T24" fmla="*/ 52 w 64"/>
                <a:gd name="T25" fmla="*/ 24 h 24"/>
                <a:gd name="T26" fmla="*/ 60 w 64"/>
                <a:gd name="T27" fmla="*/ 24 h 24"/>
                <a:gd name="T28" fmla="*/ 64 w 64"/>
                <a:gd name="T29" fmla="*/ 20 h 24"/>
                <a:gd name="T30" fmla="*/ 64 w 64"/>
                <a:gd name="T31" fmla="*/ 16 h 24"/>
                <a:gd name="T32" fmla="*/ 59 w 64"/>
                <a:gd name="T33"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24">
                  <a:moveTo>
                    <a:pt x="59" y="8"/>
                  </a:moveTo>
                  <a:cubicBezTo>
                    <a:pt x="55" y="4"/>
                    <a:pt x="48" y="0"/>
                    <a:pt x="32" y="0"/>
                  </a:cubicBezTo>
                  <a:cubicBezTo>
                    <a:pt x="16" y="0"/>
                    <a:pt x="10" y="4"/>
                    <a:pt x="5" y="8"/>
                  </a:cubicBezTo>
                  <a:cubicBezTo>
                    <a:pt x="2" y="11"/>
                    <a:pt x="0" y="12"/>
                    <a:pt x="0" y="16"/>
                  </a:cubicBezTo>
                  <a:cubicBezTo>
                    <a:pt x="0" y="20"/>
                    <a:pt x="0" y="20"/>
                    <a:pt x="0" y="20"/>
                  </a:cubicBezTo>
                  <a:cubicBezTo>
                    <a:pt x="0" y="22"/>
                    <a:pt x="2" y="24"/>
                    <a:pt x="4" y="24"/>
                  </a:cubicBezTo>
                  <a:cubicBezTo>
                    <a:pt x="12" y="24"/>
                    <a:pt x="12" y="24"/>
                    <a:pt x="12" y="24"/>
                  </a:cubicBezTo>
                  <a:cubicBezTo>
                    <a:pt x="14" y="24"/>
                    <a:pt x="16" y="22"/>
                    <a:pt x="16" y="20"/>
                  </a:cubicBezTo>
                  <a:cubicBezTo>
                    <a:pt x="16" y="18"/>
                    <a:pt x="16" y="16"/>
                    <a:pt x="18" y="13"/>
                  </a:cubicBezTo>
                  <a:cubicBezTo>
                    <a:pt x="20" y="11"/>
                    <a:pt x="24" y="8"/>
                    <a:pt x="32" y="8"/>
                  </a:cubicBezTo>
                  <a:cubicBezTo>
                    <a:pt x="40" y="8"/>
                    <a:pt x="44" y="11"/>
                    <a:pt x="46" y="13"/>
                  </a:cubicBezTo>
                  <a:cubicBezTo>
                    <a:pt x="48" y="16"/>
                    <a:pt x="48" y="18"/>
                    <a:pt x="48" y="20"/>
                  </a:cubicBezTo>
                  <a:cubicBezTo>
                    <a:pt x="48" y="22"/>
                    <a:pt x="50" y="24"/>
                    <a:pt x="52" y="24"/>
                  </a:cubicBezTo>
                  <a:cubicBezTo>
                    <a:pt x="60" y="24"/>
                    <a:pt x="60" y="24"/>
                    <a:pt x="60" y="24"/>
                  </a:cubicBezTo>
                  <a:cubicBezTo>
                    <a:pt x="62" y="24"/>
                    <a:pt x="64" y="22"/>
                    <a:pt x="64" y="20"/>
                  </a:cubicBezTo>
                  <a:cubicBezTo>
                    <a:pt x="64" y="16"/>
                    <a:pt x="64" y="16"/>
                    <a:pt x="64" y="16"/>
                  </a:cubicBezTo>
                  <a:cubicBezTo>
                    <a:pt x="64" y="12"/>
                    <a:pt x="62" y="11"/>
                    <a:pt x="59" y="8"/>
                  </a:cubicBez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161" name="Oval 66">
              <a:extLst>
                <a:ext uri="{FF2B5EF4-FFF2-40B4-BE49-F238E27FC236}">
                  <a16:creationId xmlns:a16="http://schemas.microsoft.com/office/drawing/2014/main" id="{EDF80C4B-9EC9-82E9-D639-A28FBB7F4D7F}"/>
                </a:ext>
              </a:extLst>
            </p:cNvPr>
            <p:cNvSpPr>
              <a:spLocks noChangeArrowheads="1"/>
            </p:cNvSpPr>
            <p:nvPr/>
          </p:nvSpPr>
          <p:spPr bwMode="auto">
            <a:xfrm>
              <a:off x="5794689" y="6276747"/>
              <a:ext cx="77446" cy="77446"/>
            </a:xfrm>
            <a:prstGeom prst="ellipse">
              <a:avLst/>
            </a:pr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162" name="Freeform 67">
              <a:extLst>
                <a:ext uri="{FF2B5EF4-FFF2-40B4-BE49-F238E27FC236}">
                  <a16:creationId xmlns:a16="http://schemas.microsoft.com/office/drawing/2014/main" id="{407EBC2B-F417-58A1-F88B-1A51E3F61ADB}"/>
                </a:ext>
              </a:extLst>
            </p:cNvPr>
            <p:cNvSpPr>
              <a:spLocks noEditPoints="1"/>
            </p:cNvSpPr>
            <p:nvPr/>
          </p:nvSpPr>
          <p:spPr bwMode="auto">
            <a:xfrm>
              <a:off x="5698900" y="6180958"/>
              <a:ext cx="271063" cy="211958"/>
            </a:xfrm>
            <a:custGeom>
              <a:avLst/>
              <a:gdLst>
                <a:gd name="T0" fmla="*/ 42 w 56"/>
                <a:gd name="T1" fmla="*/ 8 h 44"/>
                <a:gd name="T2" fmla="*/ 40 w 56"/>
                <a:gd name="T3" fmla="*/ 8 h 44"/>
                <a:gd name="T4" fmla="*/ 40 w 56"/>
                <a:gd name="T5" fmla="*/ 3 h 44"/>
                <a:gd name="T6" fmla="*/ 36 w 56"/>
                <a:gd name="T7" fmla="*/ 0 h 44"/>
                <a:gd name="T8" fmla="*/ 32 w 56"/>
                <a:gd name="T9" fmla="*/ 3 h 44"/>
                <a:gd name="T10" fmla="*/ 32 w 56"/>
                <a:gd name="T11" fmla="*/ 8 h 44"/>
                <a:gd name="T12" fmla="*/ 24 w 56"/>
                <a:gd name="T13" fmla="*/ 8 h 44"/>
                <a:gd name="T14" fmla="*/ 24 w 56"/>
                <a:gd name="T15" fmla="*/ 3 h 44"/>
                <a:gd name="T16" fmla="*/ 20 w 56"/>
                <a:gd name="T17" fmla="*/ 0 h 44"/>
                <a:gd name="T18" fmla="*/ 16 w 56"/>
                <a:gd name="T19" fmla="*/ 3 h 44"/>
                <a:gd name="T20" fmla="*/ 16 w 56"/>
                <a:gd name="T21" fmla="*/ 8 h 44"/>
                <a:gd name="T22" fmla="*/ 14 w 56"/>
                <a:gd name="T23" fmla="*/ 8 h 44"/>
                <a:gd name="T24" fmla="*/ 11 w 56"/>
                <a:gd name="T25" fmla="*/ 10 h 44"/>
                <a:gd name="T26" fmla="*/ 0 w 56"/>
                <a:gd name="T27" fmla="*/ 32 h 44"/>
                <a:gd name="T28" fmla="*/ 0 w 56"/>
                <a:gd name="T29" fmla="*/ 40 h 44"/>
                <a:gd name="T30" fmla="*/ 4 w 56"/>
                <a:gd name="T31" fmla="*/ 44 h 44"/>
                <a:gd name="T32" fmla="*/ 52 w 56"/>
                <a:gd name="T33" fmla="*/ 44 h 44"/>
                <a:gd name="T34" fmla="*/ 56 w 56"/>
                <a:gd name="T35" fmla="*/ 40 h 44"/>
                <a:gd name="T36" fmla="*/ 56 w 56"/>
                <a:gd name="T37" fmla="*/ 32 h 44"/>
                <a:gd name="T38" fmla="*/ 45 w 56"/>
                <a:gd name="T39" fmla="*/ 10 h 44"/>
                <a:gd name="T40" fmla="*/ 42 w 56"/>
                <a:gd name="T41" fmla="*/ 8 h 44"/>
                <a:gd name="T42" fmla="*/ 28 w 56"/>
                <a:gd name="T43" fmla="*/ 40 h 44"/>
                <a:gd name="T44" fmla="*/ 16 w 56"/>
                <a:gd name="T45" fmla="*/ 28 h 44"/>
                <a:gd name="T46" fmla="*/ 28 w 56"/>
                <a:gd name="T47" fmla="*/ 16 h 44"/>
                <a:gd name="T48" fmla="*/ 40 w 56"/>
                <a:gd name="T49" fmla="*/ 28 h 44"/>
                <a:gd name="T50" fmla="*/ 28 w 56"/>
                <a:gd name="T51"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6" h="44">
                  <a:moveTo>
                    <a:pt x="42" y="8"/>
                  </a:moveTo>
                  <a:cubicBezTo>
                    <a:pt x="40" y="8"/>
                    <a:pt x="40" y="8"/>
                    <a:pt x="40" y="8"/>
                  </a:cubicBezTo>
                  <a:cubicBezTo>
                    <a:pt x="40" y="3"/>
                    <a:pt x="40" y="3"/>
                    <a:pt x="40" y="3"/>
                  </a:cubicBezTo>
                  <a:cubicBezTo>
                    <a:pt x="40" y="1"/>
                    <a:pt x="38" y="0"/>
                    <a:pt x="36" y="0"/>
                  </a:cubicBezTo>
                  <a:cubicBezTo>
                    <a:pt x="34" y="0"/>
                    <a:pt x="32" y="1"/>
                    <a:pt x="32" y="3"/>
                  </a:cubicBezTo>
                  <a:cubicBezTo>
                    <a:pt x="32" y="8"/>
                    <a:pt x="32" y="8"/>
                    <a:pt x="32" y="8"/>
                  </a:cubicBezTo>
                  <a:cubicBezTo>
                    <a:pt x="24" y="8"/>
                    <a:pt x="24" y="8"/>
                    <a:pt x="24" y="8"/>
                  </a:cubicBezTo>
                  <a:cubicBezTo>
                    <a:pt x="24" y="3"/>
                    <a:pt x="24" y="3"/>
                    <a:pt x="24" y="3"/>
                  </a:cubicBezTo>
                  <a:cubicBezTo>
                    <a:pt x="24" y="1"/>
                    <a:pt x="22" y="0"/>
                    <a:pt x="20" y="0"/>
                  </a:cubicBezTo>
                  <a:cubicBezTo>
                    <a:pt x="18" y="0"/>
                    <a:pt x="16" y="1"/>
                    <a:pt x="16" y="3"/>
                  </a:cubicBezTo>
                  <a:cubicBezTo>
                    <a:pt x="16" y="8"/>
                    <a:pt x="16" y="8"/>
                    <a:pt x="16" y="8"/>
                  </a:cubicBezTo>
                  <a:cubicBezTo>
                    <a:pt x="14" y="8"/>
                    <a:pt x="14" y="8"/>
                    <a:pt x="14" y="8"/>
                  </a:cubicBezTo>
                  <a:cubicBezTo>
                    <a:pt x="13" y="8"/>
                    <a:pt x="12" y="9"/>
                    <a:pt x="11" y="10"/>
                  </a:cubicBezTo>
                  <a:cubicBezTo>
                    <a:pt x="8" y="14"/>
                    <a:pt x="0" y="27"/>
                    <a:pt x="0" y="32"/>
                  </a:cubicBezTo>
                  <a:cubicBezTo>
                    <a:pt x="0" y="40"/>
                    <a:pt x="0" y="40"/>
                    <a:pt x="0" y="40"/>
                  </a:cubicBezTo>
                  <a:cubicBezTo>
                    <a:pt x="0" y="42"/>
                    <a:pt x="2" y="44"/>
                    <a:pt x="4" y="44"/>
                  </a:cubicBezTo>
                  <a:cubicBezTo>
                    <a:pt x="52" y="44"/>
                    <a:pt x="52" y="44"/>
                    <a:pt x="52" y="44"/>
                  </a:cubicBezTo>
                  <a:cubicBezTo>
                    <a:pt x="54" y="44"/>
                    <a:pt x="56" y="42"/>
                    <a:pt x="56" y="40"/>
                  </a:cubicBezTo>
                  <a:cubicBezTo>
                    <a:pt x="56" y="37"/>
                    <a:pt x="56" y="32"/>
                    <a:pt x="56" y="32"/>
                  </a:cubicBezTo>
                  <a:cubicBezTo>
                    <a:pt x="56" y="25"/>
                    <a:pt x="48" y="14"/>
                    <a:pt x="45" y="10"/>
                  </a:cubicBezTo>
                  <a:cubicBezTo>
                    <a:pt x="44" y="9"/>
                    <a:pt x="43" y="8"/>
                    <a:pt x="42" y="8"/>
                  </a:cubicBezTo>
                  <a:close/>
                  <a:moveTo>
                    <a:pt x="28" y="40"/>
                  </a:moveTo>
                  <a:cubicBezTo>
                    <a:pt x="21" y="40"/>
                    <a:pt x="16" y="35"/>
                    <a:pt x="16" y="28"/>
                  </a:cubicBezTo>
                  <a:cubicBezTo>
                    <a:pt x="16" y="21"/>
                    <a:pt x="21" y="16"/>
                    <a:pt x="28" y="16"/>
                  </a:cubicBezTo>
                  <a:cubicBezTo>
                    <a:pt x="35" y="16"/>
                    <a:pt x="40" y="21"/>
                    <a:pt x="40" y="28"/>
                  </a:cubicBezTo>
                  <a:cubicBezTo>
                    <a:pt x="40" y="35"/>
                    <a:pt x="35" y="40"/>
                    <a:pt x="28" y="40"/>
                  </a:cubicBez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grpSp>
      <p:sp>
        <p:nvSpPr>
          <p:cNvPr id="42049" name="Dikdörtgen 162">
            <a:extLst>
              <a:ext uri="{FF2B5EF4-FFF2-40B4-BE49-F238E27FC236}">
                <a16:creationId xmlns:a16="http://schemas.microsoft.com/office/drawing/2014/main" id="{C2E558DC-5F9A-ABC3-CD15-78C0A7355144}"/>
              </a:ext>
            </a:extLst>
          </p:cNvPr>
          <p:cNvSpPr>
            <a:spLocks noChangeArrowheads="1"/>
          </p:cNvSpPr>
          <p:nvPr/>
        </p:nvSpPr>
        <p:spPr bwMode="auto">
          <a:xfrm>
            <a:off x="6743700" y="5449888"/>
            <a:ext cx="36226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r>
              <a:rPr lang="nn-NO" altLang="tr-TR" sz="1000" dirty="0">
                <a:latin typeface="Open Sans" panose="020B0606030504020204" pitchFamily="34" charset="0"/>
                <a:cs typeface="Open Sans" panose="020B0606030504020204" pitchFamily="34" charset="0"/>
              </a:rPr>
              <a:t>Seyrantepe M</a:t>
            </a:r>
            <a:r>
              <a:rPr lang="tr-TR" altLang="tr-TR" sz="1000" dirty="0">
                <a:latin typeface="Open Sans" panose="020B0606030504020204" pitchFamily="34" charset="0"/>
                <a:cs typeface="Open Sans" panose="020B0606030504020204" pitchFamily="34" charset="0"/>
              </a:rPr>
              <a:t>a</a:t>
            </a:r>
            <a:r>
              <a:rPr lang="nn-NO" altLang="tr-TR" sz="1000" dirty="0">
                <a:latin typeface="Open Sans" panose="020B0606030504020204" pitchFamily="34" charset="0"/>
                <a:cs typeface="Open Sans" panose="020B0606030504020204" pitchFamily="34" charset="0"/>
              </a:rPr>
              <a:t>h.</a:t>
            </a:r>
            <a:r>
              <a:rPr lang="tr-TR" altLang="tr-TR" sz="1000" dirty="0">
                <a:latin typeface="Open Sans" panose="020B0606030504020204" pitchFamily="34" charset="0"/>
                <a:cs typeface="Open Sans" panose="020B0606030504020204" pitchFamily="34" charset="0"/>
              </a:rPr>
              <a:t> </a:t>
            </a:r>
            <a:r>
              <a:rPr lang="nn-NO" altLang="tr-TR" sz="1000" dirty="0">
                <a:latin typeface="Open Sans" panose="020B0606030504020204" pitchFamily="34" charset="0"/>
                <a:cs typeface="Open Sans" panose="020B0606030504020204" pitchFamily="34" charset="0"/>
              </a:rPr>
              <a:t>Elazığ B</a:t>
            </a:r>
            <a:r>
              <a:rPr lang="tr-TR" altLang="tr-TR" sz="1000" dirty="0" err="1">
                <a:latin typeface="Open Sans" panose="020B0606030504020204" pitchFamily="34" charset="0"/>
                <a:cs typeface="Open Sans" panose="020B0606030504020204" pitchFamily="34" charset="0"/>
              </a:rPr>
              <a:t>ul</a:t>
            </a:r>
            <a:r>
              <a:rPr lang="nn-NO" altLang="tr-TR" sz="1000" dirty="0">
                <a:latin typeface="Open Sans" panose="020B0606030504020204" pitchFamily="34" charset="0"/>
                <a:cs typeface="Open Sans" panose="020B0606030504020204" pitchFamily="34" charset="0"/>
              </a:rPr>
              <a:t>.</a:t>
            </a:r>
            <a:r>
              <a:rPr lang="tr-TR" altLang="tr-TR" sz="1000" dirty="0">
                <a:latin typeface="Open Sans" panose="020B0606030504020204" pitchFamily="34" charset="0"/>
                <a:cs typeface="Open Sans" panose="020B0606030504020204" pitchFamily="34" charset="0"/>
              </a:rPr>
              <a:t> </a:t>
            </a:r>
            <a:r>
              <a:rPr lang="nn-NO" altLang="tr-TR" sz="1000" dirty="0">
                <a:latin typeface="Open Sans" panose="020B0606030504020204" pitchFamily="34" charset="0"/>
                <a:cs typeface="Open Sans" panose="020B0606030504020204" pitchFamily="34" charset="0"/>
              </a:rPr>
              <a:t>No:4,</a:t>
            </a:r>
            <a:r>
              <a:rPr lang="tr-TR" altLang="tr-TR" sz="1000" dirty="0">
                <a:latin typeface="Open Sans" panose="020B0606030504020204" pitchFamily="34" charset="0"/>
                <a:cs typeface="Open Sans" panose="020B0606030504020204" pitchFamily="34" charset="0"/>
              </a:rPr>
              <a:t> </a:t>
            </a:r>
            <a:r>
              <a:rPr lang="nn-NO" altLang="tr-TR" sz="1000" dirty="0">
                <a:latin typeface="Open Sans" panose="020B0606030504020204" pitchFamily="34" charset="0"/>
                <a:cs typeface="Open Sans" panose="020B0606030504020204" pitchFamily="34" charset="0"/>
              </a:rPr>
              <a:t>Ceysa Twin Towers S.,C Bl</a:t>
            </a:r>
            <a:r>
              <a:rPr lang="tr-TR" altLang="tr-TR" sz="1000" dirty="0">
                <a:latin typeface="Open Sans" panose="020B0606030504020204" pitchFamily="34" charset="0"/>
                <a:cs typeface="Open Sans" panose="020B0606030504020204" pitchFamily="34" charset="0"/>
              </a:rPr>
              <a:t>o</a:t>
            </a:r>
            <a:r>
              <a:rPr lang="nn-NO" altLang="tr-TR" sz="1000" dirty="0">
                <a:latin typeface="Open Sans" panose="020B0606030504020204" pitchFamily="34" charset="0"/>
                <a:cs typeface="Open Sans" panose="020B0606030504020204" pitchFamily="34" charset="0"/>
              </a:rPr>
              <a:t>k No:47C</a:t>
            </a:r>
            <a:r>
              <a:rPr lang="tr-TR" altLang="tr-TR" sz="1000" dirty="0">
                <a:latin typeface="Open Sans" panose="020B0606030504020204" pitchFamily="34" charset="0"/>
                <a:cs typeface="Open Sans" panose="020B0606030504020204" pitchFamily="34" charset="0"/>
              </a:rPr>
              <a:t> </a:t>
            </a:r>
            <a:r>
              <a:rPr lang="nn-NO" altLang="tr-TR" sz="1000" dirty="0">
                <a:latin typeface="Open Sans" panose="020B0606030504020204" pitchFamily="34" charset="0"/>
                <a:cs typeface="Open Sans" panose="020B0606030504020204" pitchFamily="34" charset="0"/>
              </a:rPr>
              <a:t>/</a:t>
            </a:r>
            <a:r>
              <a:rPr lang="tr-TR" altLang="tr-TR" sz="1000" dirty="0">
                <a:latin typeface="Open Sans" panose="020B0606030504020204" pitchFamily="34" charset="0"/>
                <a:cs typeface="Open Sans" panose="020B0606030504020204" pitchFamily="34" charset="0"/>
              </a:rPr>
              <a:t> </a:t>
            </a:r>
            <a:r>
              <a:rPr lang="nn-NO" altLang="tr-TR" sz="1000" dirty="0">
                <a:latin typeface="Open Sans" panose="020B0606030504020204" pitchFamily="34" charset="0"/>
                <a:cs typeface="Open Sans" panose="020B0606030504020204" pitchFamily="34" charset="0"/>
              </a:rPr>
              <a:t>No:17</a:t>
            </a:r>
            <a:r>
              <a:rPr lang="tr-TR" altLang="tr-TR" sz="1000" dirty="0">
                <a:latin typeface="Open Sans" panose="020B0606030504020204" pitchFamily="34" charset="0"/>
                <a:cs typeface="Open Sans" panose="020B0606030504020204" pitchFamily="34" charset="0"/>
              </a:rPr>
              <a:t> Yenişehir / Diyarbakır</a:t>
            </a:r>
            <a:r>
              <a:rPr lang="nn-NO" altLang="tr-TR" sz="1000" dirty="0">
                <a:latin typeface="Open Sans" panose="020B0606030504020204" pitchFamily="34" charset="0"/>
                <a:cs typeface="Open Sans" panose="020B0606030504020204" pitchFamily="34" charset="0"/>
              </a:rPr>
              <a:t> </a:t>
            </a:r>
            <a:endParaRPr lang="tr-TR" altLang="tr-TR" sz="1000" dirty="0">
              <a:solidFill>
                <a:srgbClr val="181717"/>
              </a:solidFill>
              <a:latin typeface="Open Sans" panose="020B0606030504020204" pitchFamily="34" charset="0"/>
              <a:cs typeface="Open Sans" panose="020B0606030504020204" pitchFamily="34" charset="0"/>
            </a:endParaRPr>
          </a:p>
        </p:txBody>
      </p:sp>
      <p:sp>
        <p:nvSpPr>
          <p:cNvPr id="42050" name="Dikdörtgen 166">
            <a:extLst>
              <a:ext uri="{FF2B5EF4-FFF2-40B4-BE49-F238E27FC236}">
                <a16:creationId xmlns:a16="http://schemas.microsoft.com/office/drawing/2014/main" id="{3907D5DB-2391-C19B-534A-AC7401DD16DB}"/>
              </a:ext>
            </a:extLst>
          </p:cNvPr>
          <p:cNvSpPr>
            <a:spLocks noChangeArrowheads="1"/>
          </p:cNvSpPr>
          <p:nvPr/>
        </p:nvSpPr>
        <p:spPr bwMode="auto">
          <a:xfrm>
            <a:off x="6781800" y="5121275"/>
            <a:ext cx="316547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r>
              <a:rPr lang="tr-TR" altLang="tr-TR" sz="1200" b="1" dirty="0">
                <a:solidFill>
                  <a:srgbClr val="AD119B"/>
                </a:solidFill>
                <a:latin typeface="Open Sans" panose="020B0606030504020204" pitchFamily="34" charset="0"/>
                <a:cs typeface="Open Sans" panose="020B0606030504020204" pitchFamily="34" charset="0"/>
              </a:rPr>
              <a:t>Diyarbakır Güneydoğu Anadolu Bölgesi</a:t>
            </a:r>
            <a:endParaRPr lang="tr-TR" altLang="tr-TR" sz="1200" u="sng" dirty="0">
              <a:solidFill>
                <a:srgbClr val="AD119B"/>
              </a:solidFill>
              <a:latin typeface="Open Sans" panose="020B0606030504020204" pitchFamily="34" charset="0"/>
              <a:cs typeface="Open Sans" panose="020B0606030504020204" pitchFamily="34" charset="0"/>
            </a:endParaRPr>
          </a:p>
        </p:txBody>
      </p:sp>
      <p:grpSp>
        <p:nvGrpSpPr>
          <p:cNvPr id="42051" name="Grup 167">
            <a:extLst>
              <a:ext uri="{FF2B5EF4-FFF2-40B4-BE49-F238E27FC236}">
                <a16:creationId xmlns:a16="http://schemas.microsoft.com/office/drawing/2014/main" id="{8381E2CE-8D55-3110-32EB-72313388F1FC}"/>
              </a:ext>
            </a:extLst>
          </p:cNvPr>
          <p:cNvGrpSpPr>
            <a:grpSpLocks/>
          </p:cNvGrpSpPr>
          <p:nvPr/>
        </p:nvGrpSpPr>
        <p:grpSpPr bwMode="auto">
          <a:xfrm>
            <a:off x="6889750" y="5367338"/>
            <a:ext cx="584200" cy="26987"/>
            <a:chOff x="2155275" y="960249"/>
            <a:chExt cx="584814" cy="26989"/>
          </a:xfrm>
        </p:grpSpPr>
        <p:cxnSp>
          <p:nvCxnSpPr>
            <p:cNvPr id="169" name="Straight Connector 6">
              <a:extLst>
                <a:ext uri="{FF2B5EF4-FFF2-40B4-BE49-F238E27FC236}">
                  <a16:creationId xmlns:a16="http://schemas.microsoft.com/office/drawing/2014/main" id="{3DDD01F1-BAC4-E110-B0DB-014F4CCDFA58}"/>
                </a:ext>
              </a:extLst>
            </p:cNvPr>
            <p:cNvCxnSpPr/>
            <p:nvPr/>
          </p:nvCxnSpPr>
          <p:spPr>
            <a:xfrm flipV="1">
              <a:off x="2155275" y="969775"/>
              <a:ext cx="495821" cy="1587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0" name="Rectangle 7">
              <a:extLst>
                <a:ext uri="{FF2B5EF4-FFF2-40B4-BE49-F238E27FC236}">
                  <a16:creationId xmlns:a16="http://schemas.microsoft.com/office/drawing/2014/main" id="{8697D68C-C409-134B-7B85-A503011789D5}"/>
                </a:ext>
              </a:extLst>
            </p:cNvPr>
            <p:cNvSpPr/>
            <p:nvPr/>
          </p:nvSpPr>
          <p:spPr>
            <a:xfrm>
              <a:off x="2318960" y="960249"/>
              <a:ext cx="421129" cy="269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
        <p:nvSpPr>
          <p:cNvPr id="42052" name="Dikdörtgen 167">
            <a:extLst>
              <a:ext uri="{FF2B5EF4-FFF2-40B4-BE49-F238E27FC236}">
                <a16:creationId xmlns:a16="http://schemas.microsoft.com/office/drawing/2014/main" id="{17FCC8F7-7896-1CDA-9495-8383425B3FBE}"/>
              </a:ext>
            </a:extLst>
          </p:cNvPr>
          <p:cNvSpPr>
            <a:spLocks noChangeArrowheads="1"/>
          </p:cNvSpPr>
          <p:nvPr/>
        </p:nvSpPr>
        <p:spPr bwMode="auto">
          <a:xfrm>
            <a:off x="1589088" y="550863"/>
            <a:ext cx="487838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r>
              <a:rPr lang="tr-TR" altLang="tr-TR" sz="1600" b="1">
                <a:solidFill>
                  <a:srgbClr val="AD119B"/>
                </a:solidFill>
                <a:latin typeface="Open Sans" panose="020B0606030504020204" pitchFamily="34" charset="0"/>
                <a:cs typeface="Open Sans" panose="020B0606030504020204" pitchFamily="34" charset="0"/>
              </a:rPr>
              <a:t>VİZYON</a:t>
            </a:r>
            <a:r>
              <a:rPr lang="tr-TR" altLang="tr-TR" sz="1400" b="1">
                <a:solidFill>
                  <a:srgbClr val="AD119B"/>
                </a:solidFill>
                <a:latin typeface="Open Sans" panose="020B0606030504020204" pitchFamily="34" charset="0"/>
                <a:cs typeface="Open Sans" panose="020B0606030504020204" pitchFamily="34" charset="0"/>
              </a:rPr>
              <a:t> </a:t>
            </a:r>
            <a:r>
              <a:rPr lang="tr-TR" altLang="tr-TR" sz="1200" b="1">
                <a:solidFill>
                  <a:srgbClr val="AD119B"/>
                </a:solidFill>
                <a:latin typeface="Open Sans" panose="020B0606030504020204" pitchFamily="34" charset="0"/>
                <a:cs typeface="Open Sans" panose="020B0606030504020204" pitchFamily="34" charset="0"/>
              </a:rPr>
              <a:t>TAŞINMAZ DEĞERLEME VE DANIŞMANLIK A.Ş. </a:t>
            </a:r>
            <a:endParaRPr lang="tr-TR" altLang="tr-TR" sz="1200" u="sng">
              <a:solidFill>
                <a:srgbClr val="AD119B"/>
              </a:solidFill>
              <a:latin typeface="Open Sans" panose="020B0606030504020204" pitchFamily="34" charset="0"/>
              <a:cs typeface="Open Sans" panose="020B0606030504020204" pitchFamily="34" charset="0"/>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 2">
            <a:extLst>
              <a:ext uri="{FF2B5EF4-FFF2-40B4-BE49-F238E27FC236}">
                <a16:creationId xmlns:a16="http://schemas.microsoft.com/office/drawing/2014/main" id="{385203E8-1053-65CE-6CAB-58DEAC91552D}"/>
              </a:ext>
            </a:extLst>
          </p:cNvPr>
          <p:cNvGrpSpPr>
            <a:grpSpLocks/>
          </p:cNvGrpSpPr>
          <p:nvPr/>
        </p:nvGrpSpPr>
        <p:grpSpPr bwMode="auto">
          <a:xfrm>
            <a:off x="8018463" y="-12700"/>
            <a:ext cx="2132012" cy="6870700"/>
            <a:chOff x="7219254" y="0"/>
            <a:chExt cx="1811230" cy="6858000"/>
          </a:xfrm>
        </p:grpSpPr>
        <p:sp>
          <p:nvSpPr>
            <p:cNvPr id="10" name="Rectangle 9">
              <a:extLst>
                <a:ext uri="{FF2B5EF4-FFF2-40B4-BE49-F238E27FC236}">
                  <a16:creationId xmlns:a16="http://schemas.microsoft.com/office/drawing/2014/main" id="{104685F6-B93D-0FCD-C031-4EF17929ADA2}"/>
                </a:ext>
              </a:extLst>
            </p:cNvPr>
            <p:cNvSpPr/>
            <p:nvPr/>
          </p:nvSpPr>
          <p:spPr>
            <a:xfrm>
              <a:off x="7219254" y="0"/>
              <a:ext cx="1809882"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d-ID" sz="1350"/>
            </a:p>
          </p:txBody>
        </p:sp>
        <p:sp>
          <p:nvSpPr>
            <p:cNvPr id="36" name="Rectangle 35">
              <a:extLst>
                <a:ext uri="{FF2B5EF4-FFF2-40B4-BE49-F238E27FC236}">
                  <a16:creationId xmlns:a16="http://schemas.microsoft.com/office/drawing/2014/main" id="{504D6A84-1BFB-87A7-B8E5-E73166196522}"/>
                </a:ext>
              </a:extLst>
            </p:cNvPr>
            <p:cNvSpPr/>
            <p:nvPr/>
          </p:nvSpPr>
          <p:spPr>
            <a:xfrm>
              <a:off x="7223300" y="3558934"/>
              <a:ext cx="1805836" cy="329906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d-ID" sz="1350"/>
            </a:p>
          </p:txBody>
        </p:sp>
        <p:sp>
          <p:nvSpPr>
            <p:cNvPr id="27" name="Freeform 14">
              <a:extLst>
                <a:ext uri="{FF2B5EF4-FFF2-40B4-BE49-F238E27FC236}">
                  <a16:creationId xmlns:a16="http://schemas.microsoft.com/office/drawing/2014/main" id="{4121EB5F-92BB-F625-C7BC-D3638B9F69E3}"/>
                </a:ext>
              </a:extLst>
            </p:cNvPr>
            <p:cNvSpPr>
              <a:spLocks noEditPoints="1"/>
            </p:cNvSpPr>
            <p:nvPr/>
          </p:nvSpPr>
          <p:spPr bwMode="auto">
            <a:xfrm>
              <a:off x="7219254" y="2053597"/>
              <a:ext cx="1811230" cy="1877711"/>
            </a:xfrm>
            <a:custGeom>
              <a:avLst/>
              <a:gdLst>
                <a:gd name="T0" fmla="*/ 1247 w 1281"/>
                <a:gd name="T1" fmla="*/ 1059 h 1576"/>
                <a:gd name="T2" fmla="*/ 1063 w 1281"/>
                <a:gd name="T3" fmla="*/ 1107 h 1576"/>
                <a:gd name="T4" fmla="*/ 1010 w 1281"/>
                <a:gd name="T5" fmla="*/ 634 h 1576"/>
                <a:gd name="T6" fmla="*/ 879 w 1281"/>
                <a:gd name="T7" fmla="*/ 801 h 1576"/>
                <a:gd name="T8" fmla="*/ 831 w 1281"/>
                <a:gd name="T9" fmla="*/ 306 h 1576"/>
                <a:gd name="T10" fmla="*/ 882 w 1281"/>
                <a:gd name="T11" fmla="*/ 296 h 1576"/>
                <a:gd name="T12" fmla="*/ 882 w 1281"/>
                <a:gd name="T13" fmla="*/ 264 h 1576"/>
                <a:gd name="T14" fmla="*/ 884 w 1281"/>
                <a:gd name="T15" fmla="*/ 245 h 1576"/>
                <a:gd name="T16" fmla="*/ 879 w 1281"/>
                <a:gd name="T17" fmla="*/ 89 h 1576"/>
                <a:gd name="T18" fmla="*/ 877 w 1281"/>
                <a:gd name="T19" fmla="*/ 143 h 1576"/>
                <a:gd name="T20" fmla="*/ 795 w 1281"/>
                <a:gd name="T21" fmla="*/ 111 h 1576"/>
                <a:gd name="T22" fmla="*/ 790 w 1281"/>
                <a:gd name="T23" fmla="*/ 145 h 1576"/>
                <a:gd name="T24" fmla="*/ 710 w 1281"/>
                <a:gd name="T25" fmla="*/ 114 h 1576"/>
                <a:gd name="T26" fmla="*/ 703 w 1281"/>
                <a:gd name="T27" fmla="*/ 89 h 1576"/>
                <a:gd name="T28" fmla="*/ 623 w 1281"/>
                <a:gd name="T29" fmla="*/ 153 h 1576"/>
                <a:gd name="T30" fmla="*/ 615 w 1281"/>
                <a:gd name="T31" fmla="*/ 153 h 1576"/>
                <a:gd name="T32" fmla="*/ 615 w 1281"/>
                <a:gd name="T33" fmla="*/ 89 h 1576"/>
                <a:gd name="T34" fmla="*/ 536 w 1281"/>
                <a:gd name="T35" fmla="*/ 153 h 1576"/>
                <a:gd name="T36" fmla="*/ 528 w 1281"/>
                <a:gd name="T37" fmla="*/ 153 h 1576"/>
                <a:gd name="T38" fmla="*/ 526 w 1281"/>
                <a:gd name="T39" fmla="*/ 0 h 1576"/>
                <a:gd name="T40" fmla="*/ 521 w 1281"/>
                <a:gd name="T41" fmla="*/ 145 h 1576"/>
                <a:gd name="T42" fmla="*/ 499 w 1281"/>
                <a:gd name="T43" fmla="*/ 189 h 1576"/>
                <a:gd name="T44" fmla="*/ 468 w 1281"/>
                <a:gd name="T45" fmla="*/ 191 h 1576"/>
                <a:gd name="T46" fmla="*/ 448 w 1281"/>
                <a:gd name="T47" fmla="*/ 191 h 1576"/>
                <a:gd name="T48" fmla="*/ 429 w 1281"/>
                <a:gd name="T49" fmla="*/ 194 h 1576"/>
                <a:gd name="T50" fmla="*/ 412 w 1281"/>
                <a:gd name="T51" fmla="*/ 196 h 1576"/>
                <a:gd name="T52" fmla="*/ 395 w 1281"/>
                <a:gd name="T53" fmla="*/ 199 h 1576"/>
                <a:gd name="T54" fmla="*/ 366 w 1281"/>
                <a:gd name="T55" fmla="*/ 206 h 1576"/>
                <a:gd name="T56" fmla="*/ 354 w 1281"/>
                <a:gd name="T57" fmla="*/ 208 h 1576"/>
                <a:gd name="T58" fmla="*/ 347 w 1281"/>
                <a:gd name="T59" fmla="*/ 213 h 1576"/>
                <a:gd name="T60" fmla="*/ 342 w 1281"/>
                <a:gd name="T61" fmla="*/ 216 h 1576"/>
                <a:gd name="T62" fmla="*/ 342 w 1281"/>
                <a:gd name="T63" fmla="*/ 216 h 1576"/>
                <a:gd name="T64" fmla="*/ 337 w 1281"/>
                <a:gd name="T65" fmla="*/ 221 h 1576"/>
                <a:gd name="T66" fmla="*/ 339 w 1281"/>
                <a:gd name="T67" fmla="*/ 228 h 1576"/>
                <a:gd name="T68" fmla="*/ 337 w 1281"/>
                <a:gd name="T69" fmla="*/ 223 h 1576"/>
                <a:gd name="T70" fmla="*/ 337 w 1281"/>
                <a:gd name="T71" fmla="*/ 228 h 1576"/>
                <a:gd name="T72" fmla="*/ 339 w 1281"/>
                <a:gd name="T73" fmla="*/ 230 h 1576"/>
                <a:gd name="T74" fmla="*/ 342 w 1281"/>
                <a:gd name="T75" fmla="*/ 233 h 1576"/>
                <a:gd name="T76" fmla="*/ 344 w 1281"/>
                <a:gd name="T77" fmla="*/ 238 h 1576"/>
                <a:gd name="T78" fmla="*/ 352 w 1281"/>
                <a:gd name="T79" fmla="*/ 240 h 1576"/>
                <a:gd name="T80" fmla="*/ 359 w 1281"/>
                <a:gd name="T81" fmla="*/ 242 h 1576"/>
                <a:gd name="T82" fmla="*/ 368 w 1281"/>
                <a:gd name="T83" fmla="*/ 245 h 1576"/>
                <a:gd name="T84" fmla="*/ 378 w 1281"/>
                <a:gd name="T85" fmla="*/ 247 h 1576"/>
                <a:gd name="T86" fmla="*/ 390 w 1281"/>
                <a:gd name="T87" fmla="*/ 250 h 1576"/>
                <a:gd name="T88" fmla="*/ 400 w 1281"/>
                <a:gd name="T89" fmla="*/ 252 h 1576"/>
                <a:gd name="T90" fmla="*/ 402 w 1281"/>
                <a:gd name="T91" fmla="*/ 310 h 1576"/>
                <a:gd name="T92" fmla="*/ 402 w 1281"/>
                <a:gd name="T93" fmla="*/ 371 h 1576"/>
                <a:gd name="T94" fmla="*/ 402 w 1281"/>
                <a:gd name="T95" fmla="*/ 400 h 1576"/>
                <a:gd name="T96" fmla="*/ 400 w 1281"/>
                <a:gd name="T97" fmla="*/ 1260 h 1576"/>
                <a:gd name="T98" fmla="*/ 90 w 1281"/>
                <a:gd name="T99" fmla="*/ 383 h 1576"/>
                <a:gd name="T100" fmla="*/ 10 w 1281"/>
                <a:gd name="T101" fmla="*/ 1224 h 1576"/>
                <a:gd name="T102" fmla="*/ 1281 w 1281"/>
                <a:gd name="T103" fmla="*/ 1576 h 1576"/>
                <a:gd name="T104" fmla="*/ 352 w 1281"/>
                <a:gd name="T105" fmla="*/ 228 h 1576"/>
                <a:gd name="T106" fmla="*/ 342 w 1281"/>
                <a:gd name="T107" fmla="*/ 225 h 1576"/>
                <a:gd name="T108" fmla="*/ 342 w 1281"/>
                <a:gd name="T109" fmla="*/ 228 h 1576"/>
                <a:gd name="T110" fmla="*/ 410 w 1281"/>
                <a:gd name="T111" fmla="*/ 199 h 1576"/>
                <a:gd name="T112" fmla="*/ 412 w 1281"/>
                <a:gd name="T113" fmla="*/ 206 h 1576"/>
                <a:gd name="T114" fmla="*/ 419 w 1281"/>
                <a:gd name="T115" fmla="*/ 211 h 1576"/>
                <a:gd name="T116" fmla="*/ 427 w 1281"/>
                <a:gd name="T117" fmla="*/ 196 h 1576"/>
                <a:gd name="T118" fmla="*/ 429 w 1281"/>
                <a:gd name="T119" fmla="*/ 204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81" h="1576">
                  <a:moveTo>
                    <a:pt x="1281" y="1017"/>
                  </a:moveTo>
                  <a:lnTo>
                    <a:pt x="1277" y="1022"/>
                  </a:lnTo>
                  <a:lnTo>
                    <a:pt x="1264" y="1032"/>
                  </a:lnTo>
                  <a:lnTo>
                    <a:pt x="1255" y="1044"/>
                  </a:lnTo>
                  <a:lnTo>
                    <a:pt x="1247" y="1059"/>
                  </a:lnTo>
                  <a:lnTo>
                    <a:pt x="1240" y="1073"/>
                  </a:lnTo>
                  <a:lnTo>
                    <a:pt x="1235" y="1090"/>
                  </a:lnTo>
                  <a:lnTo>
                    <a:pt x="1235" y="1102"/>
                  </a:lnTo>
                  <a:lnTo>
                    <a:pt x="1063" y="1102"/>
                  </a:lnTo>
                  <a:lnTo>
                    <a:pt x="1063" y="1107"/>
                  </a:lnTo>
                  <a:lnTo>
                    <a:pt x="1071" y="1107"/>
                  </a:lnTo>
                  <a:lnTo>
                    <a:pt x="1071" y="1134"/>
                  </a:lnTo>
                  <a:lnTo>
                    <a:pt x="1051" y="1134"/>
                  </a:lnTo>
                  <a:lnTo>
                    <a:pt x="1051" y="634"/>
                  </a:lnTo>
                  <a:lnTo>
                    <a:pt x="1010" y="634"/>
                  </a:lnTo>
                  <a:lnTo>
                    <a:pt x="1010" y="602"/>
                  </a:lnTo>
                  <a:lnTo>
                    <a:pt x="925" y="602"/>
                  </a:lnTo>
                  <a:lnTo>
                    <a:pt x="925" y="634"/>
                  </a:lnTo>
                  <a:lnTo>
                    <a:pt x="879" y="634"/>
                  </a:lnTo>
                  <a:lnTo>
                    <a:pt x="879" y="801"/>
                  </a:lnTo>
                  <a:lnTo>
                    <a:pt x="848" y="801"/>
                  </a:lnTo>
                  <a:lnTo>
                    <a:pt x="848" y="825"/>
                  </a:lnTo>
                  <a:lnTo>
                    <a:pt x="831" y="825"/>
                  </a:lnTo>
                  <a:lnTo>
                    <a:pt x="831" y="495"/>
                  </a:lnTo>
                  <a:lnTo>
                    <a:pt x="831" y="306"/>
                  </a:lnTo>
                  <a:lnTo>
                    <a:pt x="872" y="306"/>
                  </a:lnTo>
                  <a:lnTo>
                    <a:pt x="872" y="306"/>
                  </a:lnTo>
                  <a:lnTo>
                    <a:pt x="872" y="306"/>
                  </a:lnTo>
                  <a:lnTo>
                    <a:pt x="882" y="306"/>
                  </a:lnTo>
                  <a:lnTo>
                    <a:pt x="882" y="296"/>
                  </a:lnTo>
                  <a:lnTo>
                    <a:pt x="884" y="296"/>
                  </a:lnTo>
                  <a:lnTo>
                    <a:pt x="887" y="289"/>
                  </a:lnTo>
                  <a:lnTo>
                    <a:pt x="887" y="281"/>
                  </a:lnTo>
                  <a:lnTo>
                    <a:pt x="882" y="281"/>
                  </a:lnTo>
                  <a:lnTo>
                    <a:pt x="882" y="264"/>
                  </a:lnTo>
                  <a:lnTo>
                    <a:pt x="884" y="264"/>
                  </a:lnTo>
                  <a:lnTo>
                    <a:pt x="884" y="262"/>
                  </a:lnTo>
                  <a:lnTo>
                    <a:pt x="884" y="247"/>
                  </a:lnTo>
                  <a:lnTo>
                    <a:pt x="884" y="247"/>
                  </a:lnTo>
                  <a:lnTo>
                    <a:pt x="884" y="245"/>
                  </a:lnTo>
                  <a:lnTo>
                    <a:pt x="884" y="143"/>
                  </a:lnTo>
                  <a:lnTo>
                    <a:pt x="882" y="143"/>
                  </a:lnTo>
                  <a:lnTo>
                    <a:pt x="882" y="89"/>
                  </a:lnTo>
                  <a:lnTo>
                    <a:pt x="879" y="89"/>
                  </a:lnTo>
                  <a:lnTo>
                    <a:pt x="879" y="89"/>
                  </a:lnTo>
                  <a:lnTo>
                    <a:pt x="879" y="111"/>
                  </a:lnTo>
                  <a:lnTo>
                    <a:pt x="877" y="111"/>
                  </a:lnTo>
                  <a:lnTo>
                    <a:pt x="877" y="111"/>
                  </a:lnTo>
                  <a:lnTo>
                    <a:pt x="877" y="143"/>
                  </a:lnTo>
                  <a:lnTo>
                    <a:pt x="877" y="143"/>
                  </a:lnTo>
                  <a:lnTo>
                    <a:pt x="877" y="145"/>
                  </a:lnTo>
                  <a:lnTo>
                    <a:pt x="877" y="150"/>
                  </a:lnTo>
                  <a:lnTo>
                    <a:pt x="795" y="150"/>
                  </a:lnTo>
                  <a:lnTo>
                    <a:pt x="795" y="114"/>
                  </a:lnTo>
                  <a:lnTo>
                    <a:pt x="795" y="111"/>
                  </a:lnTo>
                  <a:lnTo>
                    <a:pt x="792" y="111"/>
                  </a:lnTo>
                  <a:lnTo>
                    <a:pt x="792" y="89"/>
                  </a:lnTo>
                  <a:lnTo>
                    <a:pt x="792" y="89"/>
                  </a:lnTo>
                  <a:lnTo>
                    <a:pt x="790" y="89"/>
                  </a:lnTo>
                  <a:lnTo>
                    <a:pt x="790" y="145"/>
                  </a:lnTo>
                  <a:lnTo>
                    <a:pt x="787" y="145"/>
                  </a:lnTo>
                  <a:lnTo>
                    <a:pt x="787" y="150"/>
                  </a:lnTo>
                  <a:lnTo>
                    <a:pt x="710" y="150"/>
                  </a:lnTo>
                  <a:lnTo>
                    <a:pt x="710" y="114"/>
                  </a:lnTo>
                  <a:lnTo>
                    <a:pt x="710" y="114"/>
                  </a:lnTo>
                  <a:lnTo>
                    <a:pt x="705" y="114"/>
                  </a:lnTo>
                  <a:lnTo>
                    <a:pt x="705" y="145"/>
                  </a:lnTo>
                  <a:lnTo>
                    <a:pt x="705" y="145"/>
                  </a:lnTo>
                  <a:lnTo>
                    <a:pt x="705" y="89"/>
                  </a:lnTo>
                  <a:lnTo>
                    <a:pt x="703" y="89"/>
                  </a:lnTo>
                  <a:lnTo>
                    <a:pt x="700" y="89"/>
                  </a:lnTo>
                  <a:lnTo>
                    <a:pt x="700" y="145"/>
                  </a:lnTo>
                  <a:lnTo>
                    <a:pt x="698" y="145"/>
                  </a:lnTo>
                  <a:lnTo>
                    <a:pt x="698" y="150"/>
                  </a:lnTo>
                  <a:lnTo>
                    <a:pt x="623" y="153"/>
                  </a:lnTo>
                  <a:lnTo>
                    <a:pt x="623" y="114"/>
                  </a:lnTo>
                  <a:lnTo>
                    <a:pt x="623" y="114"/>
                  </a:lnTo>
                  <a:lnTo>
                    <a:pt x="618" y="114"/>
                  </a:lnTo>
                  <a:lnTo>
                    <a:pt x="618" y="153"/>
                  </a:lnTo>
                  <a:lnTo>
                    <a:pt x="615" y="153"/>
                  </a:lnTo>
                  <a:lnTo>
                    <a:pt x="615" y="148"/>
                  </a:lnTo>
                  <a:lnTo>
                    <a:pt x="615" y="145"/>
                  </a:lnTo>
                  <a:lnTo>
                    <a:pt x="615" y="145"/>
                  </a:lnTo>
                  <a:lnTo>
                    <a:pt x="615" y="92"/>
                  </a:lnTo>
                  <a:lnTo>
                    <a:pt x="615" y="89"/>
                  </a:lnTo>
                  <a:lnTo>
                    <a:pt x="611" y="89"/>
                  </a:lnTo>
                  <a:lnTo>
                    <a:pt x="611" y="145"/>
                  </a:lnTo>
                  <a:lnTo>
                    <a:pt x="608" y="145"/>
                  </a:lnTo>
                  <a:lnTo>
                    <a:pt x="608" y="153"/>
                  </a:lnTo>
                  <a:lnTo>
                    <a:pt x="536" y="153"/>
                  </a:lnTo>
                  <a:lnTo>
                    <a:pt x="536" y="114"/>
                  </a:lnTo>
                  <a:lnTo>
                    <a:pt x="536" y="114"/>
                  </a:lnTo>
                  <a:lnTo>
                    <a:pt x="533" y="114"/>
                  </a:lnTo>
                  <a:lnTo>
                    <a:pt x="533" y="153"/>
                  </a:lnTo>
                  <a:lnTo>
                    <a:pt x="528" y="153"/>
                  </a:lnTo>
                  <a:lnTo>
                    <a:pt x="528" y="148"/>
                  </a:lnTo>
                  <a:lnTo>
                    <a:pt x="526" y="145"/>
                  </a:lnTo>
                  <a:lnTo>
                    <a:pt x="526" y="145"/>
                  </a:lnTo>
                  <a:lnTo>
                    <a:pt x="526" y="2"/>
                  </a:lnTo>
                  <a:lnTo>
                    <a:pt x="526" y="0"/>
                  </a:lnTo>
                  <a:lnTo>
                    <a:pt x="521" y="0"/>
                  </a:lnTo>
                  <a:lnTo>
                    <a:pt x="521" y="92"/>
                  </a:lnTo>
                  <a:lnTo>
                    <a:pt x="521" y="92"/>
                  </a:lnTo>
                  <a:lnTo>
                    <a:pt x="521" y="145"/>
                  </a:lnTo>
                  <a:lnTo>
                    <a:pt x="521" y="145"/>
                  </a:lnTo>
                  <a:lnTo>
                    <a:pt x="521" y="187"/>
                  </a:lnTo>
                  <a:lnTo>
                    <a:pt x="511" y="189"/>
                  </a:lnTo>
                  <a:lnTo>
                    <a:pt x="511" y="189"/>
                  </a:lnTo>
                  <a:lnTo>
                    <a:pt x="509" y="189"/>
                  </a:lnTo>
                  <a:lnTo>
                    <a:pt x="499" y="189"/>
                  </a:lnTo>
                  <a:lnTo>
                    <a:pt x="490" y="189"/>
                  </a:lnTo>
                  <a:lnTo>
                    <a:pt x="490" y="189"/>
                  </a:lnTo>
                  <a:lnTo>
                    <a:pt x="487" y="189"/>
                  </a:lnTo>
                  <a:lnTo>
                    <a:pt x="477" y="189"/>
                  </a:lnTo>
                  <a:lnTo>
                    <a:pt x="468" y="191"/>
                  </a:lnTo>
                  <a:lnTo>
                    <a:pt x="468" y="191"/>
                  </a:lnTo>
                  <a:lnTo>
                    <a:pt x="465" y="191"/>
                  </a:lnTo>
                  <a:lnTo>
                    <a:pt x="465" y="191"/>
                  </a:lnTo>
                  <a:lnTo>
                    <a:pt x="456" y="191"/>
                  </a:lnTo>
                  <a:lnTo>
                    <a:pt x="448" y="191"/>
                  </a:lnTo>
                  <a:lnTo>
                    <a:pt x="448" y="191"/>
                  </a:lnTo>
                  <a:lnTo>
                    <a:pt x="446" y="191"/>
                  </a:lnTo>
                  <a:lnTo>
                    <a:pt x="439" y="194"/>
                  </a:lnTo>
                  <a:lnTo>
                    <a:pt x="429" y="194"/>
                  </a:lnTo>
                  <a:lnTo>
                    <a:pt x="429" y="194"/>
                  </a:lnTo>
                  <a:lnTo>
                    <a:pt x="429" y="194"/>
                  </a:lnTo>
                  <a:lnTo>
                    <a:pt x="419" y="196"/>
                  </a:lnTo>
                  <a:lnTo>
                    <a:pt x="412" y="196"/>
                  </a:lnTo>
                  <a:lnTo>
                    <a:pt x="412" y="196"/>
                  </a:lnTo>
                  <a:lnTo>
                    <a:pt x="412" y="196"/>
                  </a:lnTo>
                  <a:lnTo>
                    <a:pt x="412" y="196"/>
                  </a:lnTo>
                  <a:lnTo>
                    <a:pt x="412" y="196"/>
                  </a:lnTo>
                  <a:lnTo>
                    <a:pt x="405" y="199"/>
                  </a:lnTo>
                  <a:lnTo>
                    <a:pt x="398" y="199"/>
                  </a:lnTo>
                  <a:lnTo>
                    <a:pt x="395" y="199"/>
                  </a:lnTo>
                  <a:lnTo>
                    <a:pt x="390" y="201"/>
                  </a:lnTo>
                  <a:lnTo>
                    <a:pt x="383" y="201"/>
                  </a:lnTo>
                  <a:lnTo>
                    <a:pt x="383" y="201"/>
                  </a:lnTo>
                  <a:lnTo>
                    <a:pt x="376" y="204"/>
                  </a:lnTo>
                  <a:lnTo>
                    <a:pt x="366" y="206"/>
                  </a:lnTo>
                  <a:lnTo>
                    <a:pt x="356" y="208"/>
                  </a:lnTo>
                  <a:lnTo>
                    <a:pt x="354" y="208"/>
                  </a:lnTo>
                  <a:lnTo>
                    <a:pt x="354" y="208"/>
                  </a:lnTo>
                  <a:lnTo>
                    <a:pt x="354" y="208"/>
                  </a:lnTo>
                  <a:lnTo>
                    <a:pt x="354" y="208"/>
                  </a:lnTo>
                  <a:lnTo>
                    <a:pt x="354" y="208"/>
                  </a:lnTo>
                  <a:lnTo>
                    <a:pt x="349" y="211"/>
                  </a:lnTo>
                  <a:lnTo>
                    <a:pt x="349" y="211"/>
                  </a:lnTo>
                  <a:lnTo>
                    <a:pt x="347" y="213"/>
                  </a:lnTo>
                  <a:lnTo>
                    <a:pt x="347" y="213"/>
                  </a:lnTo>
                  <a:lnTo>
                    <a:pt x="347" y="213"/>
                  </a:lnTo>
                  <a:lnTo>
                    <a:pt x="344" y="213"/>
                  </a:lnTo>
                  <a:lnTo>
                    <a:pt x="342" y="216"/>
                  </a:lnTo>
                  <a:lnTo>
                    <a:pt x="342" y="216"/>
                  </a:lnTo>
                  <a:lnTo>
                    <a:pt x="342" y="216"/>
                  </a:lnTo>
                  <a:lnTo>
                    <a:pt x="339" y="218"/>
                  </a:lnTo>
                  <a:lnTo>
                    <a:pt x="339" y="218"/>
                  </a:lnTo>
                  <a:lnTo>
                    <a:pt x="339" y="218"/>
                  </a:lnTo>
                  <a:lnTo>
                    <a:pt x="342" y="216"/>
                  </a:lnTo>
                  <a:lnTo>
                    <a:pt x="342" y="216"/>
                  </a:lnTo>
                  <a:lnTo>
                    <a:pt x="342" y="216"/>
                  </a:lnTo>
                  <a:lnTo>
                    <a:pt x="339" y="218"/>
                  </a:lnTo>
                  <a:lnTo>
                    <a:pt x="339" y="218"/>
                  </a:lnTo>
                  <a:lnTo>
                    <a:pt x="337" y="221"/>
                  </a:lnTo>
                  <a:lnTo>
                    <a:pt x="337" y="221"/>
                  </a:lnTo>
                  <a:lnTo>
                    <a:pt x="337" y="223"/>
                  </a:lnTo>
                  <a:lnTo>
                    <a:pt x="337" y="223"/>
                  </a:lnTo>
                  <a:lnTo>
                    <a:pt x="337" y="225"/>
                  </a:lnTo>
                  <a:lnTo>
                    <a:pt x="337" y="225"/>
                  </a:lnTo>
                  <a:lnTo>
                    <a:pt x="339" y="228"/>
                  </a:lnTo>
                  <a:lnTo>
                    <a:pt x="337" y="225"/>
                  </a:lnTo>
                  <a:lnTo>
                    <a:pt x="337" y="225"/>
                  </a:lnTo>
                  <a:lnTo>
                    <a:pt x="337" y="223"/>
                  </a:lnTo>
                  <a:lnTo>
                    <a:pt x="337" y="223"/>
                  </a:lnTo>
                  <a:lnTo>
                    <a:pt x="337" y="223"/>
                  </a:lnTo>
                  <a:lnTo>
                    <a:pt x="337" y="223"/>
                  </a:lnTo>
                  <a:lnTo>
                    <a:pt x="337" y="223"/>
                  </a:lnTo>
                  <a:lnTo>
                    <a:pt x="337" y="225"/>
                  </a:lnTo>
                  <a:lnTo>
                    <a:pt x="337" y="225"/>
                  </a:lnTo>
                  <a:lnTo>
                    <a:pt x="337" y="228"/>
                  </a:lnTo>
                  <a:lnTo>
                    <a:pt x="337" y="228"/>
                  </a:lnTo>
                  <a:lnTo>
                    <a:pt x="337" y="228"/>
                  </a:lnTo>
                  <a:lnTo>
                    <a:pt x="337" y="228"/>
                  </a:lnTo>
                  <a:lnTo>
                    <a:pt x="337" y="230"/>
                  </a:lnTo>
                  <a:lnTo>
                    <a:pt x="339" y="230"/>
                  </a:lnTo>
                  <a:lnTo>
                    <a:pt x="339" y="233"/>
                  </a:lnTo>
                  <a:lnTo>
                    <a:pt x="339" y="233"/>
                  </a:lnTo>
                  <a:lnTo>
                    <a:pt x="339" y="233"/>
                  </a:lnTo>
                  <a:lnTo>
                    <a:pt x="339" y="233"/>
                  </a:lnTo>
                  <a:lnTo>
                    <a:pt x="342" y="233"/>
                  </a:lnTo>
                  <a:lnTo>
                    <a:pt x="342" y="235"/>
                  </a:lnTo>
                  <a:lnTo>
                    <a:pt x="342" y="235"/>
                  </a:lnTo>
                  <a:lnTo>
                    <a:pt x="344" y="238"/>
                  </a:lnTo>
                  <a:lnTo>
                    <a:pt x="344" y="238"/>
                  </a:lnTo>
                  <a:lnTo>
                    <a:pt x="344" y="238"/>
                  </a:lnTo>
                  <a:lnTo>
                    <a:pt x="347" y="238"/>
                  </a:lnTo>
                  <a:lnTo>
                    <a:pt x="347" y="238"/>
                  </a:lnTo>
                  <a:lnTo>
                    <a:pt x="349" y="238"/>
                  </a:lnTo>
                  <a:lnTo>
                    <a:pt x="352" y="240"/>
                  </a:lnTo>
                  <a:lnTo>
                    <a:pt x="352" y="240"/>
                  </a:lnTo>
                  <a:lnTo>
                    <a:pt x="352" y="240"/>
                  </a:lnTo>
                  <a:lnTo>
                    <a:pt x="352" y="240"/>
                  </a:lnTo>
                  <a:lnTo>
                    <a:pt x="352" y="240"/>
                  </a:lnTo>
                  <a:lnTo>
                    <a:pt x="356" y="242"/>
                  </a:lnTo>
                  <a:lnTo>
                    <a:pt x="359" y="242"/>
                  </a:lnTo>
                  <a:lnTo>
                    <a:pt x="359" y="242"/>
                  </a:lnTo>
                  <a:lnTo>
                    <a:pt x="359" y="242"/>
                  </a:lnTo>
                  <a:lnTo>
                    <a:pt x="359" y="242"/>
                  </a:lnTo>
                  <a:lnTo>
                    <a:pt x="364" y="245"/>
                  </a:lnTo>
                  <a:lnTo>
                    <a:pt x="368" y="245"/>
                  </a:lnTo>
                  <a:lnTo>
                    <a:pt x="368" y="245"/>
                  </a:lnTo>
                  <a:lnTo>
                    <a:pt x="368" y="245"/>
                  </a:lnTo>
                  <a:lnTo>
                    <a:pt x="368" y="245"/>
                  </a:lnTo>
                  <a:lnTo>
                    <a:pt x="373" y="247"/>
                  </a:lnTo>
                  <a:lnTo>
                    <a:pt x="378" y="247"/>
                  </a:lnTo>
                  <a:lnTo>
                    <a:pt x="378" y="247"/>
                  </a:lnTo>
                  <a:lnTo>
                    <a:pt x="381" y="247"/>
                  </a:lnTo>
                  <a:lnTo>
                    <a:pt x="381" y="247"/>
                  </a:lnTo>
                  <a:lnTo>
                    <a:pt x="385" y="250"/>
                  </a:lnTo>
                  <a:lnTo>
                    <a:pt x="390" y="250"/>
                  </a:lnTo>
                  <a:lnTo>
                    <a:pt x="390" y="250"/>
                  </a:lnTo>
                  <a:lnTo>
                    <a:pt x="393" y="250"/>
                  </a:lnTo>
                  <a:lnTo>
                    <a:pt x="393" y="250"/>
                  </a:lnTo>
                  <a:lnTo>
                    <a:pt x="398" y="252"/>
                  </a:lnTo>
                  <a:lnTo>
                    <a:pt x="400" y="252"/>
                  </a:lnTo>
                  <a:lnTo>
                    <a:pt x="460" y="262"/>
                  </a:lnTo>
                  <a:lnTo>
                    <a:pt x="460" y="301"/>
                  </a:lnTo>
                  <a:lnTo>
                    <a:pt x="436" y="303"/>
                  </a:lnTo>
                  <a:lnTo>
                    <a:pt x="417" y="308"/>
                  </a:lnTo>
                  <a:lnTo>
                    <a:pt x="402" y="310"/>
                  </a:lnTo>
                  <a:lnTo>
                    <a:pt x="398" y="315"/>
                  </a:lnTo>
                  <a:lnTo>
                    <a:pt x="398" y="337"/>
                  </a:lnTo>
                  <a:lnTo>
                    <a:pt x="402" y="342"/>
                  </a:lnTo>
                  <a:lnTo>
                    <a:pt x="402" y="342"/>
                  </a:lnTo>
                  <a:lnTo>
                    <a:pt x="402" y="371"/>
                  </a:lnTo>
                  <a:lnTo>
                    <a:pt x="398" y="374"/>
                  </a:lnTo>
                  <a:lnTo>
                    <a:pt x="398" y="376"/>
                  </a:lnTo>
                  <a:lnTo>
                    <a:pt x="402" y="381"/>
                  </a:lnTo>
                  <a:lnTo>
                    <a:pt x="402" y="381"/>
                  </a:lnTo>
                  <a:lnTo>
                    <a:pt x="402" y="400"/>
                  </a:lnTo>
                  <a:lnTo>
                    <a:pt x="398" y="403"/>
                  </a:lnTo>
                  <a:lnTo>
                    <a:pt x="398" y="412"/>
                  </a:lnTo>
                  <a:lnTo>
                    <a:pt x="402" y="417"/>
                  </a:lnTo>
                  <a:lnTo>
                    <a:pt x="402" y="417"/>
                  </a:lnTo>
                  <a:lnTo>
                    <a:pt x="400" y="1260"/>
                  </a:lnTo>
                  <a:lnTo>
                    <a:pt x="378" y="1260"/>
                  </a:lnTo>
                  <a:lnTo>
                    <a:pt x="376" y="415"/>
                  </a:lnTo>
                  <a:lnTo>
                    <a:pt x="315" y="415"/>
                  </a:lnTo>
                  <a:lnTo>
                    <a:pt x="315" y="383"/>
                  </a:lnTo>
                  <a:lnTo>
                    <a:pt x="90" y="383"/>
                  </a:lnTo>
                  <a:lnTo>
                    <a:pt x="75" y="415"/>
                  </a:lnTo>
                  <a:lnTo>
                    <a:pt x="42" y="415"/>
                  </a:lnTo>
                  <a:lnTo>
                    <a:pt x="17" y="473"/>
                  </a:lnTo>
                  <a:lnTo>
                    <a:pt x="17" y="1224"/>
                  </a:lnTo>
                  <a:lnTo>
                    <a:pt x="10" y="1224"/>
                  </a:lnTo>
                  <a:lnTo>
                    <a:pt x="10" y="1221"/>
                  </a:lnTo>
                  <a:lnTo>
                    <a:pt x="5" y="1219"/>
                  </a:lnTo>
                  <a:lnTo>
                    <a:pt x="0" y="1219"/>
                  </a:lnTo>
                  <a:lnTo>
                    <a:pt x="0" y="1576"/>
                  </a:lnTo>
                  <a:lnTo>
                    <a:pt x="1281" y="1576"/>
                  </a:lnTo>
                  <a:lnTo>
                    <a:pt x="1281" y="1017"/>
                  </a:lnTo>
                  <a:close/>
                  <a:moveTo>
                    <a:pt x="342" y="225"/>
                  </a:moveTo>
                  <a:lnTo>
                    <a:pt x="344" y="225"/>
                  </a:lnTo>
                  <a:lnTo>
                    <a:pt x="344" y="225"/>
                  </a:lnTo>
                  <a:lnTo>
                    <a:pt x="352" y="228"/>
                  </a:lnTo>
                  <a:lnTo>
                    <a:pt x="344" y="225"/>
                  </a:lnTo>
                  <a:lnTo>
                    <a:pt x="344" y="225"/>
                  </a:lnTo>
                  <a:lnTo>
                    <a:pt x="342" y="225"/>
                  </a:lnTo>
                  <a:lnTo>
                    <a:pt x="342" y="223"/>
                  </a:lnTo>
                  <a:lnTo>
                    <a:pt x="342" y="225"/>
                  </a:lnTo>
                  <a:close/>
                  <a:moveTo>
                    <a:pt x="342" y="228"/>
                  </a:moveTo>
                  <a:lnTo>
                    <a:pt x="342" y="228"/>
                  </a:lnTo>
                  <a:lnTo>
                    <a:pt x="339" y="228"/>
                  </a:lnTo>
                  <a:lnTo>
                    <a:pt x="342" y="228"/>
                  </a:lnTo>
                  <a:lnTo>
                    <a:pt x="342" y="228"/>
                  </a:lnTo>
                  <a:lnTo>
                    <a:pt x="361" y="233"/>
                  </a:lnTo>
                  <a:lnTo>
                    <a:pt x="342" y="228"/>
                  </a:lnTo>
                  <a:close/>
                  <a:moveTo>
                    <a:pt x="410" y="199"/>
                  </a:moveTo>
                  <a:lnTo>
                    <a:pt x="410" y="201"/>
                  </a:lnTo>
                  <a:lnTo>
                    <a:pt x="410" y="199"/>
                  </a:lnTo>
                  <a:lnTo>
                    <a:pt x="410" y="199"/>
                  </a:lnTo>
                  <a:lnTo>
                    <a:pt x="410" y="199"/>
                  </a:lnTo>
                  <a:close/>
                  <a:moveTo>
                    <a:pt x="414" y="208"/>
                  </a:moveTo>
                  <a:lnTo>
                    <a:pt x="412" y="206"/>
                  </a:lnTo>
                  <a:lnTo>
                    <a:pt x="412" y="206"/>
                  </a:lnTo>
                  <a:lnTo>
                    <a:pt x="412" y="206"/>
                  </a:lnTo>
                  <a:lnTo>
                    <a:pt x="412" y="206"/>
                  </a:lnTo>
                  <a:lnTo>
                    <a:pt x="412" y="206"/>
                  </a:lnTo>
                  <a:lnTo>
                    <a:pt x="414" y="208"/>
                  </a:lnTo>
                  <a:lnTo>
                    <a:pt x="419" y="211"/>
                  </a:lnTo>
                  <a:lnTo>
                    <a:pt x="414" y="208"/>
                  </a:lnTo>
                  <a:close/>
                  <a:moveTo>
                    <a:pt x="427" y="199"/>
                  </a:moveTo>
                  <a:lnTo>
                    <a:pt x="427" y="196"/>
                  </a:lnTo>
                  <a:lnTo>
                    <a:pt x="429" y="196"/>
                  </a:lnTo>
                  <a:lnTo>
                    <a:pt x="427" y="196"/>
                  </a:lnTo>
                  <a:lnTo>
                    <a:pt x="427" y="199"/>
                  </a:lnTo>
                  <a:close/>
                  <a:moveTo>
                    <a:pt x="429" y="206"/>
                  </a:moveTo>
                  <a:lnTo>
                    <a:pt x="429" y="204"/>
                  </a:lnTo>
                  <a:lnTo>
                    <a:pt x="429" y="204"/>
                  </a:lnTo>
                  <a:lnTo>
                    <a:pt x="429" y="204"/>
                  </a:lnTo>
                  <a:lnTo>
                    <a:pt x="429" y="206"/>
                  </a:lnTo>
                  <a:lnTo>
                    <a:pt x="431" y="206"/>
                  </a:lnTo>
                  <a:lnTo>
                    <a:pt x="429" y="206"/>
                  </a:lnTo>
                  <a:close/>
                </a:path>
              </a:pathLst>
            </a:custGeom>
            <a:solidFill>
              <a:schemeClr val="accent5">
                <a:lumMod val="75000"/>
              </a:schemeClr>
            </a:solidFill>
            <a:ln>
              <a:noFill/>
            </a:ln>
          </p:spPr>
          <p:txBody>
            <a:bodyPr lIns="68580" tIns="34290" rIns="68580" bIns="34290"/>
            <a:lstStyle/>
            <a:p>
              <a:pPr eaLnBrk="1" fontAlgn="auto" hangingPunct="1">
                <a:spcBef>
                  <a:spcPts val="0"/>
                </a:spcBef>
                <a:spcAft>
                  <a:spcPts val="0"/>
                </a:spcAft>
                <a:defRPr/>
              </a:pPr>
              <a:endParaRPr lang="id-ID" sz="1350">
                <a:latin typeface="+mn-lt"/>
              </a:endParaRPr>
            </a:p>
          </p:txBody>
        </p:sp>
        <p:sp>
          <p:nvSpPr>
            <p:cNvPr id="22575" name="TextBox 17">
              <a:extLst>
                <a:ext uri="{FF2B5EF4-FFF2-40B4-BE49-F238E27FC236}">
                  <a16:creationId xmlns:a16="http://schemas.microsoft.com/office/drawing/2014/main" id="{CD3F5773-AA02-FA21-A86C-1CA5C2BDF140}"/>
                </a:ext>
              </a:extLst>
            </p:cNvPr>
            <p:cNvSpPr txBox="1">
              <a:spLocks noChangeArrowheads="1"/>
            </p:cNvSpPr>
            <p:nvPr/>
          </p:nvSpPr>
          <p:spPr bwMode="auto">
            <a:xfrm>
              <a:off x="7223312" y="2181743"/>
              <a:ext cx="180638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ctr" eaLnBrk="1" hangingPunct="1">
                <a:lnSpc>
                  <a:spcPct val="100000"/>
                </a:lnSpc>
                <a:spcBef>
                  <a:spcPct val="0"/>
                </a:spcBef>
                <a:buFontTx/>
                <a:buNone/>
              </a:pPr>
              <a:r>
                <a:rPr lang="id-ID" altLang="tr-TR" sz="3000" b="1">
                  <a:solidFill>
                    <a:schemeClr val="bg1"/>
                  </a:solidFill>
                  <a:latin typeface="Open Sans" panose="020B0606030504020204" pitchFamily="34" charset="0"/>
                  <a:cs typeface="Open Sans" panose="020B0606030504020204" pitchFamily="34" charset="0"/>
                </a:rPr>
                <a:t>20</a:t>
              </a:r>
              <a:r>
                <a:rPr lang="tr-TR" altLang="tr-TR" sz="3000" b="1">
                  <a:solidFill>
                    <a:schemeClr val="bg1"/>
                  </a:solidFill>
                  <a:latin typeface="Open Sans" panose="020B0606030504020204" pitchFamily="34" charset="0"/>
                  <a:cs typeface="Open Sans" panose="020B0606030504020204" pitchFamily="34" charset="0"/>
                </a:rPr>
                <a:t>10</a:t>
              </a:r>
              <a:endParaRPr lang="id-ID" altLang="tr-TR" sz="3000" b="1">
                <a:solidFill>
                  <a:schemeClr val="bg1"/>
                </a:solidFill>
                <a:latin typeface="Open Sans" panose="020B0606030504020204" pitchFamily="34" charset="0"/>
                <a:cs typeface="Open Sans" panose="020B0606030504020204" pitchFamily="34" charset="0"/>
              </a:endParaRPr>
            </a:p>
          </p:txBody>
        </p:sp>
      </p:grpSp>
      <p:grpSp>
        <p:nvGrpSpPr>
          <p:cNvPr id="15" name="Grup 14">
            <a:extLst>
              <a:ext uri="{FF2B5EF4-FFF2-40B4-BE49-F238E27FC236}">
                <a16:creationId xmlns:a16="http://schemas.microsoft.com/office/drawing/2014/main" id="{428E2038-8186-C3D3-8493-FB9A3BD17CD1}"/>
              </a:ext>
            </a:extLst>
          </p:cNvPr>
          <p:cNvGrpSpPr>
            <a:grpSpLocks/>
          </p:cNvGrpSpPr>
          <p:nvPr/>
        </p:nvGrpSpPr>
        <p:grpSpPr bwMode="auto">
          <a:xfrm>
            <a:off x="-1588" y="0"/>
            <a:ext cx="2154238" cy="6858000"/>
            <a:chOff x="-21062" y="0"/>
            <a:chExt cx="2154661" cy="6858000"/>
          </a:xfrm>
        </p:grpSpPr>
        <p:sp>
          <p:nvSpPr>
            <p:cNvPr id="6" name="Rectangle 5">
              <a:extLst>
                <a:ext uri="{FF2B5EF4-FFF2-40B4-BE49-F238E27FC236}">
                  <a16:creationId xmlns:a16="http://schemas.microsoft.com/office/drawing/2014/main" id="{7E4EBCF0-5250-70C4-D4CC-06110864A8E3}"/>
                </a:ext>
              </a:extLst>
            </p:cNvPr>
            <p:cNvSpPr/>
            <p:nvPr/>
          </p:nvSpPr>
          <p:spPr>
            <a:xfrm>
              <a:off x="-19474" y="0"/>
              <a:ext cx="21530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d-ID" sz="1350"/>
            </a:p>
          </p:txBody>
        </p:sp>
        <p:sp>
          <p:nvSpPr>
            <p:cNvPr id="32" name="Rectangle 31">
              <a:extLst>
                <a:ext uri="{FF2B5EF4-FFF2-40B4-BE49-F238E27FC236}">
                  <a16:creationId xmlns:a16="http://schemas.microsoft.com/office/drawing/2014/main" id="{8AE0CF04-470F-A273-7F95-68FF00693972}"/>
                </a:ext>
              </a:extLst>
            </p:cNvPr>
            <p:cNvSpPr/>
            <p:nvPr/>
          </p:nvSpPr>
          <p:spPr>
            <a:xfrm>
              <a:off x="-19474" y="3559175"/>
              <a:ext cx="2153073" cy="329882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d-ID" sz="1350"/>
            </a:p>
          </p:txBody>
        </p:sp>
        <p:sp>
          <p:nvSpPr>
            <p:cNvPr id="31" name="Freeform 18">
              <a:extLst>
                <a:ext uri="{FF2B5EF4-FFF2-40B4-BE49-F238E27FC236}">
                  <a16:creationId xmlns:a16="http://schemas.microsoft.com/office/drawing/2014/main" id="{BF1C1035-9634-BD47-4F90-86DA7D5566DD}"/>
                </a:ext>
              </a:extLst>
            </p:cNvPr>
            <p:cNvSpPr>
              <a:spLocks noEditPoints="1"/>
            </p:cNvSpPr>
            <p:nvPr/>
          </p:nvSpPr>
          <p:spPr bwMode="auto">
            <a:xfrm>
              <a:off x="-17885" y="1939925"/>
              <a:ext cx="2151484" cy="1992313"/>
            </a:xfrm>
            <a:custGeom>
              <a:avLst/>
              <a:gdLst>
                <a:gd name="T0" fmla="*/ 933 w 1279"/>
                <a:gd name="T1" fmla="*/ 988 h 1671"/>
                <a:gd name="T2" fmla="*/ 712 w 1279"/>
                <a:gd name="T3" fmla="*/ 933 h 1671"/>
                <a:gd name="T4" fmla="*/ 577 w 1279"/>
                <a:gd name="T5" fmla="*/ 1207 h 1671"/>
                <a:gd name="T6" fmla="*/ 303 w 1279"/>
                <a:gd name="T7" fmla="*/ 1336 h 1671"/>
                <a:gd name="T8" fmla="*/ 230 w 1279"/>
                <a:gd name="T9" fmla="*/ 517 h 1671"/>
                <a:gd name="T10" fmla="*/ 194 w 1279"/>
                <a:gd name="T11" fmla="*/ 505 h 1671"/>
                <a:gd name="T12" fmla="*/ 240 w 1279"/>
                <a:gd name="T13" fmla="*/ 498 h 1671"/>
                <a:gd name="T14" fmla="*/ 211 w 1279"/>
                <a:gd name="T15" fmla="*/ 486 h 1671"/>
                <a:gd name="T16" fmla="*/ 194 w 1279"/>
                <a:gd name="T17" fmla="*/ 481 h 1671"/>
                <a:gd name="T18" fmla="*/ 192 w 1279"/>
                <a:gd name="T19" fmla="*/ 432 h 1671"/>
                <a:gd name="T20" fmla="*/ 182 w 1279"/>
                <a:gd name="T21" fmla="*/ 427 h 1671"/>
                <a:gd name="T22" fmla="*/ 204 w 1279"/>
                <a:gd name="T23" fmla="*/ 425 h 1671"/>
                <a:gd name="T24" fmla="*/ 218 w 1279"/>
                <a:gd name="T25" fmla="*/ 425 h 1671"/>
                <a:gd name="T26" fmla="*/ 233 w 1279"/>
                <a:gd name="T27" fmla="*/ 418 h 1671"/>
                <a:gd name="T28" fmla="*/ 235 w 1279"/>
                <a:gd name="T29" fmla="*/ 410 h 1671"/>
                <a:gd name="T30" fmla="*/ 189 w 1279"/>
                <a:gd name="T31" fmla="*/ 398 h 1671"/>
                <a:gd name="T32" fmla="*/ 172 w 1279"/>
                <a:gd name="T33" fmla="*/ 379 h 1671"/>
                <a:gd name="T34" fmla="*/ 168 w 1279"/>
                <a:gd name="T35" fmla="*/ 245 h 1671"/>
                <a:gd name="T36" fmla="*/ 163 w 1279"/>
                <a:gd name="T37" fmla="*/ 146 h 1671"/>
                <a:gd name="T38" fmla="*/ 158 w 1279"/>
                <a:gd name="T39" fmla="*/ 63 h 1671"/>
                <a:gd name="T40" fmla="*/ 155 w 1279"/>
                <a:gd name="T41" fmla="*/ 0 h 1671"/>
                <a:gd name="T42" fmla="*/ 153 w 1279"/>
                <a:gd name="T43" fmla="*/ 0 h 1671"/>
                <a:gd name="T44" fmla="*/ 151 w 1279"/>
                <a:gd name="T45" fmla="*/ 65 h 1671"/>
                <a:gd name="T46" fmla="*/ 148 w 1279"/>
                <a:gd name="T47" fmla="*/ 146 h 1671"/>
                <a:gd name="T48" fmla="*/ 146 w 1279"/>
                <a:gd name="T49" fmla="*/ 374 h 1671"/>
                <a:gd name="T50" fmla="*/ 138 w 1279"/>
                <a:gd name="T51" fmla="*/ 386 h 1671"/>
                <a:gd name="T52" fmla="*/ 117 w 1279"/>
                <a:gd name="T53" fmla="*/ 401 h 1671"/>
                <a:gd name="T54" fmla="*/ 80 w 1279"/>
                <a:gd name="T55" fmla="*/ 418 h 1671"/>
                <a:gd name="T56" fmla="*/ 95 w 1279"/>
                <a:gd name="T57" fmla="*/ 425 h 1671"/>
                <a:gd name="T58" fmla="*/ 112 w 1279"/>
                <a:gd name="T59" fmla="*/ 427 h 1671"/>
                <a:gd name="T60" fmla="*/ 129 w 1279"/>
                <a:gd name="T61" fmla="*/ 427 h 1671"/>
                <a:gd name="T62" fmla="*/ 119 w 1279"/>
                <a:gd name="T63" fmla="*/ 439 h 1671"/>
                <a:gd name="T64" fmla="*/ 121 w 1279"/>
                <a:gd name="T65" fmla="*/ 481 h 1671"/>
                <a:gd name="T66" fmla="*/ 100 w 1279"/>
                <a:gd name="T67" fmla="*/ 486 h 1671"/>
                <a:gd name="T68" fmla="*/ 75 w 1279"/>
                <a:gd name="T69" fmla="*/ 498 h 1671"/>
                <a:gd name="T70" fmla="*/ 121 w 1279"/>
                <a:gd name="T71" fmla="*/ 507 h 1671"/>
                <a:gd name="T72" fmla="*/ 85 w 1279"/>
                <a:gd name="T73" fmla="*/ 520 h 1671"/>
                <a:gd name="T74" fmla="*/ 27 w 1279"/>
                <a:gd name="T75" fmla="*/ 1333 h 1671"/>
                <a:gd name="T76" fmla="*/ 126 w 1279"/>
                <a:gd name="T77" fmla="*/ 498 h 1671"/>
                <a:gd name="T78" fmla="*/ 121 w 1279"/>
                <a:gd name="T79" fmla="*/ 498 h 1671"/>
                <a:gd name="T80" fmla="*/ 121 w 1279"/>
                <a:gd name="T81" fmla="*/ 568 h 1671"/>
                <a:gd name="T82" fmla="*/ 119 w 1279"/>
                <a:gd name="T83" fmla="*/ 656 h 1671"/>
                <a:gd name="T84" fmla="*/ 138 w 1279"/>
                <a:gd name="T85" fmla="*/ 799 h 1671"/>
                <a:gd name="T86" fmla="*/ 124 w 1279"/>
                <a:gd name="T87" fmla="*/ 814 h 1671"/>
                <a:gd name="T88" fmla="*/ 119 w 1279"/>
                <a:gd name="T89" fmla="*/ 937 h 1671"/>
                <a:gd name="T90" fmla="*/ 141 w 1279"/>
                <a:gd name="T91" fmla="*/ 1071 h 1671"/>
                <a:gd name="T92" fmla="*/ 121 w 1279"/>
                <a:gd name="T93" fmla="*/ 1188 h 1671"/>
                <a:gd name="T94" fmla="*/ 129 w 1279"/>
                <a:gd name="T95" fmla="*/ 1185 h 1671"/>
                <a:gd name="T96" fmla="*/ 182 w 1279"/>
                <a:gd name="T97" fmla="*/ 656 h 1671"/>
                <a:gd name="T98" fmla="*/ 189 w 1279"/>
                <a:gd name="T99" fmla="*/ 799 h 1671"/>
                <a:gd name="T100" fmla="*/ 199 w 1279"/>
                <a:gd name="T101" fmla="*/ 937 h 1671"/>
                <a:gd name="T102" fmla="*/ 199 w 1279"/>
                <a:gd name="T103" fmla="*/ 957 h 1671"/>
                <a:gd name="T104" fmla="*/ 184 w 1279"/>
                <a:gd name="T105" fmla="*/ 1185 h 1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79" h="1671">
                  <a:moveTo>
                    <a:pt x="1279" y="1154"/>
                  </a:moveTo>
                  <a:lnTo>
                    <a:pt x="1182" y="1178"/>
                  </a:lnTo>
                  <a:lnTo>
                    <a:pt x="1100" y="1212"/>
                  </a:lnTo>
                  <a:lnTo>
                    <a:pt x="1063" y="1212"/>
                  </a:lnTo>
                  <a:lnTo>
                    <a:pt x="1063" y="988"/>
                  </a:lnTo>
                  <a:lnTo>
                    <a:pt x="933" y="988"/>
                  </a:lnTo>
                  <a:lnTo>
                    <a:pt x="933" y="933"/>
                  </a:lnTo>
                  <a:lnTo>
                    <a:pt x="894" y="933"/>
                  </a:lnTo>
                  <a:lnTo>
                    <a:pt x="894" y="877"/>
                  </a:lnTo>
                  <a:lnTo>
                    <a:pt x="783" y="877"/>
                  </a:lnTo>
                  <a:lnTo>
                    <a:pt x="783" y="933"/>
                  </a:lnTo>
                  <a:lnTo>
                    <a:pt x="712" y="933"/>
                  </a:lnTo>
                  <a:lnTo>
                    <a:pt x="712" y="988"/>
                  </a:lnTo>
                  <a:lnTo>
                    <a:pt x="671" y="988"/>
                  </a:lnTo>
                  <a:lnTo>
                    <a:pt x="671" y="1183"/>
                  </a:lnTo>
                  <a:lnTo>
                    <a:pt x="659" y="1180"/>
                  </a:lnTo>
                  <a:lnTo>
                    <a:pt x="618" y="1188"/>
                  </a:lnTo>
                  <a:lnTo>
                    <a:pt x="577" y="1207"/>
                  </a:lnTo>
                  <a:lnTo>
                    <a:pt x="543" y="1236"/>
                  </a:lnTo>
                  <a:lnTo>
                    <a:pt x="519" y="1275"/>
                  </a:lnTo>
                  <a:lnTo>
                    <a:pt x="506" y="1309"/>
                  </a:lnTo>
                  <a:lnTo>
                    <a:pt x="315" y="1309"/>
                  </a:lnTo>
                  <a:lnTo>
                    <a:pt x="303" y="1314"/>
                  </a:lnTo>
                  <a:lnTo>
                    <a:pt x="303" y="1336"/>
                  </a:lnTo>
                  <a:lnTo>
                    <a:pt x="247" y="1333"/>
                  </a:lnTo>
                  <a:lnTo>
                    <a:pt x="243" y="520"/>
                  </a:lnTo>
                  <a:lnTo>
                    <a:pt x="243" y="520"/>
                  </a:lnTo>
                  <a:lnTo>
                    <a:pt x="240" y="520"/>
                  </a:lnTo>
                  <a:lnTo>
                    <a:pt x="235" y="517"/>
                  </a:lnTo>
                  <a:lnTo>
                    <a:pt x="230" y="517"/>
                  </a:lnTo>
                  <a:lnTo>
                    <a:pt x="230" y="517"/>
                  </a:lnTo>
                  <a:lnTo>
                    <a:pt x="230" y="510"/>
                  </a:lnTo>
                  <a:lnTo>
                    <a:pt x="228" y="507"/>
                  </a:lnTo>
                  <a:lnTo>
                    <a:pt x="221" y="507"/>
                  </a:lnTo>
                  <a:lnTo>
                    <a:pt x="209" y="507"/>
                  </a:lnTo>
                  <a:lnTo>
                    <a:pt x="194" y="505"/>
                  </a:lnTo>
                  <a:lnTo>
                    <a:pt x="184" y="505"/>
                  </a:lnTo>
                  <a:lnTo>
                    <a:pt x="184" y="500"/>
                  </a:lnTo>
                  <a:lnTo>
                    <a:pt x="192" y="500"/>
                  </a:lnTo>
                  <a:lnTo>
                    <a:pt x="211" y="500"/>
                  </a:lnTo>
                  <a:lnTo>
                    <a:pt x="228" y="498"/>
                  </a:lnTo>
                  <a:lnTo>
                    <a:pt x="240" y="498"/>
                  </a:lnTo>
                  <a:lnTo>
                    <a:pt x="247" y="495"/>
                  </a:lnTo>
                  <a:lnTo>
                    <a:pt x="247" y="493"/>
                  </a:lnTo>
                  <a:lnTo>
                    <a:pt x="247" y="490"/>
                  </a:lnTo>
                  <a:lnTo>
                    <a:pt x="240" y="488"/>
                  </a:lnTo>
                  <a:lnTo>
                    <a:pt x="228" y="486"/>
                  </a:lnTo>
                  <a:lnTo>
                    <a:pt x="211" y="486"/>
                  </a:lnTo>
                  <a:lnTo>
                    <a:pt x="189" y="486"/>
                  </a:lnTo>
                  <a:lnTo>
                    <a:pt x="184" y="486"/>
                  </a:lnTo>
                  <a:lnTo>
                    <a:pt x="184" y="483"/>
                  </a:lnTo>
                  <a:lnTo>
                    <a:pt x="187" y="483"/>
                  </a:lnTo>
                  <a:lnTo>
                    <a:pt x="192" y="481"/>
                  </a:lnTo>
                  <a:lnTo>
                    <a:pt x="194" y="481"/>
                  </a:lnTo>
                  <a:lnTo>
                    <a:pt x="194" y="478"/>
                  </a:lnTo>
                  <a:lnTo>
                    <a:pt x="194" y="469"/>
                  </a:lnTo>
                  <a:lnTo>
                    <a:pt x="192" y="459"/>
                  </a:lnTo>
                  <a:lnTo>
                    <a:pt x="192" y="449"/>
                  </a:lnTo>
                  <a:lnTo>
                    <a:pt x="192" y="439"/>
                  </a:lnTo>
                  <a:lnTo>
                    <a:pt x="192" y="432"/>
                  </a:lnTo>
                  <a:lnTo>
                    <a:pt x="192" y="430"/>
                  </a:lnTo>
                  <a:lnTo>
                    <a:pt x="192" y="430"/>
                  </a:lnTo>
                  <a:lnTo>
                    <a:pt x="189" y="427"/>
                  </a:lnTo>
                  <a:lnTo>
                    <a:pt x="184" y="427"/>
                  </a:lnTo>
                  <a:lnTo>
                    <a:pt x="182" y="427"/>
                  </a:lnTo>
                  <a:lnTo>
                    <a:pt x="182" y="427"/>
                  </a:lnTo>
                  <a:lnTo>
                    <a:pt x="184" y="427"/>
                  </a:lnTo>
                  <a:lnTo>
                    <a:pt x="189" y="427"/>
                  </a:lnTo>
                  <a:lnTo>
                    <a:pt x="189" y="427"/>
                  </a:lnTo>
                  <a:lnTo>
                    <a:pt x="199" y="427"/>
                  </a:lnTo>
                  <a:lnTo>
                    <a:pt x="204" y="425"/>
                  </a:lnTo>
                  <a:lnTo>
                    <a:pt x="204" y="425"/>
                  </a:lnTo>
                  <a:lnTo>
                    <a:pt x="204" y="425"/>
                  </a:lnTo>
                  <a:lnTo>
                    <a:pt x="209" y="425"/>
                  </a:lnTo>
                  <a:lnTo>
                    <a:pt x="214" y="425"/>
                  </a:lnTo>
                  <a:lnTo>
                    <a:pt x="214" y="425"/>
                  </a:lnTo>
                  <a:lnTo>
                    <a:pt x="214" y="425"/>
                  </a:lnTo>
                  <a:lnTo>
                    <a:pt x="218" y="425"/>
                  </a:lnTo>
                  <a:lnTo>
                    <a:pt x="221" y="422"/>
                  </a:lnTo>
                  <a:lnTo>
                    <a:pt x="221" y="422"/>
                  </a:lnTo>
                  <a:lnTo>
                    <a:pt x="221" y="422"/>
                  </a:lnTo>
                  <a:lnTo>
                    <a:pt x="221" y="422"/>
                  </a:lnTo>
                  <a:lnTo>
                    <a:pt x="230" y="418"/>
                  </a:lnTo>
                  <a:lnTo>
                    <a:pt x="233" y="418"/>
                  </a:lnTo>
                  <a:lnTo>
                    <a:pt x="233" y="418"/>
                  </a:lnTo>
                  <a:lnTo>
                    <a:pt x="235" y="415"/>
                  </a:lnTo>
                  <a:lnTo>
                    <a:pt x="235" y="413"/>
                  </a:lnTo>
                  <a:lnTo>
                    <a:pt x="235" y="413"/>
                  </a:lnTo>
                  <a:lnTo>
                    <a:pt x="235" y="410"/>
                  </a:lnTo>
                  <a:lnTo>
                    <a:pt x="235" y="410"/>
                  </a:lnTo>
                  <a:lnTo>
                    <a:pt x="221" y="403"/>
                  </a:lnTo>
                  <a:lnTo>
                    <a:pt x="218" y="403"/>
                  </a:lnTo>
                  <a:lnTo>
                    <a:pt x="209" y="401"/>
                  </a:lnTo>
                  <a:lnTo>
                    <a:pt x="197" y="401"/>
                  </a:lnTo>
                  <a:lnTo>
                    <a:pt x="194" y="401"/>
                  </a:lnTo>
                  <a:lnTo>
                    <a:pt x="189" y="398"/>
                  </a:lnTo>
                  <a:lnTo>
                    <a:pt x="187" y="396"/>
                  </a:lnTo>
                  <a:lnTo>
                    <a:pt x="182" y="393"/>
                  </a:lnTo>
                  <a:lnTo>
                    <a:pt x="180" y="391"/>
                  </a:lnTo>
                  <a:lnTo>
                    <a:pt x="177" y="386"/>
                  </a:lnTo>
                  <a:lnTo>
                    <a:pt x="175" y="381"/>
                  </a:lnTo>
                  <a:lnTo>
                    <a:pt x="172" y="379"/>
                  </a:lnTo>
                  <a:lnTo>
                    <a:pt x="170" y="374"/>
                  </a:lnTo>
                  <a:lnTo>
                    <a:pt x="170" y="374"/>
                  </a:lnTo>
                  <a:lnTo>
                    <a:pt x="168" y="374"/>
                  </a:lnTo>
                  <a:lnTo>
                    <a:pt x="168" y="374"/>
                  </a:lnTo>
                  <a:lnTo>
                    <a:pt x="168" y="245"/>
                  </a:lnTo>
                  <a:lnTo>
                    <a:pt x="168" y="245"/>
                  </a:lnTo>
                  <a:lnTo>
                    <a:pt x="165" y="243"/>
                  </a:lnTo>
                  <a:lnTo>
                    <a:pt x="165" y="243"/>
                  </a:lnTo>
                  <a:lnTo>
                    <a:pt x="163" y="243"/>
                  </a:lnTo>
                  <a:lnTo>
                    <a:pt x="163" y="146"/>
                  </a:lnTo>
                  <a:lnTo>
                    <a:pt x="163" y="146"/>
                  </a:lnTo>
                  <a:lnTo>
                    <a:pt x="163" y="146"/>
                  </a:lnTo>
                  <a:lnTo>
                    <a:pt x="160" y="146"/>
                  </a:lnTo>
                  <a:lnTo>
                    <a:pt x="160" y="146"/>
                  </a:lnTo>
                  <a:lnTo>
                    <a:pt x="160" y="65"/>
                  </a:lnTo>
                  <a:lnTo>
                    <a:pt x="160" y="63"/>
                  </a:lnTo>
                  <a:lnTo>
                    <a:pt x="158" y="63"/>
                  </a:lnTo>
                  <a:lnTo>
                    <a:pt x="158" y="63"/>
                  </a:lnTo>
                  <a:lnTo>
                    <a:pt x="158" y="63"/>
                  </a:lnTo>
                  <a:lnTo>
                    <a:pt x="158" y="0"/>
                  </a:lnTo>
                  <a:lnTo>
                    <a:pt x="158" y="0"/>
                  </a:lnTo>
                  <a:lnTo>
                    <a:pt x="155" y="0"/>
                  </a:lnTo>
                  <a:lnTo>
                    <a:pt x="155" y="0"/>
                  </a:lnTo>
                  <a:lnTo>
                    <a:pt x="155" y="0"/>
                  </a:lnTo>
                  <a:lnTo>
                    <a:pt x="155" y="0"/>
                  </a:lnTo>
                  <a:lnTo>
                    <a:pt x="155" y="0"/>
                  </a:lnTo>
                  <a:lnTo>
                    <a:pt x="155" y="0"/>
                  </a:lnTo>
                  <a:lnTo>
                    <a:pt x="153" y="0"/>
                  </a:lnTo>
                  <a:lnTo>
                    <a:pt x="153" y="0"/>
                  </a:lnTo>
                  <a:lnTo>
                    <a:pt x="153" y="0"/>
                  </a:lnTo>
                  <a:lnTo>
                    <a:pt x="153" y="2"/>
                  </a:lnTo>
                  <a:lnTo>
                    <a:pt x="153" y="2"/>
                  </a:lnTo>
                  <a:lnTo>
                    <a:pt x="153" y="63"/>
                  </a:lnTo>
                  <a:lnTo>
                    <a:pt x="153" y="63"/>
                  </a:lnTo>
                  <a:lnTo>
                    <a:pt x="153" y="63"/>
                  </a:lnTo>
                  <a:lnTo>
                    <a:pt x="151" y="65"/>
                  </a:lnTo>
                  <a:lnTo>
                    <a:pt x="151" y="65"/>
                  </a:lnTo>
                  <a:lnTo>
                    <a:pt x="151" y="65"/>
                  </a:lnTo>
                  <a:lnTo>
                    <a:pt x="151" y="146"/>
                  </a:lnTo>
                  <a:lnTo>
                    <a:pt x="151" y="146"/>
                  </a:lnTo>
                  <a:lnTo>
                    <a:pt x="151" y="146"/>
                  </a:lnTo>
                  <a:lnTo>
                    <a:pt x="148" y="146"/>
                  </a:lnTo>
                  <a:lnTo>
                    <a:pt x="148" y="146"/>
                  </a:lnTo>
                  <a:lnTo>
                    <a:pt x="148" y="243"/>
                  </a:lnTo>
                  <a:lnTo>
                    <a:pt x="148" y="243"/>
                  </a:lnTo>
                  <a:lnTo>
                    <a:pt x="146" y="245"/>
                  </a:lnTo>
                  <a:lnTo>
                    <a:pt x="146" y="245"/>
                  </a:lnTo>
                  <a:lnTo>
                    <a:pt x="146" y="374"/>
                  </a:lnTo>
                  <a:lnTo>
                    <a:pt x="146" y="374"/>
                  </a:lnTo>
                  <a:lnTo>
                    <a:pt x="143" y="374"/>
                  </a:lnTo>
                  <a:lnTo>
                    <a:pt x="143" y="374"/>
                  </a:lnTo>
                  <a:lnTo>
                    <a:pt x="141" y="379"/>
                  </a:lnTo>
                  <a:lnTo>
                    <a:pt x="141" y="384"/>
                  </a:lnTo>
                  <a:lnTo>
                    <a:pt x="138" y="386"/>
                  </a:lnTo>
                  <a:lnTo>
                    <a:pt x="136" y="391"/>
                  </a:lnTo>
                  <a:lnTo>
                    <a:pt x="131" y="393"/>
                  </a:lnTo>
                  <a:lnTo>
                    <a:pt x="129" y="396"/>
                  </a:lnTo>
                  <a:lnTo>
                    <a:pt x="124" y="398"/>
                  </a:lnTo>
                  <a:lnTo>
                    <a:pt x="121" y="401"/>
                  </a:lnTo>
                  <a:lnTo>
                    <a:pt x="117" y="401"/>
                  </a:lnTo>
                  <a:lnTo>
                    <a:pt x="105" y="403"/>
                  </a:lnTo>
                  <a:lnTo>
                    <a:pt x="97" y="403"/>
                  </a:lnTo>
                  <a:lnTo>
                    <a:pt x="92" y="405"/>
                  </a:lnTo>
                  <a:lnTo>
                    <a:pt x="80" y="413"/>
                  </a:lnTo>
                  <a:lnTo>
                    <a:pt x="80" y="413"/>
                  </a:lnTo>
                  <a:lnTo>
                    <a:pt x="80" y="418"/>
                  </a:lnTo>
                  <a:lnTo>
                    <a:pt x="80" y="418"/>
                  </a:lnTo>
                  <a:lnTo>
                    <a:pt x="80" y="420"/>
                  </a:lnTo>
                  <a:lnTo>
                    <a:pt x="85" y="420"/>
                  </a:lnTo>
                  <a:lnTo>
                    <a:pt x="95" y="425"/>
                  </a:lnTo>
                  <a:lnTo>
                    <a:pt x="95" y="425"/>
                  </a:lnTo>
                  <a:lnTo>
                    <a:pt x="95" y="425"/>
                  </a:lnTo>
                  <a:lnTo>
                    <a:pt x="100" y="425"/>
                  </a:lnTo>
                  <a:lnTo>
                    <a:pt x="100" y="425"/>
                  </a:lnTo>
                  <a:lnTo>
                    <a:pt x="102" y="425"/>
                  </a:lnTo>
                  <a:lnTo>
                    <a:pt x="102" y="425"/>
                  </a:lnTo>
                  <a:lnTo>
                    <a:pt x="107" y="427"/>
                  </a:lnTo>
                  <a:lnTo>
                    <a:pt x="112" y="427"/>
                  </a:lnTo>
                  <a:lnTo>
                    <a:pt x="112" y="427"/>
                  </a:lnTo>
                  <a:lnTo>
                    <a:pt x="119" y="427"/>
                  </a:lnTo>
                  <a:lnTo>
                    <a:pt x="124" y="427"/>
                  </a:lnTo>
                  <a:lnTo>
                    <a:pt x="124" y="427"/>
                  </a:lnTo>
                  <a:lnTo>
                    <a:pt x="124" y="427"/>
                  </a:lnTo>
                  <a:lnTo>
                    <a:pt x="129" y="427"/>
                  </a:lnTo>
                  <a:lnTo>
                    <a:pt x="129" y="427"/>
                  </a:lnTo>
                  <a:lnTo>
                    <a:pt x="126" y="430"/>
                  </a:lnTo>
                  <a:lnTo>
                    <a:pt x="121" y="430"/>
                  </a:lnTo>
                  <a:lnTo>
                    <a:pt x="119" y="430"/>
                  </a:lnTo>
                  <a:lnTo>
                    <a:pt x="119" y="432"/>
                  </a:lnTo>
                  <a:lnTo>
                    <a:pt x="119" y="439"/>
                  </a:lnTo>
                  <a:lnTo>
                    <a:pt x="119" y="449"/>
                  </a:lnTo>
                  <a:lnTo>
                    <a:pt x="119" y="459"/>
                  </a:lnTo>
                  <a:lnTo>
                    <a:pt x="119" y="469"/>
                  </a:lnTo>
                  <a:lnTo>
                    <a:pt x="119" y="478"/>
                  </a:lnTo>
                  <a:lnTo>
                    <a:pt x="119" y="481"/>
                  </a:lnTo>
                  <a:lnTo>
                    <a:pt x="121" y="481"/>
                  </a:lnTo>
                  <a:lnTo>
                    <a:pt x="124" y="483"/>
                  </a:lnTo>
                  <a:lnTo>
                    <a:pt x="129" y="483"/>
                  </a:lnTo>
                  <a:lnTo>
                    <a:pt x="131" y="483"/>
                  </a:lnTo>
                  <a:lnTo>
                    <a:pt x="131" y="486"/>
                  </a:lnTo>
                  <a:lnTo>
                    <a:pt x="119" y="486"/>
                  </a:lnTo>
                  <a:lnTo>
                    <a:pt x="100" y="486"/>
                  </a:lnTo>
                  <a:lnTo>
                    <a:pt x="83" y="488"/>
                  </a:lnTo>
                  <a:lnTo>
                    <a:pt x="73" y="490"/>
                  </a:lnTo>
                  <a:lnTo>
                    <a:pt x="66" y="490"/>
                  </a:lnTo>
                  <a:lnTo>
                    <a:pt x="66" y="495"/>
                  </a:lnTo>
                  <a:lnTo>
                    <a:pt x="68" y="498"/>
                  </a:lnTo>
                  <a:lnTo>
                    <a:pt x="75" y="498"/>
                  </a:lnTo>
                  <a:lnTo>
                    <a:pt x="88" y="500"/>
                  </a:lnTo>
                  <a:lnTo>
                    <a:pt x="105" y="500"/>
                  </a:lnTo>
                  <a:lnTo>
                    <a:pt x="124" y="500"/>
                  </a:lnTo>
                  <a:lnTo>
                    <a:pt x="131" y="500"/>
                  </a:lnTo>
                  <a:lnTo>
                    <a:pt x="131" y="505"/>
                  </a:lnTo>
                  <a:lnTo>
                    <a:pt x="121" y="507"/>
                  </a:lnTo>
                  <a:lnTo>
                    <a:pt x="107" y="507"/>
                  </a:lnTo>
                  <a:lnTo>
                    <a:pt x="95" y="507"/>
                  </a:lnTo>
                  <a:lnTo>
                    <a:pt x="88" y="510"/>
                  </a:lnTo>
                  <a:lnTo>
                    <a:pt x="88" y="510"/>
                  </a:lnTo>
                  <a:lnTo>
                    <a:pt x="88" y="520"/>
                  </a:lnTo>
                  <a:lnTo>
                    <a:pt x="85" y="520"/>
                  </a:lnTo>
                  <a:lnTo>
                    <a:pt x="80" y="520"/>
                  </a:lnTo>
                  <a:lnTo>
                    <a:pt x="75" y="520"/>
                  </a:lnTo>
                  <a:lnTo>
                    <a:pt x="73" y="520"/>
                  </a:lnTo>
                  <a:lnTo>
                    <a:pt x="73" y="520"/>
                  </a:lnTo>
                  <a:lnTo>
                    <a:pt x="78" y="1331"/>
                  </a:lnTo>
                  <a:lnTo>
                    <a:pt x="27" y="1333"/>
                  </a:lnTo>
                  <a:lnTo>
                    <a:pt x="27" y="1350"/>
                  </a:lnTo>
                  <a:lnTo>
                    <a:pt x="0" y="1353"/>
                  </a:lnTo>
                  <a:lnTo>
                    <a:pt x="0" y="1671"/>
                  </a:lnTo>
                  <a:lnTo>
                    <a:pt x="1279" y="1671"/>
                  </a:lnTo>
                  <a:lnTo>
                    <a:pt x="1279" y="1154"/>
                  </a:lnTo>
                  <a:close/>
                  <a:moveTo>
                    <a:pt x="126" y="498"/>
                  </a:moveTo>
                  <a:lnTo>
                    <a:pt x="124" y="498"/>
                  </a:lnTo>
                  <a:lnTo>
                    <a:pt x="121" y="498"/>
                  </a:lnTo>
                  <a:lnTo>
                    <a:pt x="119" y="498"/>
                  </a:lnTo>
                  <a:lnTo>
                    <a:pt x="117" y="498"/>
                  </a:lnTo>
                  <a:lnTo>
                    <a:pt x="119" y="498"/>
                  </a:lnTo>
                  <a:lnTo>
                    <a:pt x="121" y="498"/>
                  </a:lnTo>
                  <a:lnTo>
                    <a:pt x="124" y="498"/>
                  </a:lnTo>
                  <a:lnTo>
                    <a:pt x="126" y="498"/>
                  </a:lnTo>
                  <a:lnTo>
                    <a:pt x="131" y="498"/>
                  </a:lnTo>
                  <a:lnTo>
                    <a:pt x="126" y="498"/>
                  </a:lnTo>
                  <a:close/>
                  <a:moveTo>
                    <a:pt x="117" y="568"/>
                  </a:moveTo>
                  <a:lnTo>
                    <a:pt x="121" y="568"/>
                  </a:lnTo>
                  <a:lnTo>
                    <a:pt x="131" y="568"/>
                  </a:lnTo>
                  <a:lnTo>
                    <a:pt x="138" y="568"/>
                  </a:lnTo>
                  <a:lnTo>
                    <a:pt x="138" y="656"/>
                  </a:lnTo>
                  <a:lnTo>
                    <a:pt x="134" y="656"/>
                  </a:lnTo>
                  <a:lnTo>
                    <a:pt x="124" y="656"/>
                  </a:lnTo>
                  <a:lnTo>
                    <a:pt x="119" y="656"/>
                  </a:lnTo>
                  <a:lnTo>
                    <a:pt x="117" y="568"/>
                  </a:lnTo>
                  <a:close/>
                  <a:moveTo>
                    <a:pt x="119" y="673"/>
                  </a:moveTo>
                  <a:lnTo>
                    <a:pt x="126" y="673"/>
                  </a:lnTo>
                  <a:lnTo>
                    <a:pt x="136" y="673"/>
                  </a:lnTo>
                  <a:lnTo>
                    <a:pt x="138" y="673"/>
                  </a:lnTo>
                  <a:lnTo>
                    <a:pt x="138" y="799"/>
                  </a:lnTo>
                  <a:lnTo>
                    <a:pt x="136" y="799"/>
                  </a:lnTo>
                  <a:lnTo>
                    <a:pt x="126" y="799"/>
                  </a:lnTo>
                  <a:lnTo>
                    <a:pt x="119" y="799"/>
                  </a:lnTo>
                  <a:lnTo>
                    <a:pt x="119" y="673"/>
                  </a:lnTo>
                  <a:close/>
                  <a:moveTo>
                    <a:pt x="119" y="814"/>
                  </a:moveTo>
                  <a:lnTo>
                    <a:pt x="124" y="814"/>
                  </a:lnTo>
                  <a:lnTo>
                    <a:pt x="136" y="814"/>
                  </a:lnTo>
                  <a:lnTo>
                    <a:pt x="141" y="814"/>
                  </a:lnTo>
                  <a:lnTo>
                    <a:pt x="141" y="937"/>
                  </a:lnTo>
                  <a:lnTo>
                    <a:pt x="136" y="937"/>
                  </a:lnTo>
                  <a:lnTo>
                    <a:pt x="129" y="937"/>
                  </a:lnTo>
                  <a:lnTo>
                    <a:pt x="119" y="937"/>
                  </a:lnTo>
                  <a:lnTo>
                    <a:pt x="119" y="814"/>
                  </a:lnTo>
                  <a:close/>
                  <a:moveTo>
                    <a:pt x="119" y="957"/>
                  </a:moveTo>
                  <a:lnTo>
                    <a:pt x="126" y="957"/>
                  </a:lnTo>
                  <a:lnTo>
                    <a:pt x="136" y="957"/>
                  </a:lnTo>
                  <a:lnTo>
                    <a:pt x="141" y="957"/>
                  </a:lnTo>
                  <a:lnTo>
                    <a:pt x="141" y="1071"/>
                  </a:lnTo>
                  <a:lnTo>
                    <a:pt x="138" y="1071"/>
                  </a:lnTo>
                  <a:lnTo>
                    <a:pt x="129" y="1071"/>
                  </a:lnTo>
                  <a:lnTo>
                    <a:pt x="121" y="1073"/>
                  </a:lnTo>
                  <a:lnTo>
                    <a:pt x="119" y="957"/>
                  </a:lnTo>
                  <a:close/>
                  <a:moveTo>
                    <a:pt x="129" y="1185"/>
                  </a:moveTo>
                  <a:lnTo>
                    <a:pt x="121" y="1188"/>
                  </a:lnTo>
                  <a:lnTo>
                    <a:pt x="121" y="1095"/>
                  </a:lnTo>
                  <a:lnTo>
                    <a:pt x="126" y="1095"/>
                  </a:lnTo>
                  <a:lnTo>
                    <a:pt x="136" y="1095"/>
                  </a:lnTo>
                  <a:lnTo>
                    <a:pt x="141" y="1095"/>
                  </a:lnTo>
                  <a:lnTo>
                    <a:pt x="141" y="1185"/>
                  </a:lnTo>
                  <a:lnTo>
                    <a:pt x="129" y="1185"/>
                  </a:lnTo>
                  <a:close/>
                  <a:moveTo>
                    <a:pt x="182" y="568"/>
                  </a:moveTo>
                  <a:lnTo>
                    <a:pt x="189" y="568"/>
                  </a:lnTo>
                  <a:lnTo>
                    <a:pt x="197" y="568"/>
                  </a:lnTo>
                  <a:lnTo>
                    <a:pt x="197" y="656"/>
                  </a:lnTo>
                  <a:lnTo>
                    <a:pt x="194" y="656"/>
                  </a:lnTo>
                  <a:lnTo>
                    <a:pt x="182" y="656"/>
                  </a:lnTo>
                  <a:lnTo>
                    <a:pt x="182" y="568"/>
                  </a:lnTo>
                  <a:close/>
                  <a:moveTo>
                    <a:pt x="182" y="673"/>
                  </a:moveTo>
                  <a:lnTo>
                    <a:pt x="189" y="673"/>
                  </a:lnTo>
                  <a:lnTo>
                    <a:pt x="197" y="673"/>
                  </a:lnTo>
                  <a:lnTo>
                    <a:pt x="199" y="799"/>
                  </a:lnTo>
                  <a:lnTo>
                    <a:pt x="189" y="799"/>
                  </a:lnTo>
                  <a:lnTo>
                    <a:pt x="182" y="799"/>
                  </a:lnTo>
                  <a:lnTo>
                    <a:pt x="182" y="673"/>
                  </a:lnTo>
                  <a:close/>
                  <a:moveTo>
                    <a:pt x="182" y="814"/>
                  </a:moveTo>
                  <a:lnTo>
                    <a:pt x="194" y="814"/>
                  </a:lnTo>
                  <a:lnTo>
                    <a:pt x="199" y="814"/>
                  </a:lnTo>
                  <a:lnTo>
                    <a:pt x="199" y="937"/>
                  </a:lnTo>
                  <a:lnTo>
                    <a:pt x="192" y="937"/>
                  </a:lnTo>
                  <a:lnTo>
                    <a:pt x="184" y="937"/>
                  </a:lnTo>
                  <a:lnTo>
                    <a:pt x="182" y="814"/>
                  </a:lnTo>
                  <a:close/>
                  <a:moveTo>
                    <a:pt x="184" y="957"/>
                  </a:moveTo>
                  <a:lnTo>
                    <a:pt x="194" y="957"/>
                  </a:lnTo>
                  <a:lnTo>
                    <a:pt x="199" y="957"/>
                  </a:lnTo>
                  <a:lnTo>
                    <a:pt x="199" y="1071"/>
                  </a:lnTo>
                  <a:lnTo>
                    <a:pt x="192" y="1071"/>
                  </a:lnTo>
                  <a:lnTo>
                    <a:pt x="184" y="1071"/>
                  </a:lnTo>
                  <a:lnTo>
                    <a:pt x="184" y="957"/>
                  </a:lnTo>
                  <a:close/>
                  <a:moveTo>
                    <a:pt x="199" y="1188"/>
                  </a:moveTo>
                  <a:lnTo>
                    <a:pt x="184" y="1185"/>
                  </a:lnTo>
                  <a:lnTo>
                    <a:pt x="184" y="1098"/>
                  </a:lnTo>
                  <a:lnTo>
                    <a:pt x="197" y="1098"/>
                  </a:lnTo>
                  <a:lnTo>
                    <a:pt x="199" y="1098"/>
                  </a:lnTo>
                  <a:lnTo>
                    <a:pt x="201" y="1188"/>
                  </a:lnTo>
                  <a:lnTo>
                    <a:pt x="199" y="1188"/>
                  </a:lnTo>
                  <a:close/>
                </a:path>
              </a:pathLst>
            </a:custGeom>
            <a:solidFill>
              <a:schemeClr val="accent1">
                <a:lumMod val="75000"/>
              </a:schemeClr>
            </a:solidFill>
            <a:ln>
              <a:noFill/>
            </a:ln>
          </p:spPr>
          <p:txBody>
            <a:bodyPr lIns="68580" tIns="34290" rIns="68580" bIns="34290"/>
            <a:lstStyle/>
            <a:p>
              <a:pPr eaLnBrk="1" fontAlgn="auto" hangingPunct="1">
                <a:spcBef>
                  <a:spcPts val="0"/>
                </a:spcBef>
                <a:spcAft>
                  <a:spcPts val="0"/>
                </a:spcAft>
                <a:defRPr/>
              </a:pPr>
              <a:endParaRPr lang="id-ID" sz="1350">
                <a:latin typeface="+mn-lt"/>
              </a:endParaRPr>
            </a:p>
          </p:txBody>
        </p:sp>
        <p:sp>
          <p:nvSpPr>
            <p:cNvPr id="22569" name="TextBox 36">
              <a:extLst>
                <a:ext uri="{FF2B5EF4-FFF2-40B4-BE49-F238E27FC236}">
                  <a16:creationId xmlns:a16="http://schemas.microsoft.com/office/drawing/2014/main" id="{5B65944F-6D64-C440-12F8-988A8220B716}"/>
                </a:ext>
              </a:extLst>
            </p:cNvPr>
            <p:cNvSpPr txBox="1">
              <a:spLocks noChangeArrowheads="1"/>
            </p:cNvSpPr>
            <p:nvPr/>
          </p:nvSpPr>
          <p:spPr bwMode="auto">
            <a:xfrm>
              <a:off x="456870" y="3222625"/>
              <a:ext cx="108606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ctr" eaLnBrk="1" hangingPunct="1">
                <a:lnSpc>
                  <a:spcPct val="100000"/>
                </a:lnSpc>
                <a:spcBef>
                  <a:spcPct val="0"/>
                </a:spcBef>
                <a:buFontTx/>
                <a:buNone/>
              </a:pPr>
              <a:r>
                <a:rPr lang="tr-TR" altLang="tr-TR" sz="1800" b="1">
                  <a:solidFill>
                    <a:srgbClr val="F2F2F2"/>
                  </a:solidFill>
                  <a:latin typeface="Open Sans" panose="020B0606030504020204" pitchFamily="34" charset="0"/>
                  <a:cs typeface="Open Sans" panose="020B0606030504020204" pitchFamily="34" charset="0"/>
                </a:rPr>
                <a:t>Kuruluş</a:t>
              </a:r>
              <a:endParaRPr lang="id-ID" altLang="tr-TR" sz="1800" b="1">
                <a:solidFill>
                  <a:srgbClr val="F2F2F2"/>
                </a:solidFill>
                <a:latin typeface="Open Sans" panose="020B0606030504020204" pitchFamily="34" charset="0"/>
                <a:cs typeface="Open Sans" panose="020B0606030504020204" pitchFamily="34" charset="0"/>
              </a:endParaRPr>
            </a:p>
          </p:txBody>
        </p:sp>
        <p:sp>
          <p:nvSpPr>
            <p:cNvPr id="22570" name="TextBox 10">
              <a:extLst>
                <a:ext uri="{FF2B5EF4-FFF2-40B4-BE49-F238E27FC236}">
                  <a16:creationId xmlns:a16="http://schemas.microsoft.com/office/drawing/2014/main" id="{71D61353-3FA2-7575-F366-6799F4A13165}"/>
                </a:ext>
              </a:extLst>
            </p:cNvPr>
            <p:cNvSpPr txBox="1">
              <a:spLocks noChangeArrowheads="1"/>
            </p:cNvSpPr>
            <p:nvPr/>
          </p:nvSpPr>
          <p:spPr bwMode="auto">
            <a:xfrm>
              <a:off x="-21062" y="2181743"/>
              <a:ext cx="1983284"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ctr" eaLnBrk="1" hangingPunct="1">
                <a:lnSpc>
                  <a:spcPct val="100000"/>
                </a:lnSpc>
                <a:spcBef>
                  <a:spcPct val="0"/>
                </a:spcBef>
                <a:buFontTx/>
                <a:buNone/>
              </a:pPr>
              <a:r>
                <a:rPr lang="id-ID" altLang="tr-TR" sz="3000" b="1">
                  <a:solidFill>
                    <a:schemeClr val="bg1"/>
                  </a:solidFill>
                  <a:latin typeface="Open Sans" panose="020B0606030504020204" pitchFamily="34" charset="0"/>
                  <a:cs typeface="Open Sans" panose="020B0606030504020204" pitchFamily="34" charset="0"/>
                </a:rPr>
                <a:t>20</a:t>
              </a:r>
              <a:r>
                <a:rPr lang="tr-TR" altLang="tr-TR" sz="3000" b="1">
                  <a:solidFill>
                    <a:schemeClr val="bg1"/>
                  </a:solidFill>
                  <a:latin typeface="Open Sans" panose="020B0606030504020204" pitchFamily="34" charset="0"/>
                  <a:cs typeface="Open Sans" panose="020B0606030504020204" pitchFamily="34" charset="0"/>
                </a:rPr>
                <a:t>02</a:t>
              </a:r>
              <a:endParaRPr lang="id-ID" altLang="tr-TR" sz="3000" b="1">
                <a:solidFill>
                  <a:schemeClr val="bg1"/>
                </a:solidFill>
                <a:latin typeface="Open Sans" panose="020B0606030504020204" pitchFamily="34" charset="0"/>
                <a:cs typeface="Open Sans" panose="020B0606030504020204" pitchFamily="34" charset="0"/>
              </a:endParaRPr>
            </a:p>
          </p:txBody>
        </p:sp>
        <p:sp>
          <p:nvSpPr>
            <p:cNvPr id="22571" name="TextBox 12">
              <a:extLst>
                <a:ext uri="{FF2B5EF4-FFF2-40B4-BE49-F238E27FC236}">
                  <a16:creationId xmlns:a16="http://schemas.microsoft.com/office/drawing/2014/main" id="{DEBC92D2-F365-333A-2AA6-0FD1D224D9F6}"/>
                </a:ext>
              </a:extLst>
            </p:cNvPr>
            <p:cNvSpPr txBox="1">
              <a:spLocks noChangeArrowheads="1"/>
            </p:cNvSpPr>
            <p:nvPr/>
          </p:nvSpPr>
          <p:spPr bwMode="auto">
            <a:xfrm>
              <a:off x="-19865" y="3532179"/>
              <a:ext cx="198208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ctr" eaLnBrk="1" hangingPunct="1">
                <a:lnSpc>
                  <a:spcPct val="100000"/>
                </a:lnSpc>
                <a:spcBef>
                  <a:spcPct val="0"/>
                </a:spcBef>
                <a:buFontTx/>
                <a:buNone/>
              </a:pPr>
              <a:r>
                <a:rPr lang="tr-TR" altLang="tr-TR" sz="1400" b="1">
                  <a:solidFill>
                    <a:schemeClr val="bg1"/>
                  </a:solidFill>
                  <a:latin typeface="Open Sans" panose="020B0606030504020204" pitchFamily="34" charset="0"/>
                  <a:cs typeface="Open Sans" panose="020B0606030504020204" pitchFamily="34" charset="0"/>
                </a:rPr>
                <a:t>Vizyon İnşaat Ekspertiz Ltd.Şti.</a:t>
              </a:r>
              <a:endParaRPr lang="en-US" altLang="tr-TR" sz="1400" b="1">
                <a:solidFill>
                  <a:schemeClr val="bg1"/>
                </a:solidFill>
                <a:latin typeface="Open Sans" panose="020B0606030504020204" pitchFamily="34" charset="0"/>
                <a:cs typeface="Open Sans" panose="020B0606030504020204" pitchFamily="34" charset="0"/>
              </a:endParaRPr>
            </a:p>
          </p:txBody>
        </p:sp>
      </p:grpSp>
      <p:grpSp>
        <p:nvGrpSpPr>
          <p:cNvPr id="12" name="Grup 11">
            <a:extLst>
              <a:ext uri="{FF2B5EF4-FFF2-40B4-BE49-F238E27FC236}">
                <a16:creationId xmlns:a16="http://schemas.microsoft.com/office/drawing/2014/main" id="{C1C9F7E5-D9F0-F5A5-44E9-C591A4E1E735}"/>
              </a:ext>
            </a:extLst>
          </p:cNvPr>
          <p:cNvGrpSpPr>
            <a:grpSpLocks/>
          </p:cNvGrpSpPr>
          <p:nvPr/>
        </p:nvGrpSpPr>
        <p:grpSpPr bwMode="auto">
          <a:xfrm>
            <a:off x="2003425" y="-12700"/>
            <a:ext cx="2063750" cy="6870700"/>
            <a:chOff x="1960891" y="-17260"/>
            <a:chExt cx="1752539" cy="6875261"/>
          </a:xfrm>
        </p:grpSpPr>
        <p:sp>
          <p:nvSpPr>
            <p:cNvPr id="7" name="Rectangle 6">
              <a:extLst>
                <a:ext uri="{FF2B5EF4-FFF2-40B4-BE49-F238E27FC236}">
                  <a16:creationId xmlns:a16="http://schemas.microsoft.com/office/drawing/2014/main" id="{A5A8F7D6-9955-8901-54D8-FCBA5F148949}"/>
                </a:ext>
              </a:extLst>
            </p:cNvPr>
            <p:cNvSpPr/>
            <p:nvPr/>
          </p:nvSpPr>
          <p:spPr>
            <a:xfrm>
              <a:off x="1962240" y="-17260"/>
              <a:ext cx="1751190" cy="68577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d-ID" sz="1350"/>
            </a:p>
          </p:txBody>
        </p:sp>
        <p:sp>
          <p:nvSpPr>
            <p:cNvPr id="33" name="Rectangle 32">
              <a:extLst>
                <a:ext uri="{FF2B5EF4-FFF2-40B4-BE49-F238E27FC236}">
                  <a16:creationId xmlns:a16="http://schemas.microsoft.com/office/drawing/2014/main" id="{24688A21-53F2-DFB9-D7B2-10C33E319AF4}"/>
                </a:ext>
              </a:extLst>
            </p:cNvPr>
            <p:cNvSpPr/>
            <p:nvPr/>
          </p:nvSpPr>
          <p:spPr>
            <a:xfrm>
              <a:off x="1962240" y="3558575"/>
              <a:ext cx="1749843" cy="329942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d-ID" sz="1350"/>
            </a:p>
          </p:txBody>
        </p:sp>
        <p:sp>
          <p:nvSpPr>
            <p:cNvPr id="30" name="Freeform 17">
              <a:extLst>
                <a:ext uri="{FF2B5EF4-FFF2-40B4-BE49-F238E27FC236}">
                  <a16:creationId xmlns:a16="http://schemas.microsoft.com/office/drawing/2014/main" id="{E3006A76-B7F8-5566-732D-2E51165FD627}"/>
                </a:ext>
              </a:extLst>
            </p:cNvPr>
            <p:cNvSpPr>
              <a:spLocks/>
            </p:cNvSpPr>
            <p:nvPr/>
          </p:nvSpPr>
          <p:spPr bwMode="auto">
            <a:xfrm>
              <a:off x="1962240" y="1849291"/>
              <a:ext cx="1751190" cy="2057177"/>
            </a:xfrm>
            <a:custGeom>
              <a:avLst/>
              <a:gdLst>
                <a:gd name="T0" fmla="*/ 1281 w 1281"/>
                <a:gd name="T1" fmla="*/ 1727 h 1727"/>
                <a:gd name="T2" fmla="*/ 1194 w 1281"/>
                <a:gd name="T3" fmla="*/ 304 h 1727"/>
                <a:gd name="T4" fmla="*/ 1194 w 1281"/>
                <a:gd name="T5" fmla="*/ 284 h 1727"/>
                <a:gd name="T6" fmla="*/ 1194 w 1281"/>
                <a:gd name="T7" fmla="*/ 265 h 1727"/>
                <a:gd name="T8" fmla="*/ 1080 w 1281"/>
                <a:gd name="T9" fmla="*/ 126 h 1727"/>
                <a:gd name="T10" fmla="*/ 1073 w 1281"/>
                <a:gd name="T11" fmla="*/ 80 h 1727"/>
                <a:gd name="T12" fmla="*/ 1063 w 1281"/>
                <a:gd name="T13" fmla="*/ 92 h 1727"/>
                <a:gd name="T14" fmla="*/ 1063 w 1281"/>
                <a:gd name="T15" fmla="*/ 12 h 1727"/>
                <a:gd name="T16" fmla="*/ 1061 w 1281"/>
                <a:gd name="T17" fmla="*/ 0 h 1727"/>
                <a:gd name="T18" fmla="*/ 1053 w 1281"/>
                <a:gd name="T19" fmla="*/ 92 h 1727"/>
                <a:gd name="T20" fmla="*/ 1053 w 1281"/>
                <a:gd name="T21" fmla="*/ 12 h 1727"/>
                <a:gd name="T22" fmla="*/ 1048 w 1281"/>
                <a:gd name="T23" fmla="*/ 0 h 1727"/>
                <a:gd name="T24" fmla="*/ 1041 w 1281"/>
                <a:gd name="T25" fmla="*/ 92 h 1727"/>
                <a:gd name="T26" fmla="*/ 1041 w 1281"/>
                <a:gd name="T27" fmla="*/ 12 h 1727"/>
                <a:gd name="T28" fmla="*/ 1039 w 1281"/>
                <a:gd name="T29" fmla="*/ 0 h 1727"/>
                <a:gd name="T30" fmla="*/ 1031 w 1281"/>
                <a:gd name="T31" fmla="*/ 92 h 1727"/>
                <a:gd name="T32" fmla="*/ 1031 w 1281"/>
                <a:gd name="T33" fmla="*/ 12 h 1727"/>
                <a:gd name="T34" fmla="*/ 1027 w 1281"/>
                <a:gd name="T35" fmla="*/ 0 h 1727"/>
                <a:gd name="T36" fmla="*/ 1019 w 1281"/>
                <a:gd name="T37" fmla="*/ 92 h 1727"/>
                <a:gd name="T38" fmla="*/ 1019 w 1281"/>
                <a:gd name="T39" fmla="*/ 12 h 1727"/>
                <a:gd name="T40" fmla="*/ 1017 w 1281"/>
                <a:gd name="T41" fmla="*/ 0 h 1727"/>
                <a:gd name="T42" fmla="*/ 1010 w 1281"/>
                <a:gd name="T43" fmla="*/ 92 h 1727"/>
                <a:gd name="T44" fmla="*/ 1000 w 1281"/>
                <a:gd name="T45" fmla="*/ 80 h 1727"/>
                <a:gd name="T46" fmla="*/ 1000 w 1281"/>
                <a:gd name="T47" fmla="*/ 257 h 1727"/>
                <a:gd name="T48" fmla="*/ 1000 w 1281"/>
                <a:gd name="T49" fmla="*/ 282 h 1727"/>
                <a:gd name="T50" fmla="*/ 971 w 1281"/>
                <a:gd name="T51" fmla="*/ 304 h 1727"/>
                <a:gd name="T52" fmla="*/ 971 w 1281"/>
                <a:gd name="T53" fmla="*/ 313 h 1727"/>
                <a:gd name="T54" fmla="*/ 971 w 1281"/>
                <a:gd name="T55" fmla="*/ 335 h 1727"/>
                <a:gd name="T56" fmla="*/ 971 w 1281"/>
                <a:gd name="T57" fmla="*/ 403 h 1727"/>
                <a:gd name="T58" fmla="*/ 968 w 1281"/>
                <a:gd name="T59" fmla="*/ 413 h 1727"/>
                <a:gd name="T60" fmla="*/ 932 w 1281"/>
                <a:gd name="T61" fmla="*/ 738 h 1727"/>
                <a:gd name="T62" fmla="*/ 814 w 1281"/>
                <a:gd name="T63" fmla="*/ 515 h 1727"/>
                <a:gd name="T64" fmla="*/ 746 w 1281"/>
                <a:gd name="T65" fmla="*/ 386 h 1727"/>
                <a:gd name="T66" fmla="*/ 719 w 1281"/>
                <a:gd name="T67" fmla="*/ 515 h 1727"/>
                <a:gd name="T68" fmla="*/ 608 w 1281"/>
                <a:gd name="T69" fmla="*/ 386 h 1727"/>
                <a:gd name="T70" fmla="*/ 557 w 1281"/>
                <a:gd name="T71" fmla="*/ 515 h 1727"/>
                <a:gd name="T72" fmla="*/ 513 w 1281"/>
                <a:gd name="T73" fmla="*/ 1195 h 1727"/>
                <a:gd name="T74" fmla="*/ 458 w 1281"/>
                <a:gd name="T75" fmla="*/ 1200 h 1727"/>
                <a:gd name="T76" fmla="*/ 431 w 1281"/>
                <a:gd name="T77" fmla="*/ 1202 h 1727"/>
                <a:gd name="T78" fmla="*/ 412 w 1281"/>
                <a:gd name="T79" fmla="*/ 1180 h 1727"/>
                <a:gd name="T80" fmla="*/ 370 w 1281"/>
                <a:gd name="T81" fmla="*/ 1207 h 1727"/>
                <a:gd name="T82" fmla="*/ 370 w 1281"/>
                <a:gd name="T83" fmla="*/ 1210 h 1727"/>
                <a:gd name="T84" fmla="*/ 370 w 1281"/>
                <a:gd name="T85" fmla="*/ 1200 h 1727"/>
                <a:gd name="T86" fmla="*/ 322 w 1281"/>
                <a:gd name="T87" fmla="*/ 1188 h 1727"/>
                <a:gd name="T88" fmla="*/ 312 w 1281"/>
                <a:gd name="T89" fmla="*/ 1202 h 1727"/>
                <a:gd name="T90" fmla="*/ 269 w 1281"/>
                <a:gd name="T91" fmla="*/ 1197 h 1727"/>
                <a:gd name="T92" fmla="*/ 140 w 1281"/>
                <a:gd name="T93" fmla="*/ 1193 h 1727"/>
                <a:gd name="T94" fmla="*/ 0 w 1281"/>
                <a:gd name="T95" fmla="*/ 1210 h 1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81" h="1727">
                  <a:moveTo>
                    <a:pt x="0" y="1727"/>
                  </a:moveTo>
                  <a:lnTo>
                    <a:pt x="1281" y="1727"/>
                  </a:lnTo>
                  <a:lnTo>
                    <a:pt x="1281" y="304"/>
                  </a:lnTo>
                  <a:lnTo>
                    <a:pt x="1194" y="304"/>
                  </a:lnTo>
                  <a:lnTo>
                    <a:pt x="1194" y="291"/>
                  </a:lnTo>
                  <a:lnTo>
                    <a:pt x="1194" y="284"/>
                  </a:lnTo>
                  <a:lnTo>
                    <a:pt x="1194" y="267"/>
                  </a:lnTo>
                  <a:lnTo>
                    <a:pt x="1194" y="265"/>
                  </a:lnTo>
                  <a:lnTo>
                    <a:pt x="1080" y="265"/>
                  </a:lnTo>
                  <a:lnTo>
                    <a:pt x="1080" y="126"/>
                  </a:lnTo>
                  <a:lnTo>
                    <a:pt x="1080" y="80"/>
                  </a:lnTo>
                  <a:lnTo>
                    <a:pt x="1073" y="80"/>
                  </a:lnTo>
                  <a:lnTo>
                    <a:pt x="1073" y="92"/>
                  </a:lnTo>
                  <a:lnTo>
                    <a:pt x="1063" y="92"/>
                  </a:lnTo>
                  <a:lnTo>
                    <a:pt x="1063" y="12"/>
                  </a:lnTo>
                  <a:lnTo>
                    <a:pt x="1063" y="12"/>
                  </a:lnTo>
                  <a:lnTo>
                    <a:pt x="1063" y="0"/>
                  </a:lnTo>
                  <a:lnTo>
                    <a:pt x="1061" y="0"/>
                  </a:lnTo>
                  <a:lnTo>
                    <a:pt x="1061" y="92"/>
                  </a:lnTo>
                  <a:lnTo>
                    <a:pt x="1053" y="92"/>
                  </a:lnTo>
                  <a:lnTo>
                    <a:pt x="1053" y="12"/>
                  </a:lnTo>
                  <a:lnTo>
                    <a:pt x="1053" y="12"/>
                  </a:lnTo>
                  <a:lnTo>
                    <a:pt x="1053" y="0"/>
                  </a:lnTo>
                  <a:lnTo>
                    <a:pt x="1048" y="0"/>
                  </a:lnTo>
                  <a:lnTo>
                    <a:pt x="1048" y="92"/>
                  </a:lnTo>
                  <a:lnTo>
                    <a:pt x="1041" y="92"/>
                  </a:lnTo>
                  <a:lnTo>
                    <a:pt x="1041" y="12"/>
                  </a:lnTo>
                  <a:lnTo>
                    <a:pt x="1041" y="12"/>
                  </a:lnTo>
                  <a:lnTo>
                    <a:pt x="1041" y="0"/>
                  </a:lnTo>
                  <a:lnTo>
                    <a:pt x="1039" y="0"/>
                  </a:lnTo>
                  <a:lnTo>
                    <a:pt x="1039" y="92"/>
                  </a:lnTo>
                  <a:lnTo>
                    <a:pt x="1031" y="92"/>
                  </a:lnTo>
                  <a:lnTo>
                    <a:pt x="1031" y="12"/>
                  </a:lnTo>
                  <a:lnTo>
                    <a:pt x="1031" y="12"/>
                  </a:lnTo>
                  <a:lnTo>
                    <a:pt x="1029" y="0"/>
                  </a:lnTo>
                  <a:lnTo>
                    <a:pt x="1027" y="0"/>
                  </a:lnTo>
                  <a:lnTo>
                    <a:pt x="1027" y="92"/>
                  </a:lnTo>
                  <a:lnTo>
                    <a:pt x="1019" y="92"/>
                  </a:lnTo>
                  <a:lnTo>
                    <a:pt x="1019" y="12"/>
                  </a:lnTo>
                  <a:lnTo>
                    <a:pt x="1019" y="12"/>
                  </a:lnTo>
                  <a:lnTo>
                    <a:pt x="1019" y="0"/>
                  </a:lnTo>
                  <a:lnTo>
                    <a:pt x="1017" y="0"/>
                  </a:lnTo>
                  <a:lnTo>
                    <a:pt x="1017" y="92"/>
                  </a:lnTo>
                  <a:lnTo>
                    <a:pt x="1010" y="92"/>
                  </a:lnTo>
                  <a:lnTo>
                    <a:pt x="1007" y="80"/>
                  </a:lnTo>
                  <a:lnTo>
                    <a:pt x="1000" y="80"/>
                  </a:lnTo>
                  <a:lnTo>
                    <a:pt x="1000" y="253"/>
                  </a:lnTo>
                  <a:lnTo>
                    <a:pt x="1000" y="257"/>
                  </a:lnTo>
                  <a:lnTo>
                    <a:pt x="1000" y="274"/>
                  </a:lnTo>
                  <a:lnTo>
                    <a:pt x="1000" y="282"/>
                  </a:lnTo>
                  <a:lnTo>
                    <a:pt x="1000" y="304"/>
                  </a:lnTo>
                  <a:lnTo>
                    <a:pt x="971" y="304"/>
                  </a:lnTo>
                  <a:lnTo>
                    <a:pt x="971" y="308"/>
                  </a:lnTo>
                  <a:lnTo>
                    <a:pt x="971" y="313"/>
                  </a:lnTo>
                  <a:lnTo>
                    <a:pt x="971" y="333"/>
                  </a:lnTo>
                  <a:lnTo>
                    <a:pt x="971" y="335"/>
                  </a:lnTo>
                  <a:lnTo>
                    <a:pt x="971" y="355"/>
                  </a:lnTo>
                  <a:lnTo>
                    <a:pt x="971" y="403"/>
                  </a:lnTo>
                  <a:lnTo>
                    <a:pt x="968" y="403"/>
                  </a:lnTo>
                  <a:lnTo>
                    <a:pt x="968" y="413"/>
                  </a:lnTo>
                  <a:lnTo>
                    <a:pt x="932" y="413"/>
                  </a:lnTo>
                  <a:lnTo>
                    <a:pt x="932" y="738"/>
                  </a:lnTo>
                  <a:lnTo>
                    <a:pt x="814" y="738"/>
                  </a:lnTo>
                  <a:lnTo>
                    <a:pt x="814" y="515"/>
                  </a:lnTo>
                  <a:lnTo>
                    <a:pt x="746" y="515"/>
                  </a:lnTo>
                  <a:lnTo>
                    <a:pt x="746" y="386"/>
                  </a:lnTo>
                  <a:lnTo>
                    <a:pt x="719" y="386"/>
                  </a:lnTo>
                  <a:lnTo>
                    <a:pt x="719" y="515"/>
                  </a:lnTo>
                  <a:lnTo>
                    <a:pt x="608" y="515"/>
                  </a:lnTo>
                  <a:lnTo>
                    <a:pt x="608" y="386"/>
                  </a:lnTo>
                  <a:lnTo>
                    <a:pt x="557" y="386"/>
                  </a:lnTo>
                  <a:lnTo>
                    <a:pt x="557" y="515"/>
                  </a:lnTo>
                  <a:lnTo>
                    <a:pt x="513" y="515"/>
                  </a:lnTo>
                  <a:lnTo>
                    <a:pt x="513" y="1195"/>
                  </a:lnTo>
                  <a:lnTo>
                    <a:pt x="475" y="1197"/>
                  </a:lnTo>
                  <a:lnTo>
                    <a:pt x="458" y="1200"/>
                  </a:lnTo>
                  <a:lnTo>
                    <a:pt x="433" y="1202"/>
                  </a:lnTo>
                  <a:lnTo>
                    <a:pt x="431" y="1202"/>
                  </a:lnTo>
                  <a:lnTo>
                    <a:pt x="421" y="1188"/>
                  </a:lnTo>
                  <a:lnTo>
                    <a:pt x="412" y="1180"/>
                  </a:lnTo>
                  <a:lnTo>
                    <a:pt x="373" y="1200"/>
                  </a:lnTo>
                  <a:lnTo>
                    <a:pt x="370" y="1207"/>
                  </a:lnTo>
                  <a:lnTo>
                    <a:pt x="370" y="1210"/>
                  </a:lnTo>
                  <a:lnTo>
                    <a:pt x="370" y="1210"/>
                  </a:lnTo>
                  <a:lnTo>
                    <a:pt x="370" y="1207"/>
                  </a:lnTo>
                  <a:lnTo>
                    <a:pt x="370" y="1200"/>
                  </a:lnTo>
                  <a:lnTo>
                    <a:pt x="332" y="1180"/>
                  </a:lnTo>
                  <a:lnTo>
                    <a:pt x="322" y="1188"/>
                  </a:lnTo>
                  <a:lnTo>
                    <a:pt x="312" y="1202"/>
                  </a:lnTo>
                  <a:lnTo>
                    <a:pt x="312" y="1202"/>
                  </a:lnTo>
                  <a:lnTo>
                    <a:pt x="288" y="1200"/>
                  </a:lnTo>
                  <a:lnTo>
                    <a:pt x="269" y="1197"/>
                  </a:lnTo>
                  <a:lnTo>
                    <a:pt x="160" y="1193"/>
                  </a:lnTo>
                  <a:lnTo>
                    <a:pt x="140" y="1193"/>
                  </a:lnTo>
                  <a:lnTo>
                    <a:pt x="22" y="1205"/>
                  </a:lnTo>
                  <a:lnTo>
                    <a:pt x="0" y="1210"/>
                  </a:lnTo>
                  <a:lnTo>
                    <a:pt x="0" y="1727"/>
                  </a:lnTo>
                  <a:close/>
                </a:path>
              </a:pathLst>
            </a:custGeom>
            <a:solidFill>
              <a:schemeClr val="accent2">
                <a:lumMod val="75000"/>
              </a:schemeClr>
            </a:solidFill>
            <a:ln>
              <a:noFill/>
            </a:ln>
          </p:spPr>
          <p:txBody>
            <a:bodyPr lIns="68580" tIns="34290" rIns="68580" bIns="34290"/>
            <a:lstStyle/>
            <a:p>
              <a:pPr eaLnBrk="1" fontAlgn="auto" hangingPunct="1">
                <a:spcBef>
                  <a:spcPts val="0"/>
                </a:spcBef>
                <a:spcAft>
                  <a:spcPts val="0"/>
                </a:spcAft>
                <a:defRPr/>
              </a:pPr>
              <a:endParaRPr lang="id-ID" sz="1350">
                <a:latin typeface="+mn-lt"/>
              </a:endParaRPr>
            </a:p>
          </p:txBody>
        </p:sp>
        <p:sp>
          <p:nvSpPr>
            <p:cNvPr id="22564" name="TextBox 38">
              <a:extLst>
                <a:ext uri="{FF2B5EF4-FFF2-40B4-BE49-F238E27FC236}">
                  <a16:creationId xmlns:a16="http://schemas.microsoft.com/office/drawing/2014/main" id="{08616A7D-D8EB-690E-D309-9C5AB5793A00}"/>
                </a:ext>
              </a:extLst>
            </p:cNvPr>
            <p:cNvSpPr txBox="1">
              <a:spLocks noChangeArrowheads="1"/>
            </p:cNvSpPr>
            <p:nvPr/>
          </p:nvSpPr>
          <p:spPr bwMode="auto">
            <a:xfrm>
              <a:off x="1962221" y="3174581"/>
              <a:ext cx="1751209"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ctr" eaLnBrk="1" hangingPunct="1">
                <a:lnSpc>
                  <a:spcPct val="100000"/>
                </a:lnSpc>
                <a:spcBef>
                  <a:spcPct val="0"/>
                </a:spcBef>
                <a:buFontTx/>
                <a:buNone/>
              </a:pPr>
              <a:r>
                <a:rPr lang="tr-TR" altLang="tr-TR" sz="1400" b="1">
                  <a:solidFill>
                    <a:schemeClr val="bg1"/>
                  </a:solidFill>
                  <a:latin typeface="Open Sans" panose="020B0606030504020204" pitchFamily="34" charset="0"/>
                  <a:cs typeface="Open Sans" panose="020B0606030504020204" pitchFamily="34" charset="0"/>
                </a:rPr>
                <a:t>Vizyon Taşınmaz Değerleme ve Danışmanlık A.Ş.</a:t>
              </a:r>
              <a:endParaRPr lang="id-ID" altLang="tr-TR" sz="1400" b="1">
                <a:solidFill>
                  <a:schemeClr val="bg1"/>
                </a:solidFill>
                <a:latin typeface="Open Sans" panose="020B0606030504020204" pitchFamily="34" charset="0"/>
                <a:cs typeface="Open Sans" panose="020B0606030504020204" pitchFamily="34" charset="0"/>
              </a:endParaRPr>
            </a:p>
          </p:txBody>
        </p:sp>
        <p:sp>
          <p:nvSpPr>
            <p:cNvPr id="22565" name="TextBox 10">
              <a:extLst>
                <a:ext uri="{FF2B5EF4-FFF2-40B4-BE49-F238E27FC236}">
                  <a16:creationId xmlns:a16="http://schemas.microsoft.com/office/drawing/2014/main" id="{A7A4A883-74F2-4F0B-BB42-A5DEBCB21370}"/>
                </a:ext>
              </a:extLst>
            </p:cNvPr>
            <p:cNvSpPr txBox="1">
              <a:spLocks noChangeArrowheads="1"/>
            </p:cNvSpPr>
            <p:nvPr/>
          </p:nvSpPr>
          <p:spPr bwMode="auto">
            <a:xfrm>
              <a:off x="1960891" y="2181743"/>
              <a:ext cx="1752539"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ctr" eaLnBrk="1" hangingPunct="1">
                <a:lnSpc>
                  <a:spcPct val="100000"/>
                </a:lnSpc>
                <a:spcBef>
                  <a:spcPct val="0"/>
                </a:spcBef>
                <a:buFontTx/>
                <a:buNone/>
              </a:pPr>
              <a:r>
                <a:rPr lang="id-ID" altLang="tr-TR" sz="3000" b="1" dirty="0">
                  <a:solidFill>
                    <a:schemeClr val="bg1"/>
                  </a:solidFill>
                  <a:latin typeface="Open Sans" panose="020B0606030504020204" pitchFamily="34" charset="0"/>
                  <a:cs typeface="Open Sans" panose="020B0606030504020204" pitchFamily="34" charset="0"/>
                </a:rPr>
                <a:t>20</a:t>
              </a:r>
              <a:r>
                <a:rPr lang="tr-TR" altLang="tr-TR" sz="3000" b="1" dirty="0">
                  <a:solidFill>
                    <a:schemeClr val="bg1"/>
                  </a:solidFill>
                  <a:latin typeface="Open Sans" panose="020B0606030504020204" pitchFamily="34" charset="0"/>
                  <a:cs typeface="Open Sans" panose="020B0606030504020204" pitchFamily="34" charset="0"/>
                </a:rPr>
                <a:t>06</a:t>
              </a:r>
              <a:endParaRPr lang="id-ID" altLang="tr-TR" sz="3000" b="1" dirty="0">
                <a:solidFill>
                  <a:schemeClr val="bg1"/>
                </a:solidFill>
                <a:latin typeface="Open Sans" panose="020B0606030504020204" pitchFamily="34" charset="0"/>
                <a:cs typeface="Open Sans" panose="020B0606030504020204" pitchFamily="34" charset="0"/>
              </a:endParaRPr>
            </a:p>
          </p:txBody>
        </p:sp>
      </p:grpSp>
      <p:grpSp>
        <p:nvGrpSpPr>
          <p:cNvPr id="5" name="Grup 4">
            <a:extLst>
              <a:ext uri="{FF2B5EF4-FFF2-40B4-BE49-F238E27FC236}">
                <a16:creationId xmlns:a16="http://schemas.microsoft.com/office/drawing/2014/main" id="{66D1F88B-D2B2-6D69-861F-E8C1639AC41B}"/>
              </a:ext>
            </a:extLst>
          </p:cNvPr>
          <p:cNvGrpSpPr>
            <a:grpSpLocks/>
          </p:cNvGrpSpPr>
          <p:nvPr/>
        </p:nvGrpSpPr>
        <p:grpSpPr bwMode="auto">
          <a:xfrm>
            <a:off x="3994150" y="-12700"/>
            <a:ext cx="2217738" cy="6870700"/>
            <a:chOff x="3664245" y="0"/>
            <a:chExt cx="1766466" cy="6858000"/>
          </a:xfrm>
        </p:grpSpPr>
        <p:sp>
          <p:nvSpPr>
            <p:cNvPr id="8" name="Rectangle 7">
              <a:extLst>
                <a:ext uri="{FF2B5EF4-FFF2-40B4-BE49-F238E27FC236}">
                  <a16:creationId xmlns:a16="http://schemas.microsoft.com/office/drawing/2014/main" id="{6272D7A1-86AA-2F01-BACB-AC4B0EE9C093}"/>
                </a:ext>
              </a:extLst>
            </p:cNvPr>
            <p:cNvSpPr/>
            <p:nvPr/>
          </p:nvSpPr>
          <p:spPr>
            <a:xfrm>
              <a:off x="3713560" y="0"/>
              <a:ext cx="164887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d-ID" sz="1350"/>
            </a:p>
          </p:txBody>
        </p:sp>
        <p:sp>
          <p:nvSpPr>
            <p:cNvPr id="29" name="Freeform 16">
              <a:extLst>
                <a:ext uri="{FF2B5EF4-FFF2-40B4-BE49-F238E27FC236}">
                  <a16:creationId xmlns:a16="http://schemas.microsoft.com/office/drawing/2014/main" id="{C424C74B-5271-F877-9BB5-AD878250F78E}"/>
                </a:ext>
              </a:extLst>
            </p:cNvPr>
            <p:cNvSpPr>
              <a:spLocks/>
            </p:cNvSpPr>
            <p:nvPr/>
          </p:nvSpPr>
          <p:spPr bwMode="auto">
            <a:xfrm>
              <a:off x="3713560" y="2235823"/>
              <a:ext cx="1648870" cy="1695485"/>
            </a:xfrm>
            <a:custGeom>
              <a:avLst/>
              <a:gdLst>
                <a:gd name="T0" fmla="*/ 1242 w 1276"/>
                <a:gd name="T1" fmla="*/ 529 h 1423"/>
                <a:gd name="T2" fmla="*/ 1225 w 1276"/>
                <a:gd name="T3" fmla="*/ 527 h 1423"/>
                <a:gd name="T4" fmla="*/ 1196 w 1276"/>
                <a:gd name="T5" fmla="*/ 505 h 1423"/>
                <a:gd name="T6" fmla="*/ 1172 w 1276"/>
                <a:gd name="T7" fmla="*/ 483 h 1423"/>
                <a:gd name="T8" fmla="*/ 1148 w 1276"/>
                <a:gd name="T9" fmla="*/ 461 h 1423"/>
                <a:gd name="T10" fmla="*/ 1126 w 1276"/>
                <a:gd name="T11" fmla="*/ 439 h 1423"/>
                <a:gd name="T12" fmla="*/ 1043 w 1276"/>
                <a:gd name="T13" fmla="*/ 434 h 1423"/>
                <a:gd name="T14" fmla="*/ 1005 w 1276"/>
                <a:gd name="T15" fmla="*/ 447 h 1423"/>
                <a:gd name="T16" fmla="*/ 985 w 1276"/>
                <a:gd name="T17" fmla="*/ 461 h 1423"/>
                <a:gd name="T18" fmla="*/ 981 w 1276"/>
                <a:gd name="T19" fmla="*/ 481 h 1423"/>
                <a:gd name="T20" fmla="*/ 959 w 1276"/>
                <a:gd name="T21" fmla="*/ 495 h 1423"/>
                <a:gd name="T22" fmla="*/ 939 w 1276"/>
                <a:gd name="T23" fmla="*/ 505 h 1423"/>
                <a:gd name="T24" fmla="*/ 937 w 1276"/>
                <a:gd name="T25" fmla="*/ 524 h 1423"/>
                <a:gd name="T26" fmla="*/ 913 w 1276"/>
                <a:gd name="T27" fmla="*/ 529 h 1423"/>
                <a:gd name="T28" fmla="*/ 840 w 1276"/>
                <a:gd name="T29" fmla="*/ 534 h 1423"/>
                <a:gd name="T30" fmla="*/ 840 w 1276"/>
                <a:gd name="T31" fmla="*/ 595 h 1423"/>
                <a:gd name="T32" fmla="*/ 765 w 1276"/>
                <a:gd name="T33" fmla="*/ 876 h 1423"/>
                <a:gd name="T34" fmla="*/ 763 w 1276"/>
                <a:gd name="T35" fmla="*/ 544 h 1423"/>
                <a:gd name="T36" fmla="*/ 690 w 1276"/>
                <a:gd name="T37" fmla="*/ 539 h 1423"/>
                <a:gd name="T38" fmla="*/ 668 w 1276"/>
                <a:gd name="T39" fmla="*/ 534 h 1423"/>
                <a:gd name="T40" fmla="*/ 661 w 1276"/>
                <a:gd name="T41" fmla="*/ 515 h 1423"/>
                <a:gd name="T42" fmla="*/ 646 w 1276"/>
                <a:gd name="T43" fmla="*/ 502 h 1423"/>
                <a:gd name="T44" fmla="*/ 625 w 1276"/>
                <a:gd name="T45" fmla="*/ 490 h 1423"/>
                <a:gd name="T46" fmla="*/ 617 w 1276"/>
                <a:gd name="T47" fmla="*/ 471 h 1423"/>
                <a:gd name="T48" fmla="*/ 600 w 1276"/>
                <a:gd name="T49" fmla="*/ 456 h 1423"/>
                <a:gd name="T50" fmla="*/ 559 w 1276"/>
                <a:gd name="T51" fmla="*/ 444 h 1423"/>
                <a:gd name="T52" fmla="*/ 482 w 1276"/>
                <a:gd name="T53" fmla="*/ 449 h 1423"/>
                <a:gd name="T54" fmla="*/ 460 w 1276"/>
                <a:gd name="T55" fmla="*/ 471 h 1423"/>
                <a:gd name="T56" fmla="*/ 436 w 1276"/>
                <a:gd name="T57" fmla="*/ 493 h 1423"/>
                <a:gd name="T58" fmla="*/ 411 w 1276"/>
                <a:gd name="T59" fmla="*/ 512 h 1423"/>
                <a:gd name="T60" fmla="*/ 385 w 1276"/>
                <a:gd name="T61" fmla="*/ 534 h 1423"/>
                <a:gd name="T62" fmla="*/ 382 w 1276"/>
                <a:gd name="T63" fmla="*/ 536 h 1423"/>
                <a:gd name="T64" fmla="*/ 322 w 1276"/>
                <a:gd name="T65" fmla="*/ 328 h 1423"/>
                <a:gd name="T66" fmla="*/ 264 w 1276"/>
                <a:gd name="T67" fmla="*/ 274 h 1423"/>
                <a:gd name="T68" fmla="*/ 201 w 1276"/>
                <a:gd name="T69" fmla="*/ 233 h 1423"/>
                <a:gd name="T70" fmla="*/ 179 w 1276"/>
                <a:gd name="T71" fmla="*/ 328 h 1423"/>
                <a:gd name="T72" fmla="*/ 181 w 1276"/>
                <a:gd name="T73" fmla="*/ 255 h 1423"/>
                <a:gd name="T74" fmla="*/ 179 w 1276"/>
                <a:gd name="T75" fmla="*/ 252 h 1423"/>
                <a:gd name="T76" fmla="*/ 181 w 1276"/>
                <a:gd name="T77" fmla="*/ 213 h 1423"/>
                <a:gd name="T78" fmla="*/ 179 w 1276"/>
                <a:gd name="T79" fmla="*/ 213 h 1423"/>
                <a:gd name="T80" fmla="*/ 181 w 1276"/>
                <a:gd name="T81" fmla="*/ 174 h 1423"/>
                <a:gd name="T82" fmla="*/ 179 w 1276"/>
                <a:gd name="T83" fmla="*/ 172 h 1423"/>
                <a:gd name="T84" fmla="*/ 116 w 1276"/>
                <a:gd name="T85" fmla="*/ 109 h 1423"/>
                <a:gd name="T86" fmla="*/ 29 w 1276"/>
                <a:gd name="T87" fmla="*/ 104 h 1423"/>
                <a:gd name="T88" fmla="*/ 29 w 1276"/>
                <a:gd name="T89" fmla="*/ 31 h 1423"/>
                <a:gd name="T90" fmla="*/ 29 w 1276"/>
                <a:gd name="T91" fmla="*/ 9 h 1423"/>
                <a:gd name="T92" fmla="*/ 29 w 1276"/>
                <a:gd name="T93" fmla="*/ 0 h 1423"/>
                <a:gd name="T94" fmla="*/ 0 w 1276"/>
                <a:gd name="T95" fmla="*/ 1423 h 1423"/>
                <a:gd name="T96" fmla="*/ 1276 w 1276"/>
                <a:gd name="T97" fmla="*/ 534 h 1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76" h="1423">
                  <a:moveTo>
                    <a:pt x="1276" y="534"/>
                  </a:moveTo>
                  <a:lnTo>
                    <a:pt x="1242" y="529"/>
                  </a:lnTo>
                  <a:lnTo>
                    <a:pt x="1223" y="532"/>
                  </a:lnTo>
                  <a:lnTo>
                    <a:pt x="1225" y="527"/>
                  </a:lnTo>
                  <a:lnTo>
                    <a:pt x="1196" y="524"/>
                  </a:lnTo>
                  <a:lnTo>
                    <a:pt x="1196" y="505"/>
                  </a:lnTo>
                  <a:lnTo>
                    <a:pt x="1172" y="502"/>
                  </a:lnTo>
                  <a:lnTo>
                    <a:pt x="1172" y="483"/>
                  </a:lnTo>
                  <a:lnTo>
                    <a:pt x="1148" y="481"/>
                  </a:lnTo>
                  <a:lnTo>
                    <a:pt x="1148" y="461"/>
                  </a:lnTo>
                  <a:lnTo>
                    <a:pt x="1123" y="459"/>
                  </a:lnTo>
                  <a:lnTo>
                    <a:pt x="1126" y="439"/>
                  </a:lnTo>
                  <a:lnTo>
                    <a:pt x="1094" y="434"/>
                  </a:lnTo>
                  <a:lnTo>
                    <a:pt x="1043" y="434"/>
                  </a:lnTo>
                  <a:lnTo>
                    <a:pt x="1007" y="439"/>
                  </a:lnTo>
                  <a:lnTo>
                    <a:pt x="1005" y="447"/>
                  </a:lnTo>
                  <a:lnTo>
                    <a:pt x="1005" y="459"/>
                  </a:lnTo>
                  <a:lnTo>
                    <a:pt x="985" y="461"/>
                  </a:lnTo>
                  <a:lnTo>
                    <a:pt x="983" y="471"/>
                  </a:lnTo>
                  <a:lnTo>
                    <a:pt x="981" y="481"/>
                  </a:lnTo>
                  <a:lnTo>
                    <a:pt x="964" y="483"/>
                  </a:lnTo>
                  <a:lnTo>
                    <a:pt x="959" y="495"/>
                  </a:lnTo>
                  <a:lnTo>
                    <a:pt x="959" y="502"/>
                  </a:lnTo>
                  <a:lnTo>
                    <a:pt x="939" y="505"/>
                  </a:lnTo>
                  <a:lnTo>
                    <a:pt x="937" y="517"/>
                  </a:lnTo>
                  <a:lnTo>
                    <a:pt x="937" y="524"/>
                  </a:lnTo>
                  <a:lnTo>
                    <a:pt x="915" y="527"/>
                  </a:lnTo>
                  <a:lnTo>
                    <a:pt x="913" y="529"/>
                  </a:lnTo>
                  <a:lnTo>
                    <a:pt x="893" y="527"/>
                  </a:lnTo>
                  <a:lnTo>
                    <a:pt x="840" y="534"/>
                  </a:lnTo>
                  <a:lnTo>
                    <a:pt x="840" y="595"/>
                  </a:lnTo>
                  <a:lnTo>
                    <a:pt x="840" y="595"/>
                  </a:lnTo>
                  <a:lnTo>
                    <a:pt x="840" y="876"/>
                  </a:lnTo>
                  <a:lnTo>
                    <a:pt x="765" y="876"/>
                  </a:lnTo>
                  <a:lnTo>
                    <a:pt x="763" y="600"/>
                  </a:lnTo>
                  <a:lnTo>
                    <a:pt x="763" y="544"/>
                  </a:lnTo>
                  <a:lnTo>
                    <a:pt x="707" y="536"/>
                  </a:lnTo>
                  <a:lnTo>
                    <a:pt x="690" y="539"/>
                  </a:lnTo>
                  <a:lnTo>
                    <a:pt x="688" y="536"/>
                  </a:lnTo>
                  <a:lnTo>
                    <a:pt x="668" y="534"/>
                  </a:lnTo>
                  <a:lnTo>
                    <a:pt x="668" y="527"/>
                  </a:lnTo>
                  <a:lnTo>
                    <a:pt x="661" y="515"/>
                  </a:lnTo>
                  <a:lnTo>
                    <a:pt x="646" y="512"/>
                  </a:lnTo>
                  <a:lnTo>
                    <a:pt x="646" y="502"/>
                  </a:lnTo>
                  <a:lnTo>
                    <a:pt x="639" y="493"/>
                  </a:lnTo>
                  <a:lnTo>
                    <a:pt x="625" y="490"/>
                  </a:lnTo>
                  <a:lnTo>
                    <a:pt x="625" y="481"/>
                  </a:lnTo>
                  <a:lnTo>
                    <a:pt x="617" y="471"/>
                  </a:lnTo>
                  <a:lnTo>
                    <a:pt x="603" y="468"/>
                  </a:lnTo>
                  <a:lnTo>
                    <a:pt x="600" y="456"/>
                  </a:lnTo>
                  <a:lnTo>
                    <a:pt x="598" y="449"/>
                  </a:lnTo>
                  <a:lnTo>
                    <a:pt x="559" y="444"/>
                  </a:lnTo>
                  <a:lnTo>
                    <a:pt x="511" y="444"/>
                  </a:lnTo>
                  <a:lnTo>
                    <a:pt x="482" y="449"/>
                  </a:lnTo>
                  <a:lnTo>
                    <a:pt x="482" y="466"/>
                  </a:lnTo>
                  <a:lnTo>
                    <a:pt x="460" y="471"/>
                  </a:lnTo>
                  <a:lnTo>
                    <a:pt x="460" y="488"/>
                  </a:lnTo>
                  <a:lnTo>
                    <a:pt x="436" y="493"/>
                  </a:lnTo>
                  <a:lnTo>
                    <a:pt x="436" y="510"/>
                  </a:lnTo>
                  <a:lnTo>
                    <a:pt x="411" y="512"/>
                  </a:lnTo>
                  <a:lnTo>
                    <a:pt x="411" y="532"/>
                  </a:lnTo>
                  <a:lnTo>
                    <a:pt x="385" y="534"/>
                  </a:lnTo>
                  <a:lnTo>
                    <a:pt x="385" y="536"/>
                  </a:lnTo>
                  <a:lnTo>
                    <a:pt x="382" y="536"/>
                  </a:lnTo>
                  <a:lnTo>
                    <a:pt x="382" y="328"/>
                  </a:lnTo>
                  <a:lnTo>
                    <a:pt x="322" y="328"/>
                  </a:lnTo>
                  <a:lnTo>
                    <a:pt x="322" y="274"/>
                  </a:lnTo>
                  <a:lnTo>
                    <a:pt x="264" y="274"/>
                  </a:lnTo>
                  <a:lnTo>
                    <a:pt x="264" y="233"/>
                  </a:lnTo>
                  <a:lnTo>
                    <a:pt x="201" y="233"/>
                  </a:lnTo>
                  <a:lnTo>
                    <a:pt x="201" y="328"/>
                  </a:lnTo>
                  <a:lnTo>
                    <a:pt x="179" y="328"/>
                  </a:lnTo>
                  <a:lnTo>
                    <a:pt x="179" y="257"/>
                  </a:lnTo>
                  <a:lnTo>
                    <a:pt x="181" y="255"/>
                  </a:lnTo>
                  <a:lnTo>
                    <a:pt x="181" y="252"/>
                  </a:lnTo>
                  <a:lnTo>
                    <a:pt x="179" y="252"/>
                  </a:lnTo>
                  <a:lnTo>
                    <a:pt x="179" y="218"/>
                  </a:lnTo>
                  <a:lnTo>
                    <a:pt x="181" y="213"/>
                  </a:lnTo>
                  <a:lnTo>
                    <a:pt x="181" y="213"/>
                  </a:lnTo>
                  <a:lnTo>
                    <a:pt x="179" y="213"/>
                  </a:lnTo>
                  <a:lnTo>
                    <a:pt x="179" y="177"/>
                  </a:lnTo>
                  <a:lnTo>
                    <a:pt x="181" y="174"/>
                  </a:lnTo>
                  <a:lnTo>
                    <a:pt x="181" y="172"/>
                  </a:lnTo>
                  <a:lnTo>
                    <a:pt x="179" y="172"/>
                  </a:lnTo>
                  <a:lnTo>
                    <a:pt x="179" y="114"/>
                  </a:lnTo>
                  <a:lnTo>
                    <a:pt x="116" y="109"/>
                  </a:lnTo>
                  <a:lnTo>
                    <a:pt x="43" y="104"/>
                  </a:lnTo>
                  <a:lnTo>
                    <a:pt x="29" y="104"/>
                  </a:lnTo>
                  <a:lnTo>
                    <a:pt x="29" y="51"/>
                  </a:lnTo>
                  <a:lnTo>
                    <a:pt x="29" y="31"/>
                  </a:lnTo>
                  <a:lnTo>
                    <a:pt x="29" y="26"/>
                  </a:lnTo>
                  <a:lnTo>
                    <a:pt x="29" y="9"/>
                  </a:lnTo>
                  <a:lnTo>
                    <a:pt x="29" y="4"/>
                  </a:lnTo>
                  <a:lnTo>
                    <a:pt x="29" y="0"/>
                  </a:lnTo>
                  <a:lnTo>
                    <a:pt x="0" y="0"/>
                  </a:lnTo>
                  <a:lnTo>
                    <a:pt x="0" y="1423"/>
                  </a:lnTo>
                  <a:lnTo>
                    <a:pt x="1276" y="1423"/>
                  </a:lnTo>
                  <a:lnTo>
                    <a:pt x="1276" y="534"/>
                  </a:lnTo>
                  <a:close/>
                </a:path>
              </a:pathLst>
            </a:custGeom>
            <a:solidFill>
              <a:schemeClr val="accent3">
                <a:lumMod val="75000"/>
              </a:schemeClr>
            </a:solidFill>
            <a:ln>
              <a:noFill/>
            </a:ln>
          </p:spPr>
          <p:txBody>
            <a:bodyPr lIns="68580" tIns="34290" rIns="68580" bIns="34290"/>
            <a:lstStyle/>
            <a:p>
              <a:pPr eaLnBrk="1" fontAlgn="auto" hangingPunct="1">
                <a:spcBef>
                  <a:spcPts val="0"/>
                </a:spcBef>
                <a:spcAft>
                  <a:spcPts val="0"/>
                </a:spcAft>
                <a:defRPr/>
              </a:pPr>
              <a:endParaRPr lang="id-ID" sz="1350">
                <a:latin typeface="+mn-lt"/>
              </a:endParaRPr>
            </a:p>
          </p:txBody>
        </p:sp>
        <p:sp>
          <p:nvSpPr>
            <p:cNvPr id="22558" name="TextBox 13">
              <a:extLst>
                <a:ext uri="{FF2B5EF4-FFF2-40B4-BE49-F238E27FC236}">
                  <a16:creationId xmlns:a16="http://schemas.microsoft.com/office/drawing/2014/main" id="{5996766D-BF31-F1C3-3740-3DACBCA475E1}"/>
                </a:ext>
              </a:extLst>
            </p:cNvPr>
            <p:cNvSpPr txBox="1">
              <a:spLocks noChangeArrowheads="1"/>
            </p:cNvSpPr>
            <p:nvPr/>
          </p:nvSpPr>
          <p:spPr bwMode="auto">
            <a:xfrm>
              <a:off x="3664245" y="2181743"/>
              <a:ext cx="169833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ctr" eaLnBrk="1" hangingPunct="1">
                <a:lnSpc>
                  <a:spcPct val="100000"/>
                </a:lnSpc>
                <a:spcBef>
                  <a:spcPct val="0"/>
                </a:spcBef>
                <a:buFontTx/>
                <a:buNone/>
              </a:pPr>
              <a:r>
                <a:rPr lang="id-ID" altLang="tr-TR" sz="3000" b="1">
                  <a:solidFill>
                    <a:schemeClr val="bg1"/>
                  </a:solidFill>
                  <a:latin typeface="Open Sans" panose="020B0606030504020204" pitchFamily="34" charset="0"/>
                  <a:cs typeface="Open Sans" panose="020B0606030504020204" pitchFamily="34" charset="0"/>
                </a:rPr>
                <a:t>20</a:t>
              </a:r>
              <a:r>
                <a:rPr lang="tr-TR" altLang="tr-TR" sz="3000" b="1">
                  <a:solidFill>
                    <a:schemeClr val="bg1"/>
                  </a:solidFill>
                  <a:latin typeface="Open Sans" panose="020B0606030504020204" pitchFamily="34" charset="0"/>
                  <a:cs typeface="Open Sans" panose="020B0606030504020204" pitchFamily="34" charset="0"/>
                </a:rPr>
                <a:t>07</a:t>
              </a:r>
              <a:endParaRPr lang="id-ID" altLang="tr-TR" sz="3000" b="1">
                <a:solidFill>
                  <a:schemeClr val="bg1"/>
                </a:solidFill>
                <a:latin typeface="Open Sans" panose="020B0606030504020204" pitchFamily="34" charset="0"/>
                <a:cs typeface="Open Sans" panose="020B0606030504020204" pitchFamily="34" charset="0"/>
              </a:endParaRPr>
            </a:p>
          </p:txBody>
        </p:sp>
        <p:sp>
          <p:nvSpPr>
            <p:cNvPr id="34" name="Rectangle 33">
              <a:extLst>
                <a:ext uri="{FF2B5EF4-FFF2-40B4-BE49-F238E27FC236}">
                  <a16:creationId xmlns:a16="http://schemas.microsoft.com/office/drawing/2014/main" id="{8B9568DF-5E4A-5C27-B3F7-8C4328701D52}"/>
                </a:ext>
              </a:extLst>
            </p:cNvPr>
            <p:cNvSpPr/>
            <p:nvPr/>
          </p:nvSpPr>
          <p:spPr>
            <a:xfrm>
              <a:off x="3712295" y="3558934"/>
              <a:ext cx="1650135" cy="3299066"/>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d-ID" sz="1350"/>
            </a:p>
          </p:txBody>
        </p:sp>
        <p:sp>
          <p:nvSpPr>
            <p:cNvPr id="22560" name="TextBox 39">
              <a:extLst>
                <a:ext uri="{FF2B5EF4-FFF2-40B4-BE49-F238E27FC236}">
                  <a16:creationId xmlns:a16="http://schemas.microsoft.com/office/drawing/2014/main" id="{3CAD140F-440A-3831-DD03-4ADACF2D02E1}"/>
                </a:ext>
              </a:extLst>
            </p:cNvPr>
            <p:cNvSpPr txBox="1">
              <a:spLocks noChangeArrowheads="1"/>
            </p:cNvSpPr>
            <p:nvPr/>
          </p:nvSpPr>
          <p:spPr bwMode="auto">
            <a:xfrm>
              <a:off x="3664245" y="3223197"/>
              <a:ext cx="1766466"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ctr" eaLnBrk="1" hangingPunct="1">
                <a:lnSpc>
                  <a:spcPct val="100000"/>
                </a:lnSpc>
                <a:spcBef>
                  <a:spcPct val="0"/>
                </a:spcBef>
                <a:buFontTx/>
                <a:buNone/>
              </a:pPr>
              <a:r>
                <a:rPr lang="tr-TR" altLang="tr-TR" sz="1400" b="1">
                  <a:solidFill>
                    <a:schemeClr val="bg1"/>
                  </a:solidFill>
                  <a:latin typeface="Open Sans" panose="020B0606030504020204" pitchFamily="34" charset="0"/>
                  <a:cs typeface="Open Sans" panose="020B0606030504020204" pitchFamily="34" charset="0"/>
                </a:rPr>
                <a:t>SPK Gayrimenkul Değerleme Şirketleri Listesine Giriş</a:t>
              </a:r>
              <a:endParaRPr lang="id-ID" altLang="tr-TR" sz="1400" b="1">
                <a:solidFill>
                  <a:schemeClr val="bg1"/>
                </a:solidFill>
                <a:latin typeface="Open Sans" panose="020B0606030504020204" pitchFamily="34" charset="0"/>
                <a:cs typeface="Open Sans" panose="020B0606030504020204" pitchFamily="34" charset="0"/>
              </a:endParaRPr>
            </a:p>
          </p:txBody>
        </p:sp>
      </p:grpSp>
      <p:grpSp>
        <p:nvGrpSpPr>
          <p:cNvPr id="4" name="Grup 3">
            <a:extLst>
              <a:ext uri="{FF2B5EF4-FFF2-40B4-BE49-F238E27FC236}">
                <a16:creationId xmlns:a16="http://schemas.microsoft.com/office/drawing/2014/main" id="{3D951776-8D11-195E-A5EE-7F92667B4349}"/>
              </a:ext>
            </a:extLst>
          </p:cNvPr>
          <p:cNvGrpSpPr>
            <a:grpSpLocks/>
          </p:cNvGrpSpPr>
          <p:nvPr/>
        </p:nvGrpSpPr>
        <p:grpSpPr bwMode="auto">
          <a:xfrm>
            <a:off x="6075363" y="-12700"/>
            <a:ext cx="2046287" cy="6870700"/>
            <a:chOff x="5348858" y="-12335"/>
            <a:chExt cx="1874455" cy="6870330"/>
          </a:xfrm>
        </p:grpSpPr>
        <p:sp>
          <p:nvSpPr>
            <p:cNvPr id="9" name="Rectangle 8">
              <a:extLst>
                <a:ext uri="{FF2B5EF4-FFF2-40B4-BE49-F238E27FC236}">
                  <a16:creationId xmlns:a16="http://schemas.microsoft.com/office/drawing/2014/main" id="{5D385C63-4ACE-F22C-C99F-6AE48A69092B}"/>
                </a:ext>
              </a:extLst>
            </p:cNvPr>
            <p:cNvSpPr/>
            <p:nvPr/>
          </p:nvSpPr>
          <p:spPr>
            <a:xfrm>
              <a:off x="5361945" y="-12335"/>
              <a:ext cx="1861368" cy="685763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d-ID" sz="1350"/>
            </a:p>
          </p:txBody>
        </p:sp>
        <p:sp>
          <p:nvSpPr>
            <p:cNvPr id="35" name="Rectangle 34">
              <a:extLst>
                <a:ext uri="{FF2B5EF4-FFF2-40B4-BE49-F238E27FC236}">
                  <a16:creationId xmlns:a16="http://schemas.microsoft.com/office/drawing/2014/main" id="{E8F6018B-908D-C998-ABD8-C2551B23ADA6}"/>
                </a:ext>
              </a:extLst>
            </p:cNvPr>
            <p:cNvSpPr/>
            <p:nvPr/>
          </p:nvSpPr>
          <p:spPr>
            <a:xfrm>
              <a:off x="5361945" y="3559348"/>
              <a:ext cx="1861368" cy="3298647"/>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d-ID" sz="1350"/>
            </a:p>
          </p:txBody>
        </p:sp>
        <p:sp>
          <p:nvSpPr>
            <p:cNvPr id="28" name="Freeform 15">
              <a:extLst>
                <a:ext uri="{FF2B5EF4-FFF2-40B4-BE49-F238E27FC236}">
                  <a16:creationId xmlns:a16="http://schemas.microsoft.com/office/drawing/2014/main" id="{0BA2B5A8-FCA3-90EE-CB22-E57F27FE1416}"/>
                </a:ext>
              </a:extLst>
            </p:cNvPr>
            <p:cNvSpPr>
              <a:spLocks/>
            </p:cNvSpPr>
            <p:nvPr/>
          </p:nvSpPr>
          <p:spPr bwMode="auto">
            <a:xfrm>
              <a:off x="5361945" y="2510067"/>
              <a:ext cx="1848280" cy="1420735"/>
            </a:xfrm>
            <a:custGeom>
              <a:avLst/>
              <a:gdLst>
                <a:gd name="T0" fmla="*/ 1278 w 1278"/>
                <a:gd name="T1" fmla="*/ 836 h 1193"/>
                <a:gd name="T2" fmla="*/ 1271 w 1278"/>
                <a:gd name="T3" fmla="*/ 819 h 1193"/>
                <a:gd name="T4" fmla="*/ 1252 w 1278"/>
                <a:gd name="T5" fmla="*/ 821 h 1193"/>
                <a:gd name="T6" fmla="*/ 1242 w 1278"/>
                <a:gd name="T7" fmla="*/ 807 h 1193"/>
                <a:gd name="T8" fmla="*/ 1206 w 1278"/>
                <a:gd name="T9" fmla="*/ 700 h 1193"/>
                <a:gd name="T10" fmla="*/ 1167 w 1278"/>
                <a:gd name="T11" fmla="*/ 693 h 1193"/>
                <a:gd name="T12" fmla="*/ 1126 w 1278"/>
                <a:gd name="T13" fmla="*/ 651 h 1193"/>
                <a:gd name="T14" fmla="*/ 1075 w 1278"/>
                <a:gd name="T15" fmla="*/ 598 h 1193"/>
                <a:gd name="T16" fmla="*/ 1068 w 1278"/>
                <a:gd name="T17" fmla="*/ 586 h 1193"/>
                <a:gd name="T18" fmla="*/ 1053 w 1278"/>
                <a:gd name="T19" fmla="*/ 566 h 1193"/>
                <a:gd name="T20" fmla="*/ 1048 w 1278"/>
                <a:gd name="T21" fmla="*/ 581 h 1193"/>
                <a:gd name="T22" fmla="*/ 1034 w 1278"/>
                <a:gd name="T23" fmla="*/ 593 h 1193"/>
                <a:gd name="T24" fmla="*/ 1034 w 1278"/>
                <a:gd name="T25" fmla="*/ 625 h 1193"/>
                <a:gd name="T26" fmla="*/ 956 w 1278"/>
                <a:gd name="T27" fmla="*/ 685 h 1193"/>
                <a:gd name="T28" fmla="*/ 925 w 1278"/>
                <a:gd name="T29" fmla="*/ 695 h 1193"/>
                <a:gd name="T30" fmla="*/ 884 w 1278"/>
                <a:gd name="T31" fmla="*/ 824 h 1193"/>
                <a:gd name="T32" fmla="*/ 864 w 1278"/>
                <a:gd name="T33" fmla="*/ 807 h 1193"/>
                <a:gd name="T34" fmla="*/ 850 w 1278"/>
                <a:gd name="T35" fmla="*/ 838 h 1193"/>
                <a:gd name="T36" fmla="*/ 833 w 1278"/>
                <a:gd name="T37" fmla="*/ 819 h 1193"/>
                <a:gd name="T38" fmla="*/ 814 w 1278"/>
                <a:gd name="T39" fmla="*/ 841 h 1193"/>
                <a:gd name="T40" fmla="*/ 751 w 1278"/>
                <a:gd name="T41" fmla="*/ 32 h 1193"/>
                <a:gd name="T42" fmla="*/ 445 w 1278"/>
                <a:gd name="T43" fmla="*/ 855 h 1193"/>
                <a:gd name="T44" fmla="*/ 431 w 1278"/>
                <a:gd name="T45" fmla="*/ 739 h 1193"/>
                <a:gd name="T46" fmla="*/ 404 w 1278"/>
                <a:gd name="T47" fmla="*/ 756 h 1193"/>
                <a:gd name="T48" fmla="*/ 378 w 1278"/>
                <a:gd name="T49" fmla="*/ 561 h 1193"/>
                <a:gd name="T50" fmla="*/ 375 w 1278"/>
                <a:gd name="T51" fmla="*/ 547 h 1193"/>
                <a:gd name="T52" fmla="*/ 368 w 1278"/>
                <a:gd name="T53" fmla="*/ 569 h 1193"/>
                <a:gd name="T54" fmla="*/ 351 w 1278"/>
                <a:gd name="T55" fmla="*/ 479 h 1193"/>
                <a:gd name="T56" fmla="*/ 341 w 1278"/>
                <a:gd name="T57" fmla="*/ 348 h 1193"/>
                <a:gd name="T58" fmla="*/ 324 w 1278"/>
                <a:gd name="T59" fmla="*/ 372 h 1193"/>
                <a:gd name="T60" fmla="*/ 312 w 1278"/>
                <a:gd name="T61" fmla="*/ 479 h 1193"/>
                <a:gd name="T62" fmla="*/ 295 w 1278"/>
                <a:gd name="T63" fmla="*/ 561 h 1193"/>
                <a:gd name="T64" fmla="*/ 290 w 1278"/>
                <a:gd name="T65" fmla="*/ 547 h 1193"/>
                <a:gd name="T66" fmla="*/ 288 w 1278"/>
                <a:gd name="T67" fmla="*/ 569 h 1193"/>
                <a:gd name="T68" fmla="*/ 269 w 1278"/>
                <a:gd name="T69" fmla="*/ 693 h 1193"/>
                <a:gd name="T70" fmla="*/ 269 w 1278"/>
                <a:gd name="T71" fmla="*/ 695 h 1193"/>
                <a:gd name="T72" fmla="*/ 261 w 1278"/>
                <a:gd name="T73" fmla="*/ 758 h 1193"/>
                <a:gd name="T74" fmla="*/ 244 w 1278"/>
                <a:gd name="T75" fmla="*/ 712 h 1193"/>
                <a:gd name="T76" fmla="*/ 232 w 1278"/>
                <a:gd name="T77" fmla="*/ 574 h 1193"/>
                <a:gd name="T78" fmla="*/ 208 w 1278"/>
                <a:gd name="T79" fmla="*/ 710 h 1193"/>
                <a:gd name="T80" fmla="*/ 194 w 1278"/>
                <a:gd name="T81" fmla="*/ 748 h 1193"/>
                <a:gd name="T82" fmla="*/ 174 w 1278"/>
                <a:gd name="T83" fmla="*/ 688 h 1193"/>
                <a:gd name="T84" fmla="*/ 172 w 1278"/>
                <a:gd name="T85" fmla="*/ 685 h 1193"/>
                <a:gd name="T86" fmla="*/ 169 w 1278"/>
                <a:gd name="T87" fmla="*/ 615 h 1193"/>
                <a:gd name="T88" fmla="*/ 167 w 1278"/>
                <a:gd name="T89" fmla="*/ 610 h 1193"/>
                <a:gd name="T90" fmla="*/ 157 w 1278"/>
                <a:gd name="T91" fmla="*/ 557 h 1193"/>
                <a:gd name="T92" fmla="*/ 148 w 1278"/>
                <a:gd name="T93" fmla="*/ 547 h 1193"/>
                <a:gd name="T94" fmla="*/ 123 w 1278"/>
                <a:gd name="T95" fmla="*/ 479 h 1193"/>
                <a:gd name="T96" fmla="*/ 123 w 1278"/>
                <a:gd name="T97" fmla="*/ 464 h 1193"/>
                <a:gd name="T98" fmla="*/ 121 w 1278"/>
                <a:gd name="T99" fmla="*/ 304 h 1193"/>
                <a:gd name="T100" fmla="*/ 97 w 1278"/>
                <a:gd name="T101" fmla="*/ 464 h 1193"/>
                <a:gd name="T102" fmla="*/ 94 w 1278"/>
                <a:gd name="T103" fmla="*/ 476 h 1193"/>
                <a:gd name="T104" fmla="*/ 70 w 1278"/>
                <a:gd name="T105" fmla="*/ 554 h 1193"/>
                <a:gd name="T106" fmla="*/ 60 w 1278"/>
                <a:gd name="T107" fmla="*/ 549 h 1193"/>
                <a:gd name="T108" fmla="*/ 48 w 1278"/>
                <a:gd name="T109" fmla="*/ 610 h 1193"/>
                <a:gd name="T110" fmla="*/ 41 w 1278"/>
                <a:gd name="T111" fmla="*/ 746 h 1193"/>
                <a:gd name="T112" fmla="*/ 17 w 1278"/>
                <a:gd name="T113" fmla="*/ 739 h 1193"/>
                <a:gd name="T114" fmla="*/ 7 w 1278"/>
                <a:gd name="T115" fmla="*/ 848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78" h="1193">
                  <a:moveTo>
                    <a:pt x="12" y="306"/>
                  </a:moveTo>
                  <a:lnTo>
                    <a:pt x="0" y="304"/>
                  </a:lnTo>
                  <a:lnTo>
                    <a:pt x="0" y="1193"/>
                  </a:lnTo>
                  <a:lnTo>
                    <a:pt x="1278" y="1193"/>
                  </a:lnTo>
                  <a:lnTo>
                    <a:pt x="1278" y="836"/>
                  </a:lnTo>
                  <a:lnTo>
                    <a:pt x="1274" y="836"/>
                  </a:lnTo>
                  <a:lnTo>
                    <a:pt x="1274" y="819"/>
                  </a:lnTo>
                  <a:lnTo>
                    <a:pt x="1271" y="819"/>
                  </a:lnTo>
                  <a:lnTo>
                    <a:pt x="1271" y="819"/>
                  </a:lnTo>
                  <a:lnTo>
                    <a:pt x="1271" y="819"/>
                  </a:lnTo>
                  <a:lnTo>
                    <a:pt x="1269" y="819"/>
                  </a:lnTo>
                  <a:lnTo>
                    <a:pt x="1269" y="836"/>
                  </a:lnTo>
                  <a:lnTo>
                    <a:pt x="1257" y="836"/>
                  </a:lnTo>
                  <a:lnTo>
                    <a:pt x="1257" y="824"/>
                  </a:lnTo>
                  <a:lnTo>
                    <a:pt x="1252" y="821"/>
                  </a:lnTo>
                  <a:lnTo>
                    <a:pt x="1245" y="821"/>
                  </a:lnTo>
                  <a:lnTo>
                    <a:pt x="1245" y="807"/>
                  </a:lnTo>
                  <a:lnTo>
                    <a:pt x="1242" y="807"/>
                  </a:lnTo>
                  <a:lnTo>
                    <a:pt x="1242" y="807"/>
                  </a:lnTo>
                  <a:lnTo>
                    <a:pt x="1242" y="807"/>
                  </a:lnTo>
                  <a:lnTo>
                    <a:pt x="1240" y="807"/>
                  </a:lnTo>
                  <a:lnTo>
                    <a:pt x="1240" y="821"/>
                  </a:lnTo>
                  <a:lnTo>
                    <a:pt x="1220" y="821"/>
                  </a:lnTo>
                  <a:lnTo>
                    <a:pt x="1223" y="702"/>
                  </a:lnTo>
                  <a:lnTo>
                    <a:pt x="1206" y="700"/>
                  </a:lnTo>
                  <a:lnTo>
                    <a:pt x="1182" y="700"/>
                  </a:lnTo>
                  <a:lnTo>
                    <a:pt x="1174" y="695"/>
                  </a:lnTo>
                  <a:lnTo>
                    <a:pt x="1174" y="695"/>
                  </a:lnTo>
                  <a:lnTo>
                    <a:pt x="1172" y="695"/>
                  </a:lnTo>
                  <a:lnTo>
                    <a:pt x="1167" y="693"/>
                  </a:lnTo>
                  <a:lnTo>
                    <a:pt x="1167" y="688"/>
                  </a:lnTo>
                  <a:lnTo>
                    <a:pt x="1155" y="685"/>
                  </a:lnTo>
                  <a:lnTo>
                    <a:pt x="1150" y="685"/>
                  </a:lnTo>
                  <a:lnTo>
                    <a:pt x="1140" y="668"/>
                  </a:lnTo>
                  <a:lnTo>
                    <a:pt x="1126" y="651"/>
                  </a:lnTo>
                  <a:lnTo>
                    <a:pt x="1111" y="639"/>
                  </a:lnTo>
                  <a:lnTo>
                    <a:pt x="1092" y="629"/>
                  </a:lnTo>
                  <a:lnTo>
                    <a:pt x="1073" y="625"/>
                  </a:lnTo>
                  <a:lnTo>
                    <a:pt x="1073" y="598"/>
                  </a:lnTo>
                  <a:lnTo>
                    <a:pt x="1075" y="598"/>
                  </a:lnTo>
                  <a:lnTo>
                    <a:pt x="1075" y="595"/>
                  </a:lnTo>
                  <a:lnTo>
                    <a:pt x="1075" y="593"/>
                  </a:lnTo>
                  <a:lnTo>
                    <a:pt x="1073" y="593"/>
                  </a:lnTo>
                  <a:lnTo>
                    <a:pt x="1070" y="588"/>
                  </a:lnTo>
                  <a:lnTo>
                    <a:pt x="1068" y="586"/>
                  </a:lnTo>
                  <a:lnTo>
                    <a:pt x="1063" y="583"/>
                  </a:lnTo>
                  <a:lnTo>
                    <a:pt x="1061" y="581"/>
                  </a:lnTo>
                  <a:lnTo>
                    <a:pt x="1056" y="581"/>
                  </a:lnTo>
                  <a:lnTo>
                    <a:pt x="1056" y="566"/>
                  </a:lnTo>
                  <a:lnTo>
                    <a:pt x="1053" y="566"/>
                  </a:lnTo>
                  <a:lnTo>
                    <a:pt x="1053" y="564"/>
                  </a:lnTo>
                  <a:lnTo>
                    <a:pt x="1053" y="566"/>
                  </a:lnTo>
                  <a:lnTo>
                    <a:pt x="1048" y="566"/>
                  </a:lnTo>
                  <a:lnTo>
                    <a:pt x="1048" y="581"/>
                  </a:lnTo>
                  <a:lnTo>
                    <a:pt x="1048" y="581"/>
                  </a:lnTo>
                  <a:lnTo>
                    <a:pt x="1046" y="581"/>
                  </a:lnTo>
                  <a:lnTo>
                    <a:pt x="1041" y="583"/>
                  </a:lnTo>
                  <a:lnTo>
                    <a:pt x="1039" y="586"/>
                  </a:lnTo>
                  <a:lnTo>
                    <a:pt x="1036" y="588"/>
                  </a:lnTo>
                  <a:lnTo>
                    <a:pt x="1034" y="593"/>
                  </a:lnTo>
                  <a:lnTo>
                    <a:pt x="1031" y="593"/>
                  </a:lnTo>
                  <a:lnTo>
                    <a:pt x="1031" y="595"/>
                  </a:lnTo>
                  <a:lnTo>
                    <a:pt x="1031" y="598"/>
                  </a:lnTo>
                  <a:lnTo>
                    <a:pt x="1034" y="598"/>
                  </a:lnTo>
                  <a:lnTo>
                    <a:pt x="1034" y="625"/>
                  </a:lnTo>
                  <a:lnTo>
                    <a:pt x="1014" y="629"/>
                  </a:lnTo>
                  <a:lnTo>
                    <a:pt x="995" y="639"/>
                  </a:lnTo>
                  <a:lnTo>
                    <a:pt x="978" y="651"/>
                  </a:lnTo>
                  <a:lnTo>
                    <a:pt x="964" y="668"/>
                  </a:lnTo>
                  <a:lnTo>
                    <a:pt x="956" y="685"/>
                  </a:lnTo>
                  <a:lnTo>
                    <a:pt x="949" y="685"/>
                  </a:lnTo>
                  <a:lnTo>
                    <a:pt x="937" y="688"/>
                  </a:lnTo>
                  <a:lnTo>
                    <a:pt x="937" y="693"/>
                  </a:lnTo>
                  <a:lnTo>
                    <a:pt x="935" y="695"/>
                  </a:lnTo>
                  <a:lnTo>
                    <a:pt x="925" y="695"/>
                  </a:lnTo>
                  <a:lnTo>
                    <a:pt x="925" y="697"/>
                  </a:lnTo>
                  <a:lnTo>
                    <a:pt x="922" y="700"/>
                  </a:lnTo>
                  <a:lnTo>
                    <a:pt x="896" y="700"/>
                  </a:lnTo>
                  <a:lnTo>
                    <a:pt x="881" y="702"/>
                  </a:lnTo>
                  <a:lnTo>
                    <a:pt x="884" y="824"/>
                  </a:lnTo>
                  <a:lnTo>
                    <a:pt x="867" y="824"/>
                  </a:lnTo>
                  <a:lnTo>
                    <a:pt x="867" y="807"/>
                  </a:lnTo>
                  <a:lnTo>
                    <a:pt x="864" y="807"/>
                  </a:lnTo>
                  <a:lnTo>
                    <a:pt x="864" y="807"/>
                  </a:lnTo>
                  <a:lnTo>
                    <a:pt x="864" y="807"/>
                  </a:lnTo>
                  <a:lnTo>
                    <a:pt x="862" y="807"/>
                  </a:lnTo>
                  <a:lnTo>
                    <a:pt x="862" y="824"/>
                  </a:lnTo>
                  <a:lnTo>
                    <a:pt x="855" y="824"/>
                  </a:lnTo>
                  <a:lnTo>
                    <a:pt x="850" y="826"/>
                  </a:lnTo>
                  <a:lnTo>
                    <a:pt x="850" y="838"/>
                  </a:lnTo>
                  <a:lnTo>
                    <a:pt x="850" y="838"/>
                  </a:lnTo>
                  <a:lnTo>
                    <a:pt x="835" y="838"/>
                  </a:lnTo>
                  <a:lnTo>
                    <a:pt x="833" y="819"/>
                  </a:lnTo>
                  <a:lnTo>
                    <a:pt x="833" y="819"/>
                  </a:lnTo>
                  <a:lnTo>
                    <a:pt x="833" y="819"/>
                  </a:lnTo>
                  <a:lnTo>
                    <a:pt x="830" y="819"/>
                  </a:lnTo>
                  <a:lnTo>
                    <a:pt x="828" y="819"/>
                  </a:lnTo>
                  <a:lnTo>
                    <a:pt x="828" y="838"/>
                  </a:lnTo>
                  <a:lnTo>
                    <a:pt x="818" y="838"/>
                  </a:lnTo>
                  <a:lnTo>
                    <a:pt x="814" y="841"/>
                  </a:lnTo>
                  <a:lnTo>
                    <a:pt x="814" y="841"/>
                  </a:lnTo>
                  <a:lnTo>
                    <a:pt x="809" y="841"/>
                  </a:lnTo>
                  <a:lnTo>
                    <a:pt x="811" y="90"/>
                  </a:lnTo>
                  <a:lnTo>
                    <a:pt x="782" y="32"/>
                  </a:lnTo>
                  <a:lnTo>
                    <a:pt x="751" y="32"/>
                  </a:lnTo>
                  <a:lnTo>
                    <a:pt x="734" y="0"/>
                  </a:lnTo>
                  <a:lnTo>
                    <a:pt x="508" y="0"/>
                  </a:lnTo>
                  <a:lnTo>
                    <a:pt x="508" y="32"/>
                  </a:lnTo>
                  <a:lnTo>
                    <a:pt x="448" y="32"/>
                  </a:lnTo>
                  <a:lnTo>
                    <a:pt x="445" y="855"/>
                  </a:lnTo>
                  <a:lnTo>
                    <a:pt x="438" y="848"/>
                  </a:lnTo>
                  <a:lnTo>
                    <a:pt x="438" y="836"/>
                  </a:lnTo>
                  <a:lnTo>
                    <a:pt x="436" y="746"/>
                  </a:lnTo>
                  <a:lnTo>
                    <a:pt x="436" y="739"/>
                  </a:lnTo>
                  <a:lnTo>
                    <a:pt x="431" y="739"/>
                  </a:lnTo>
                  <a:lnTo>
                    <a:pt x="429" y="739"/>
                  </a:lnTo>
                  <a:lnTo>
                    <a:pt x="429" y="746"/>
                  </a:lnTo>
                  <a:lnTo>
                    <a:pt x="429" y="758"/>
                  </a:lnTo>
                  <a:lnTo>
                    <a:pt x="404" y="758"/>
                  </a:lnTo>
                  <a:lnTo>
                    <a:pt x="404" y="756"/>
                  </a:lnTo>
                  <a:lnTo>
                    <a:pt x="399" y="746"/>
                  </a:lnTo>
                  <a:lnTo>
                    <a:pt x="399" y="693"/>
                  </a:lnTo>
                  <a:lnTo>
                    <a:pt x="392" y="676"/>
                  </a:lnTo>
                  <a:lnTo>
                    <a:pt x="392" y="622"/>
                  </a:lnTo>
                  <a:lnTo>
                    <a:pt x="378" y="561"/>
                  </a:lnTo>
                  <a:lnTo>
                    <a:pt x="380" y="561"/>
                  </a:lnTo>
                  <a:lnTo>
                    <a:pt x="380" y="547"/>
                  </a:lnTo>
                  <a:lnTo>
                    <a:pt x="375" y="547"/>
                  </a:lnTo>
                  <a:lnTo>
                    <a:pt x="375" y="547"/>
                  </a:lnTo>
                  <a:lnTo>
                    <a:pt x="375" y="547"/>
                  </a:lnTo>
                  <a:lnTo>
                    <a:pt x="368" y="547"/>
                  </a:lnTo>
                  <a:lnTo>
                    <a:pt x="368" y="554"/>
                  </a:lnTo>
                  <a:lnTo>
                    <a:pt x="366" y="554"/>
                  </a:lnTo>
                  <a:lnTo>
                    <a:pt x="366" y="569"/>
                  </a:lnTo>
                  <a:lnTo>
                    <a:pt x="368" y="569"/>
                  </a:lnTo>
                  <a:lnTo>
                    <a:pt x="358" y="610"/>
                  </a:lnTo>
                  <a:lnTo>
                    <a:pt x="346" y="481"/>
                  </a:lnTo>
                  <a:lnTo>
                    <a:pt x="351" y="481"/>
                  </a:lnTo>
                  <a:lnTo>
                    <a:pt x="351" y="479"/>
                  </a:lnTo>
                  <a:lnTo>
                    <a:pt x="351" y="479"/>
                  </a:lnTo>
                  <a:lnTo>
                    <a:pt x="351" y="469"/>
                  </a:lnTo>
                  <a:lnTo>
                    <a:pt x="344" y="469"/>
                  </a:lnTo>
                  <a:lnTo>
                    <a:pt x="337" y="372"/>
                  </a:lnTo>
                  <a:lnTo>
                    <a:pt x="341" y="372"/>
                  </a:lnTo>
                  <a:lnTo>
                    <a:pt x="341" y="348"/>
                  </a:lnTo>
                  <a:lnTo>
                    <a:pt x="341" y="309"/>
                  </a:lnTo>
                  <a:lnTo>
                    <a:pt x="320" y="309"/>
                  </a:lnTo>
                  <a:lnTo>
                    <a:pt x="320" y="348"/>
                  </a:lnTo>
                  <a:lnTo>
                    <a:pt x="320" y="372"/>
                  </a:lnTo>
                  <a:lnTo>
                    <a:pt x="324" y="372"/>
                  </a:lnTo>
                  <a:lnTo>
                    <a:pt x="324" y="374"/>
                  </a:lnTo>
                  <a:lnTo>
                    <a:pt x="317" y="469"/>
                  </a:lnTo>
                  <a:lnTo>
                    <a:pt x="312" y="469"/>
                  </a:lnTo>
                  <a:lnTo>
                    <a:pt x="312" y="472"/>
                  </a:lnTo>
                  <a:lnTo>
                    <a:pt x="312" y="479"/>
                  </a:lnTo>
                  <a:lnTo>
                    <a:pt x="312" y="481"/>
                  </a:lnTo>
                  <a:lnTo>
                    <a:pt x="317" y="481"/>
                  </a:lnTo>
                  <a:lnTo>
                    <a:pt x="305" y="610"/>
                  </a:lnTo>
                  <a:lnTo>
                    <a:pt x="295" y="566"/>
                  </a:lnTo>
                  <a:lnTo>
                    <a:pt x="295" y="561"/>
                  </a:lnTo>
                  <a:lnTo>
                    <a:pt x="298" y="561"/>
                  </a:lnTo>
                  <a:lnTo>
                    <a:pt x="298" y="547"/>
                  </a:lnTo>
                  <a:lnTo>
                    <a:pt x="290" y="547"/>
                  </a:lnTo>
                  <a:lnTo>
                    <a:pt x="290" y="547"/>
                  </a:lnTo>
                  <a:lnTo>
                    <a:pt x="290" y="547"/>
                  </a:lnTo>
                  <a:lnTo>
                    <a:pt x="286" y="547"/>
                  </a:lnTo>
                  <a:lnTo>
                    <a:pt x="286" y="554"/>
                  </a:lnTo>
                  <a:lnTo>
                    <a:pt x="286" y="554"/>
                  </a:lnTo>
                  <a:lnTo>
                    <a:pt x="286" y="569"/>
                  </a:lnTo>
                  <a:lnTo>
                    <a:pt x="288" y="569"/>
                  </a:lnTo>
                  <a:lnTo>
                    <a:pt x="276" y="622"/>
                  </a:lnTo>
                  <a:lnTo>
                    <a:pt x="276" y="622"/>
                  </a:lnTo>
                  <a:lnTo>
                    <a:pt x="274" y="627"/>
                  </a:lnTo>
                  <a:lnTo>
                    <a:pt x="274" y="676"/>
                  </a:lnTo>
                  <a:lnTo>
                    <a:pt x="269" y="693"/>
                  </a:lnTo>
                  <a:lnTo>
                    <a:pt x="269" y="693"/>
                  </a:lnTo>
                  <a:lnTo>
                    <a:pt x="269" y="693"/>
                  </a:lnTo>
                  <a:lnTo>
                    <a:pt x="269" y="695"/>
                  </a:lnTo>
                  <a:lnTo>
                    <a:pt x="269" y="695"/>
                  </a:lnTo>
                  <a:lnTo>
                    <a:pt x="269" y="695"/>
                  </a:lnTo>
                  <a:lnTo>
                    <a:pt x="269" y="695"/>
                  </a:lnTo>
                  <a:lnTo>
                    <a:pt x="269" y="746"/>
                  </a:lnTo>
                  <a:lnTo>
                    <a:pt x="261" y="756"/>
                  </a:lnTo>
                  <a:lnTo>
                    <a:pt x="261" y="756"/>
                  </a:lnTo>
                  <a:lnTo>
                    <a:pt x="261" y="758"/>
                  </a:lnTo>
                  <a:lnTo>
                    <a:pt x="261" y="758"/>
                  </a:lnTo>
                  <a:lnTo>
                    <a:pt x="252" y="758"/>
                  </a:lnTo>
                  <a:lnTo>
                    <a:pt x="252" y="748"/>
                  </a:lnTo>
                  <a:lnTo>
                    <a:pt x="244" y="748"/>
                  </a:lnTo>
                  <a:lnTo>
                    <a:pt x="244" y="712"/>
                  </a:lnTo>
                  <a:lnTo>
                    <a:pt x="244" y="710"/>
                  </a:lnTo>
                  <a:lnTo>
                    <a:pt x="240" y="710"/>
                  </a:lnTo>
                  <a:lnTo>
                    <a:pt x="225" y="574"/>
                  </a:lnTo>
                  <a:lnTo>
                    <a:pt x="225" y="574"/>
                  </a:lnTo>
                  <a:lnTo>
                    <a:pt x="232" y="574"/>
                  </a:lnTo>
                  <a:lnTo>
                    <a:pt x="232" y="537"/>
                  </a:lnTo>
                  <a:lnTo>
                    <a:pt x="215" y="537"/>
                  </a:lnTo>
                  <a:lnTo>
                    <a:pt x="215" y="574"/>
                  </a:lnTo>
                  <a:lnTo>
                    <a:pt x="220" y="574"/>
                  </a:lnTo>
                  <a:lnTo>
                    <a:pt x="208" y="710"/>
                  </a:lnTo>
                  <a:lnTo>
                    <a:pt x="208" y="710"/>
                  </a:lnTo>
                  <a:lnTo>
                    <a:pt x="208" y="710"/>
                  </a:lnTo>
                  <a:lnTo>
                    <a:pt x="201" y="710"/>
                  </a:lnTo>
                  <a:lnTo>
                    <a:pt x="201" y="748"/>
                  </a:lnTo>
                  <a:lnTo>
                    <a:pt x="194" y="748"/>
                  </a:lnTo>
                  <a:lnTo>
                    <a:pt x="194" y="758"/>
                  </a:lnTo>
                  <a:lnTo>
                    <a:pt x="179" y="758"/>
                  </a:lnTo>
                  <a:lnTo>
                    <a:pt x="179" y="758"/>
                  </a:lnTo>
                  <a:lnTo>
                    <a:pt x="174" y="746"/>
                  </a:lnTo>
                  <a:lnTo>
                    <a:pt x="174" y="688"/>
                  </a:lnTo>
                  <a:lnTo>
                    <a:pt x="174" y="688"/>
                  </a:lnTo>
                  <a:lnTo>
                    <a:pt x="174" y="688"/>
                  </a:lnTo>
                  <a:lnTo>
                    <a:pt x="172" y="688"/>
                  </a:lnTo>
                  <a:lnTo>
                    <a:pt x="172" y="685"/>
                  </a:lnTo>
                  <a:lnTo>
                    <a:pt x="172" y="685"/>
                  </a:lnTo>
                  <a:lnTo>
                    <a:pt x="172" y="685"/>
                  </a:lnTo>
                  <a:lnTo>
                    <a:pt x="169" y="683"/>
                  </a:lnTo>
                  <a:lnTo>
                    <a:pt x="169" y="617"/>
                  </a:lnTo>
                  <a:lnTo>
                    <a:pt x="169" y="617"/>
                  </a:lnTo>
                  <a:lnTo>
                    <a:pt x="169" y="615"/>
                  </a:lnTo>
                  <a:lnTo>
                    <a:pt x="167" y="615"/>
                  </a:lnTo>
                  <a:lnTo>
                    <a:pt x="167" y="615"/>
                  </a:lnTo>
                  <a:lnTo>
                    <a:pt x="167" y="610"/>
                  </a:lnTo>
                  <a:lnTo>
                    <a:pt x="167" y="610"/>
                  </a:lnTo>
                  <a:lnTo>
                    <a:pt x="167" y="610"/>
                  </a:lnTo>
                  <a:lnTo>
                    <a:pt x="165" y="610"/>
                  </a:lnTo>
                  <a:lnTo>
                    <a:pt x="165" y="610"/>
                  </a:lnTo>
                  <a:lnTo>
                    <a:pt x="155" y="569"/>
                  </a:lnTo>
                  <a:lnTo>
                    <a:pt x="157" y="569"/>
                  </a:lnTo>
                  <a:lnTo>
                    <a:pt x="157" y="557"/>
                  </a:lnTo>
                  <a:lnTo>
                    <a:pt x="155" y="557"/>
                  </a:lnTo>
                  <a:lnTo>
                    <a:pt x="155" y="547"/>
                  </a:lnTo>
                  <a:lnTo>
                    <a:pt x="148" y="547"/>
                  </a:lnTo>
                  <a:lnTo>
                    <a:pt x="148" y="547"/>
                  </a:lnTo>
                  <a:lnTo>
                    <a:pt x="148" y="547"/>
                  </a:lnTo>
                  <a:lnTo>
                    <a:pt x="143" y="547"/>
                  </a:lnTo>
                  <a:lnTo>
                    <a:pt x="143" y="561"/>
                  </a:lnTo>
                  <a:lnTo>
                    <a:pt x="145" y="561"/>
                  </a:lnTo>
                  <a:lnTo>
                    <a:pt x="136" y="603"/>
                  </a:lnTo>
                  <a:lnTo>
                    <a:pt x="123" y="479"/>
                  </a:lnTo>
                  <a:lnTo>
                    <a:pt x="131" y="476"/>
                  </a:lnTo>
                  <a:lnTo>
                    <a:pt x="131" y="476"/>
                  </a:lnTo>
                  <a:lnTo>
                    <a:pt x="131" y="467"/>
                  </a:lnTo>
                  <a:lnTo>
                    <a:pt x="128" y="464"/>
                  </a:lnTo>
                  <a:lnTo>
                    <a:pt x="123" y="464"/>
                  </a:lnTo>
                  <a:lnTo>
                    <a:pt x="116" y="370"/>
                  </a:lnTo>
                  <a:lnTo>
                    <a:pt x="116" y="370"/>
                  </a:lnTo>
                  <a:lnTo>
                    <a:pt x="121" y="370"/>
                  </a:lnTo>
                  <a:lnTo>
                    <a:pt x="121" y="343"/>
                  </a:lnTo>
                  <a:lnTo>
                    <a:pt x="121" y="304"/>
                  </a:lnTo>
                  <a:lnTo>
                    <a:pt x="99" y="304"/>
                  </a:lnTo>
                  <a:lnTo>
                    <a:pt x="99" y="343"/>
                  </a:lnTo>
                  <a:lnTo>
                    <a:pt x="99" y="370"/>
                  </a:lnTo>
                  <a:lnTo>
                    <a:pt x="104" y="370"/>
                  </a:lnTo>
                  <a:lnTo>
                    <a:pt x="97" y="464"/>
                  </a:lnTo>
                  <a:lnTo>
                    <a:pt x="90" y="464"/>
                  </a:lnTo>
                  <a:lnTo>
                    <a:pt x="90" y="474"/>
                  </a:lnTo>
                  <a:lnTo>
                    <a:pt x="90" y="474"/>
                  </a:lnTo>
                  <a:lnTo>
                    <a:pt x="90" y="476"/>
                  </a:lnTo>
                  <a:lnTo>
                    <a:pt x="94" y="476"/>
                  </a:lnTo>
                  <a:lnTo>
                    <a:pt x="82" y="603"/>
                  </a:lnTo>
                  <a:lnTo>
                    <a:pt x="75" y="569"/>
                  </a:lnTo>
                  <a:lnTo>
                    <a:pt x="75" y="569"/>
                  </a:lnTo>
                  <a:lnTo>
                    <a:pt x="75" y="554"/>
                  </a:lnTo>
                  <a:lnTo>
                    <a:pt x="70" y="554"/>
                  </a:lnTo>
                  <a:lnTo>
                    <a:pt x="70" y="549"/>
                  </a:lnTo>
                  <a:lnTo>
                    <a:pt x="65" y="549"/>
                  </a:lnTo>
                  <a:lnTo>
                    <a:pt x="65" y="547"/>
                  </a:lnTo>
                  <a:lnTo>
                    <a:pt x="65" y="549"/>
                  </a:lnTo>
                  <a:lnTo>
                    <a:pt x="60" y="549"/>
                  </a:lnTo>
                  <a:lnTo>
                    <a:pt x="60" y="561"/>
                  </a:lnTo>
                  <a:lnTo>
                    <a:pt x="63" y="561"/>
                  </a:lnTo>
                  <a:lnTo>
                    <a:pt x="51" y="610"/>
                  </a:lnTo>
                  <a:lnTo>
                    <a:pt x="51" y="610"/>
                  </a:lnTo>
                  <a:lnTo>
                    <a:pt x="48" y="610"/>
                  </a:lnTo>
                  <a:lnTo>
                    <a:pt x="46" y="610"/>
                  </a:lnTo>
                  <a:lnTo>
                    <a:pt x="46" y="683"/>
                  </a:lnTo>
                  <a:lnTo>
                    <a:pt x="41" y="685"/>
                  </a:lnTo>
                  <a:lnTo>
                    <a:pt x="41" y="700"/>
                  </a:lnTo>
                  <a:lnTo>
                    <a:pt x="41" y="746"/>
                  </a:lnTo>
                  <a:lnTo>
                    <a:pt x="34" y="756"/>
                  </a:lnTo>
                  <a:lnTo>
                    <a:pt x="34" y="758"/>
                  </a:lnTo>
                  <a:lnTo>
                    <a:pt x="19" y="758"/>
                  </a:lnTo>
                  <a:lnTo>
                    <a:pt x="17" y="746"/>
                  </a:lnTo>
                  <a:lnTo>
                    <a:pt x="17" y="739"/>
                  </a:lnTo>
                  <a:lnTo>
                    <a:pt x="17" y="739"/>
                  </a:lnTo>
                  <a:lnTo>
                    <a:pt x="12" y="739"/>
                  </a:lnTo>
                  <a:lnTo>
                    <a:pt x="12" y="746"/>
                  </a:lnTo>
                  <a:lnTo>
                    <a:pt x="7" y="836"/>
                  </a:lnTo>
                  <a:lnTo>
                    <a:pt x="7" y="848"/>
                  </a:lnTo>
                  <a:lnTo>
                    <a:pt x="5" y="851"/>
                  </a:lnTo>
                  <a:lnTo>
                    <a:pt x="10" y="365"/>
                  </a:lnTo>
                  <a:lnTo>
                    <a:pt x="12" y="306"/>
                  </a:lnTo>
                  <a:close/>
                </a:path>
              </a:pathLst>
            </a:custGeom>
            <a:solidFill>
              <a:schemeClr val="accent4">
                <a:lumMod val="75000"/>
              </a:schemeClr>
            </a:solidFill>
            <a:ln>
              <a:noFill/>
            </a:ln>
          </p:spPr>
          <p:txBody>
            <a:bodyPr lIns="68580" tIns="34290" rIns="68580" bIns="34290"/>
            <a:lstStyle/>
            <a:p>
              <a:pPr eaLnBrk="1" fontAlgn="auto" hangingPunct="1">
                <a:spcBef>
                  <a:spcPts val="0"/>
                </a:spcBef>
                <a:spcAft>
                  <a:spcPts val="0"/>
                </a:spcAft>
                <a:defRPr/>
              </a:pPr>
              <a:endParaRPr lang="id-ID" sz="1350">
                <a:latin typeface="+mn-lt"/>
              </a:endParaRPr>
            </a:p>
          </p:txBody>
        </p:sp>
        <p:sp>
          <p:nvSpPr>
            <p:cNvPr id="22555" name="TextBox 15">
              <a:extLst>
                <a:ext uri="{FF2B5EF4-FFF2-40B4-BE49-F238E27FC236}">
                  <a16:creationId xmlns:a16="http://schemas.microsoft.com/office/drawing/2014/main" id="{B6D1E26C-8A46-C949-5FB0-8ADEC5490566}"/>
                </a:ext>
              </a:extLst>
            </p:cNvPr>
            <p:cNvSpPr txBox="1">
              <a:spLocks noChangeArrowheads="1"/>
            </p:cNvSpPr>
            <p:nvPr/>
          </p:nvSpPr>
          <p:spPr bwMode="auto">
            <a:xfrm>
              <a:off x="5348858" y="2181743"/>
              <a:ext cx="1874454"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ctr" eaLnBrk="1" hangingPunct="1">
                <a:lnSpc>
                  <a:spcPct val="100000"/>
                </a:lnSpc>
                <a:spcBef>
                  <a:spcPct val="0"/>
                </a:spcBef>
                <a:buFontTx/>
                <a:buNone/>
              </a:pPr>
              <a:r>
                <a:rPr lang="id-ID" altLang="tr-TR" sz="3000" b="1">
                  <a:solidFill>
                    <a:schemeClr val="bg1"/>
                  </a:solidFill>
                  <a:latin typeface="Open Sans" panose="020B0606030504020204" pitchFamily="34" charset="0"/>
                  <a:cs typeface="Open Sans" panose="020B0606030504020204" pitchFamily="34" charset="0"/>
                </a:rPr>
                <a:t>20</a:t>
              </a:r>
              <a:r>
                <a:rPr lang="tr-TR" altLang="tr-TR" sz="3000" b="1">
                  <a:solidFill>
                    <a:schemeClr val="bg1"/>
                  </a:solidFill>
                  <a:latin typeface="Open Sans" panose="020B0606030504020204" pitchFamily="34" charset="0"/>
                  <a:cs typeface="Open Sans" panose="020B0606030504020204" pitchFamily="34" charset="0"/>
                </a:rPr>
                <a:t>09</a:t>
              </a:r>
              <a:endParaRPr lang="id-ID" altLang="tr-TR" sz="3000" b="1">
                <a:solidFill>
                  <a:schemeClr val="bg1"/>
                </a:solidFill>
                <a:latin typeface="Open Sans" panose="020B0606030504020204" pitchFamily="34" charset="0"/>
                <a:cs typeface="Open Sans" panose="020B0606030504020204" pitchFamily="34" charset="0"/>
              </a:endParaRPr>
            </a:p>
          </p:txBody>
        </p:sp>
      </p:grpSp>
      <p:sp>
        <p:nvSpPr>
          <p:cNvPr id="22535" name="TextBox 39">
            <a:extLst>
              <a:ext uri="{FF2B5EF4-FFF2-40B4-BE49-F238E27FC236}">
                <a16:creationId xmlns:a16="http://schemas.microsoft.com/office/drawing/2014/main" id="{D0BD6FF2-EE99-F7BA-9D3C-0656D71DAFCF}"/>
              </a:ext>
            </a:extLst>
          </p:cNvPr>
          <p:cNvSpPr txBox="1">
            <a:spLocks noChangeArrowheads="1"/>
          </p:cNvSpPr>
          <p:nvPr/>
        </p:nvSpPr>
        <p:spPr bwMode="auto">
          <a:xfrm>
            <a:off x="6238875" y="3222625"/>
            <a:ext cx="2003425"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ctr" eaLnBrk="1" hangingPunct="1">
              <a:lnSpc>
                <a:spcPct val="100000"/>
              </a:lnSpc>
              <a:spcBef>
                <a:spcPct val="0"/>
              </a:spcBef>
              <a:buFontTx/>
              <a:buNone/>
            </a:pPr>
            <a:r>
              <a:rPr lang="tr-TR" altLang="tr-TR" sz="1400" b="1">
                <a:solidFill>
                  <a:schemeClr val="bg1"/>
                </a:solidFill>
                <a:latin typeface="Open Sans" panose="020B0606030504020204" pitchFamily="34" charset="0"/>
                <a:cs typeface="Open Sans" panose="020B0606030504020204" pitchFamily="34" charset="0"/>
              </a:rPr>
              <a:t>Ankara İç Anadolu ve İzmir Ege Bölge Müdürlüğü Açılışı</a:t>
            </a:r>
            <a:endParaRPr lang="id-ID" altLang="tr-TR" sz="1400" b="1">
              <a:solidFill>
                <a:schemeClr val="bg1"/>
              </a:solidFill>
              <a:latin typeface="Open Sans" panose="020B0606030504020204" pitchFamily="34" charset="0"/>
              <a:cs typeface="Open Sans" panose="020B0606030504020204" pitchFamily="34" charset="0"/>
            </a:endParaRPr>
          </a:p>
        </p:txBody>
      </p:sp>
      <p:sp>
        <p:nvSpPr>
          <p:cNvPr id="22536" name="TextBox 39">
            <a:extLst>
              <a:ext uri="{FF2B5EF4-FFF2-40B4-BE49-F238E27FC236}">
                <a16:creationId xmlns:a16="http://schemas.microsoft.com/office/drawing/2014/main" id="{CFC30D8A-FFD7-CF9A-F7B3-07CF7DD26C5B}"/>
              </a:ext>
            </a:extLst>
          </p:cNvPr>
          <p:cNvSpPr txBox="1">
            <a:spLocks noChangeArrowheads="1"/>
          </p:cNvSpPr>
          <p:nvPr/>
        </p:nvSpPr>
        <p:spPr bwMode="auto">
          <a:xfrm>
            <a:off x="8256588" y="3230563"/>
            <a:ext cx="2001837" cy="1169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ctr" eaLnBrk="1" hangingPunct="1">
              <a:lnSpc>
                <a:spcPct val="100000"/>
              </a:lnSpc>
              <a:spcBef>
                <a:spcPct val="0"/>
              </a:spcBef>
              <a:buFontTx/>
              <a:buNone/>
            </a:pPr>
            <a:r>
              <a:rPr lang="tr-TR" altLang="tr-TR" sz="1400" b="1">
                <a:solidFill>
                  <a:schemeClr val="bg1"/>
                </a:solidFill>
                <a:latin typeface="Open Sans" panose="020B0606030504020204" pitchFamily="34" charset="0"/>
                <a:cs typeface="Open Sans" panose="020B0606030504020204" pitchFamily="34" charset="0"/>
              </a:rPr>
              <a:t>BDDK Gayrimenkul Değerleme Şirketleri Listesine Giriş</a:t>
            </a:r>
            <a:endParaRPr lang="id-ID" altLang="tr-TR" sz="1400" b="1">
              <a:solidFill>
                <a:schemeClr val="bg1"/>
              </a:solidFill>
              <a:latin typeface="Open Sans" panose="020B0606030504020204" pitchFamily="34" charset="0"/>
              <a:cs typeface="Open Sans" panose="020B0606030504020204" pitchFamily="34" charset="0"/>
            </a:endParaRPr>
          </a:p>
        </p:txBody>
      </p:sp>
      <p:grpSp>
        <p:nvGrpSpPr>
          <p:cNvPr id="85" name="Grup 84">
            <a:extLst>
              <a:ext uri="{FF2B5EF4-FFF2-40B4-BE49-F238E27FC236}">
                <a16:creationId xmlns:a16="http://schemas.microsoft.com/office/drawing/2014/main" id="{5EF7AA39-E69D-0973-01AD-CA322314110A}"/>
              </a:ext>
            </a:extLst>
          </p:cNvPr>
          <p:cNvGrpSpPr>
            <a:grpSpLocks/>
          </p:cNvGrpSpPr>
          <p:nvPr/>
        </p:nvGrpSpPr>
        <p:grpSpPr bwMode="auto">
          <a:xfrm>
            <a:off x="10147300" y="0"/>
            <a:ext cx="2049463" cy="6858000"/>
            <a:chOff x="-19866" y="0"/>
            <a:chExt cx="2157729" cy="6858000"/>
          </a:xfrm>
        </p:grpSpPr>
        <p:sp>
          <p:nvSpPr>
            <p:cNvPr id="86" name="Rectangle 5">
              <a:extLst>
                <a:ext uri="{FF2B5EF4-FFF2-40B4-BE49-F238E27FC236}">
                  <a16:creationId xmlns:a16="http://schemas.microsoft.com/office/drawing/2014/main" id="{4AF32180-98AB-178C-3187-F8FD05EB1A8B}"/>
                </a:ext>
              </a:extLst>
            </p:cNvPr>
            <p:cNvSpPr/>
            <p:nvPr/>
          </p:nvSpPr>
          <p:spPr>
            <a:xfrm>
              <a:off x="-19866" y="0"/>
              <a:ext cx="215271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d-ID" sz="1350"/>
            </a:p>
          </p:txBody>
        </p:sp>
        <p:sp>
          <p:nvSpPr>
            <p:cNvPr id="87" name="Rectangle 31">
              <a:extLst>
                <a:ext uri="{FF2B5EF4-FFF2-40B4-BE49-F238E27FC236}">
                  <a16:creationId xmlns:a16="http://schemas.microsoft.com/office/drawing/2014/main" id="{099E53A3-5F73-4EEA-0023-4F233230BABE}"/>
                </a:ext>
              </a:extLst>
            </p:cNvPr>
            <p:cNvSpPr/>
            <p:nvPr/>
          </p:nvSpPr>
          <p:spPr>
            <a:xfrm>
              <a:off x="-19866" y="3559175"/>
              <a:ext cx="2152714" cy="329882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d-ID" sz="1350"/>
            </a:p>
          </p:txBody>
        </p:sp>
        <p:sp>
          <p:nvSpPr>
            <p:cNvPr id="88" name="Freeform 18">
              <a:extLst>
                <a:ext uri="{FF2B5EF4-FFF2-40B4-BE49-F238E27FC236}">
                  <a16:creationId xmlns:a16="http://schemas.microsoft.com/office/drawing/2014/main" id="{82306EE6-93D0-72BA-BC26-F99E5BBC1A73}"/>
                </a:ext>
              </a:extLst>
            </p:cNvPr>
            <p:cNvSpPr>
              <a:spLocks noEditPoints="1"/>
            </p:cNvSpPr>
            <p:nvPr/>
          </p:nvSpPr>
          <p:spPr bwMode="auto">
            <a:xfrm flipH="1">
              <a:off x="-19866" y="1900238"/>
              <a:ext cx="2152714" cy="1992312"/>
            </a:xfrm>
            <a:custGeom>
              <a:avLst/>
              <a:gdLst>
                <a:gd name="T0" fmla="*/ 933 w 1279"/>
                <a:gd name="T1" fmla="*/ 988 h 1671"/>
                <a:gd name="T2" fmla="*/ 712 w 1279"/>
                <a:gd name="T3" fmla="*/ 933 h 1671"/>
                <a:gd name="T4" fmla="*/ 577 w 1279"/>
                <a:gd name="T5" fmla="*/ 1207 h 1671"/>
                <a:gd name="T6" fmla="*/ 303 w 1279"/>
                <a:gd name="T7" fmla="*/ 1336 h 1671"/>
                <a:gd name="T8" fmla="*/ 230 w 1279"/>
                <a:gd name="T9" fmla="*/ 517 h 1671"/>
                <a:gd name="T10" fmla="*/ 194 w 1279"/>
                <a:gd name="T11" fmla="*/ 505 h 1671"/>
                <a:gd name="T12" fmla="*/ 240 w 1279"/>
                <a:gd name="T13" fmla="*/ 498 h 1671"/>
                <a:gd name="T14" fmla="*/ 211 w 1279"/>
                <a:gd name="T15" fmla="*/ 486 h 1671"/>
                <a:gd name="T16" fmla="*/ 194 w 1279"/>
                <a:gd name="T17" fmla="*/ 481 h 1671"/>
                <a:gd name="T18" fmla="*/ 192 w 1279"/>
                <a:gd name="T19" fmla="*/ 432 h 1671"/>
                <a:gd name="T20" fmla="*/ 182 w 1279"/>
                <a:gd name="T21" fmla="*/ 427 h 1671"/>
                <a:gd name="T22" fmla="*/ 204 w 1279"/>
                <a:gd name="T23" fmla="*/ 425 h 1671"/>
                <a:gd name="T24" fmla="*/ 218 w 1279"/>
                <a:gd name="T25" fmla="*/ 425 h 1671"/>
                <a:gd name="T26" fmla="*/ 233 w 1279"/>
                <a:gd name="T27" fmla="*/ 418 h 1671"/>
                <a:gd name="T28" fmla="*/ 235 w 1279"/>
                <a:gd name="T29" fmla="*/ 410 h 1671"/>
                <a:gd name="T30" fmla="*/ 189 w 1279"/>
                <a:gd name="T31" fmla="*/ 398 h 1671"/>
                <a:gd name="T32" fmla="*/ 172 w 1279"/>
                <a:gd name="T33" fmla="*/ 379 h 1671"/>
                <a:gd name="T34" fmla="*/ 168 w 1279"/>
                <a:gd name="T35" fmla="*/ 245 h 1671"/>
                <a:gd name="T36" fmla="*/ 163 w 1279"/>
                <a:gd name="T37" fmla="*/ 146 h 1671"/>
                <a:gd name="T38" fmla="*/ 158 w 1279"/>
                <a:gd name="T39" fmla="*/ 63 h 1671"/>
                <a:gd name="T40" fmla="*/ 155 w 1279"/>
                <a:gd name="T41" fmla="*/ 0 h 1671"/>
                <a:gd name="T42" fmla="*/ 153 w 1279"/>
                <a:gd name="T43" fmla="*/ 0 h 1671"/>
                <a:gd name="T44" fmla="*/ 151 w 1279"/>
                <a:gd name="T45" fmla="*/ 65 h 1671"/>
                <a:gd name="T46" fmla="*/ 148 w 1279"/>
                <a:gd name="T47" fmla="*/ 146 h 1671"/>
                <a:gd name="T48" fmla="*/ 146 w 1279"/>
                <a:gd name="T49" fmla="*/ 374 h 1671"/>
                <a:gd name="T50" fmla="*/ 138 w 1279"/>
                <a:gd name="T51" fmla="*/ 386 h 1671"/>
                <a:gd name="T52" fmla="*/ 117 w 1279"/>
                <a:gd name="T53" fmla="*/ 401 h 1671"/>
                <a:gd name="T54" fmla="*/ 80 w 1279"/>
                <a:gd name="T55" fmla="*/ 418 h 1671"/>
                <a:gd name="T56" fmla="*/ 95 w 1279"/>
                <a:gd name="T57" fmla="*/ 425 h 1671"/>
                <a:gd name="T58" fmla="*/ 112 w 1279"/>
                <a:gd name="T59" fmla="*/ 427 h 1671"/>
                <a:gd name="T60" fmla="*/ 129 w 1279"/>
                <a:gd name="T61" fmla="*/ 427 h 1671"/>
                <a:gd name="T62" fmla="*/ 119 w 1279"/>
                <a:gd name="T63" fmla="*/ 439 h 1671"/>
                <a:gd name="T64" fmla="*/ 121 w 1279"/>
                <a:gd name="T65" fmla="*/ 481 h 1671"/>
                <a:gd name="T66" fmla="*/ 100 w 1279"/>
                <a:gd name="T67" fmla="*/ 486 h 1671"/>
                <a:gd name="T68" fmla="*/ 75 w 1279"/>
                <a:gd name="T69" fmla="*/ 498 h 1671"/>
                <a:gd name="T70" fmla="*/ 121 w 1279"/>
                <a:gd name="T71" fmla="*/ 507 h 1671"/>
                <a:gd name="T72" fmla="*/ 85 w 1279"/>
                <a:gd name="T73" fmla="*/ 520 h 1671"/>
                <a:gd name="T74" fmla="*/ 27 w 1279"/>
                <a:gd name="T75" fmla="*/ 1333 h 1671"/>
                <a:gd name="T76" fmla="*/ 126 w 1279"/>
                <a:gd name="T77" fmla="*/ 498 h 1671"/>
                <a:gd name="T78" fmla="*/ 121 w 1279"/>
                <a:gd name="T79" fmla="*/ 498 h 1671"/>
                <a:gd name="T80" fmla="*/ 121 w 1279"/>
                <a:gd name="T81" fmla="*/ 568 h 1671"/>
                <a:gd name="T82" fmla="*/ 119 w 1279"/>
                <a:gd name="T83" fmla="*/ 656 h 1671"/>
                <a:gd name="T84" fmla="*/ 138 w 1279"/>
                <a:gd name="T85" fmla="*/ 799 h 1671"/>
                <a:gd name="T86" fmla="*/ 124 w 1279"/>
                <a:gd name="T87" fmla="*/ 814 h 1671"/>
                <a:gd name="T88" fmla="*/ 119 w 1279"/>
                <a:gd name="T89" fmla="*/ 937 h 1671"/>
                <a:gd name="T90" fmla="*/ 141 w 1279"/>
                <a:gd name="T91" fmla="*/ 1071 h 1671"/>
                <a:gd name="T92" fmla="*/ 121 w 1279"/>
                <a:gd name="T93" fmla="*/ 1188 h 1671"/>
                <a:gd name="T94" fmla="*/ 129 w 1279"/>
                <a:gd name="T95" fmla="*/ 1185 h 1671"/>
                <a:gd name="T96" fmla="*/ 182 w 1279"/>
                <a:gd name="T97" fmla="*/ 656 h 1671"/>
                <a:gd name="T98" fmla="*/ 189 w 1279"/>
                <a:gd name="T99" fmla="*/ 799 h 1671"/>
                <a:gd name="T100" fmla="*/ 199 w 1279"/>
                <a:gd name="T101" fmla="*/ 937 h 1671"/>
                <a:gd name="T102" fmla="*/ 199 w 1279"/>
                <a:gd name="T103" fmla="*/ 957 h 1671"/>
                <a:gd name="T104" fmla="*/ 184 w 1279"/>
                <a:gd name="T105" fmla="*/ 1185 h 1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79" h="1671">
                  <a:moveTo>
                    <a:pt x="1279" y="1154"/>
                  </a:moveTo>
                  <a:lnTo>
                    <a:pt x="1182" y="1178"/>
                  </a:lnTo>
                  <a:lnTo>
                    <a:pt x="1100" y="1212"/>
                  </a:lnTo>
                  <a:lnTo>
                    <a:pt x="1063" y="1212"/>
                  </a:lnTo>
                  <a:lnTo>
                    <a:pt x="1063" y="988"/>
                  </a:lnTo>
                  <a:lnTo>
                    <a:pt x="933" y="988"/>
                  </a:lnTo>
                  <a:lnTo>
                    <a:pt x="933" y="933"/>
                  </a:lnTo>
                  <a:lnTo>
                    <a:pt x="894" y="933"/>
                  </a:lnTo>
                  <a:lnTo>
                    <a:pt x="894" y="877"/>
                  </a:lnTo>
                  <a:lnTo>
                    <a:pt x="783" y="877"/>
                  </a:lnTo>
                  <a:lnTo>
                    <a:pt x="783" y="933"/>
                  </a:lnTo>
                  <a:lnTo>
                    <a:pt x="712" y="933"/>
                  </a:lnTo>
                  <a:lnTo>
                    <a:pt x="712" y="988"/>
                  </a:lnTo>
                  <a:lnTo>
                    <a:pt x="671" y="988"/>
                  </a:lnTo>
                  <a:lnTo>
                    <a:pt x="671" y="1183"/>
                  </a:lnTo>
                  <a:lnTo>
                    <a:pt x="659" y="1180"/>
                  </a:lnTo>
                  <a:lnTo>
                    <a:pt x="618" y="1188"/>
                  </a:lnTo>
                  <a:lnTo>
                    <a:pt x="577" y="1207"/>
                  </a:lnTo>
                  <a:lnTo>
                    <a:pt x="543" y="1236"/>
                  </a:lnTo>
                  <a:lnTo>
                    <a:pt x="519" y="1275"/>
                  </a:lnTo>
                  <a:lnTo>
                    <a:pt x="506" y="1309"/>
                  </a:lnTo>
                  <a:lnTo>
                    <a:pt x="315" y="1309"/>
                  </a:lnTo>
                  <a:lnTo>
                    <a:pt x="303" y="1314"/>
                  </a:lnTo>
                  <a:lnTo>
                    <a:pt x="303" y="1336"/>
                  </a:lnTo>
                  <a:lnTo>
                    <a:pt x="247" y="1333"/>
                  </a:lnTo>
                  <a:lnTo>
                    <a:pt x="243" y="520"/>
                  </a:lnTo>
                  <a:lnTo>
                    <a:pt x="243" y="520"/>
                  </a:lnTo>
                  <a:lnTo>
                    <a:pt x="240" y="520"/>
                  </a:lnTo>
                  <a:lnTo>
                    <a:pt x="235" y="517"/>
                  </a:lnTo>
                  <a:lnTo>
                    <a:pt x="230" y="517"/>
                  </a:lnTo>
                  <a:lnTo>
                    <a:pt x="230" y="517"/>
                  </a:lnTo>
                  <a:lnTo>
                    <a:pt x="230" y="510"/>
                  </a:lnTo>
                  <a:lnTo>
                    <a:pt x="228" y="507"/>
                  </a:lnTo>
                  <a:lnTo>
                    <a:pt x="221" y="507"/>
                  </a:lnTo>
                  <a:lnTo>
                    <a:pt x="209" y="507"/>
                  </a:lnTo>
                  <a:lnTo>
                    <a:pt x="194" y="505"/>
                  </a:lnTo>
                  <a:lnTo>
                    <a:pt x="184" y="505"/>
                  </a:lnTo>
                  <a:lnTo>
                    <a:pt x="184" y="500"/>
                  </a:lnTo>
                  <a:lnTo>
                    <a:pt x="192" y="500"/>
                  </a:lnTo>
                  <a:lnTo>
                    <a:pt x="211" y="500"/>
                  </a:lnTo>
                  <a:lnTo>
                    <a:pt x="228" y="498"/>
                  </a:lnTo>
                  <a:lnTo>
                    <a:pt x="240" y="498"/>
                  </a:lnTo>
                  <a:lnTo>
                    <a:pt x="247" y="495"/>
                  </a:lnTo>
                  <a:lnTo>
                    <a:pt x="247" y="493"/>
                  </a:lnTo>
                  <a:lnTo>
                    <a:pt x="247" y="490"/>
                  </a:lnTo>
                  <a:lnTo>
                    <a:pt x="240" y="488"/>
                  </a:lnTo>
                  <a:lnTo>
                    <a:pt x="228" y="486"/>
                  </a:lnTo>
                  <a:lnTo>
                    <a:pt x="211" y="486"/>
                  </a:lnTo>
                  <a:lnTo>
                    <a:pt x="189" y="486"/>
                  </a:lnTo>
                  <a:lnTo>
                    <a:pt x="184" y="486"/>
                  </a:lnTo>
                  <a:lnTo>
                    <a:pt x="184" y="483"/>
                  </a:lnTo>
                  <a:lnTo>
                    <a:pt x="187" y="483"/>
                  </a:lnTo>
                  <a:lnTo>
                    <a:pt x="192" y="481"/>
                  </a:lnTo>
                  <a:lnTo>
                    <a:pt x="194" y="481"/>
                  </a:lnTo>
                  <a:lnTo>
                    <a:pt x="194" y="478"/>
                  </a:lnTo>
                  <a:lnTo>
                    <a:pt x="194" y="469"/>
                  </a:lnTo>
                  <a:lnTo>
                    <a:pt x="192" y="459"/>
                  </a:lnTo>
                  <a:lnTo>
                    <a:pt x="192" y="449"/>
                  </a:lnTo>
                  <a:lnTo>
                    <a:pt x="192" y="439"/>
                  </a:lnTo>
                  <a:lnTo>
                    <a:pt x="192" y="432"/>
                  </a:lnTo>
                  <a:lnTo>
                    <a:pt x="192" y="430"/>
                  </a:lnTo>
                  <a:lnTo>
                    <a:pt x="192" y="430"/>
                  </a:lnTo>
                  <a:lnTo>
                    <a:pt x="189" y="427"/>
                  </a:lnTo>
                  <a:lnTo>
                    <a:pt x="184" y="427"/>
                  </a:lnTo>
                  <a:lnTo>
                    <a:pt x="182" y="427"/>
                  </a:lnTo>
                  <a:lnTo>
                    <a:pt x="182" y="427"/>
                  </a:lnTo>
                  <a:lnTo>
                    <a:pt x="184" y="427"/>
                  </a:lnTo>
                  <a:lnTo>
                    <a:pt x="189" y="427"/>
                  </a:lnTo>
                  <a:lnTo>
                    <a:pt x="189" y="427"/>
                  </a:lnTo>
                  <a:lnTo>
                    <a:pt x="199" y="427"/>
                  </a:lnTo>
                  <a:lnTo>
                    <a:pt x="204" y="425"/>
                  </a:lnTo>
                  <a:lnTo>
                    <a:pt x="204" y="425"/>
                  </a:lnTo>
                  <a:lnTo>
                    <a:pt x="204" y="425"/>
                  </a:lnTo>
                  <a:lnTo>
                    <a:pt x="209" y="425"/>
                  </a:lnTo>
                  <a:lnTo>
                    <a:pt x="214" y="425"/>
                  </a:lnTo>
                  <a:lnTo>
                    <a:pt x="214" y="425"/>
                  </a:lnTo>
                  <a:lnTo>
                    <a:pt x="214" y="425"/>
                  </a:lnTo>
                  <a:lnTo>
                    <a:pt x="218" y="425"/>
                  </a:lnTo>
                  <a:lnTo>
                    <a:pt x="221" y="422"/>
                  </a:lnTo>
                  <a:lnTo>
                    <a:pt x="221" y="422"/>
                  </a:lnTo>
                  <a:lnTo>
                    <a:pt x="221" y="422"/>
                  </a:lnTo>
                  <a:lnTo>
                    <a:pt x="221" y="422"/>
                  </a:lnTo>
                  <a:lnTo>
                    <a:pt x="230" y="418"/>
                  </a:lnTo>
                  <a:lnTo>
                    <a:pt x="233" y="418"/>
                  </a:lnTo>
                  <a:lnTo>
                    <a:pt x="233" y="418"/>
                  </a:lnTo>
                  <a:lnTo>
                    <a:pt x="235" y="415"/>
                  </a:lnTo>
                  <a:lnTo>
                    <a:pt x="235" y="413"/>
                  </a:lnTo>
                  <a:lnTo>
                    <a:pt x="235" y="413"/>
                  </a:lnTo>
                  <a:lnTo>
                    <a:pt x="235" y="410"/>
                  </a:lnTo>
                  <a:lnTo>
                    <a:pt x="235" y="410"/>
                  </a:lnTo>
                  <a:lnTo>
                    <a:pt x="221" y="403"/>
                  </a:lnTo>
                  <a:lnTo>
                    <a:pt x="218" y="403"/>
                  </a:lnTo>
                  <a:lnTo>
                    <a:pt x="209" y="401"/>
                  </a:lnTo>
                  <a:lnTo>
                    <a:pt x="197" y="401"/>
                  </a:lnTo>
                  <a:lnTo>
                    <a:pt x="194" y="401"/>
                  </a:lnTo>
                  <a:lnTo>
                    <a:pt x="189" y="398"/>
                  </a:lnTo>
                  <a:lnTo>
                    <a:pt x="187" y="396"/>
                  </a:lnTo>
                  <a:lnTo>
                    <a:pt x="182" y="393"/>
                  </a:lnTo>
                  <a:lnTo>
                    <a:pt x="180" y="391"/>
                  </a:lnTo>
                  <a:lnTo>
                    <a:pt x="177" y="386"/>
                  </a:lnTo>
                  <a:lnTo>
                    <a:pt x="175" y="381"/>
                  </a:lnTo>
                  <a:lnTo>
                    <a:pt x="172" y="379"/>
                  </a:lnTo>
                  <a:lnTo>
                    <a:pt x="170" y="374"/>
                  </a:lnTo>
                  <a:lnTo>
                    <a:pt x="170" y="374"/>
                  </a:lnTo>
                  <a:lnTo>
                    <a:pt x="168" y="374"/>
                  </a:lnTo>
                  <a:lnTo>
                    <a:pt x="168" y="374"/>
                  </a:lnTo>
                  <a:lnTo>
                    <a:pt x="168" y="245"/>
                  </a:lnTo>
                  <a:lnTo>
                    <a:pt x="168" y="245"/>
                  </a:lnTo>
                  <a:lnTo>
                    <a:pt x="165" y="243"/>
                  </a:lnTo>
                  <a:lnTo>
                    <a:pt x="165" y="243"/>
                  </a:lnTo>
                  <a:lnTo>
                    <a:pt x="163" y="243"/>
                  </a:lnTo>
                  <a:lnTo>
                    <a:pt x="163" y="146"/>
                  </a:lnTo>
                  <a:lnTo>
                    <a:pt x="163" y="146"/>
                  </a:lnTo>
                  <a:lnTo>
                    <a:pt x="163" y="146"/>
                  </a:lnTo>
                  <a:lnTo>
                    <a:pt x="160" y="146"/>
                  </a:lnTo>
                  <a:lnTo>
                    <a:pt x="160" y="146"/>
                  </a:lnTo>
                  <a:lnTo>
                    <a:pt x="160" y="65"/>
                  </a:lnTo>
                  <a:lnTo>
                    <a:pt x="160" y="63"/>
                  </a:lnTo>
                  <a:lnTo>
                    <a:pt x="158" y="63"/>
                  </a:lnTo>
                  <a:lnTo>
                    <a:pt x="158" y="63"/>
                  </a:lnTo>
                  <a:lnTo>
                    <a:pt x="158" y="63"/>
                  </a:lnTo>
                  <a:lnTo>
                    <a:pt x="158" y="0"/>
                  </a:lnTo>
                  <a:lnTo>
                    <a:pt x="158" y="0"/>
                  </a:lnTo>
                  <a:lnTo>
                    <a:pt x="155" y="0"/>
                  </a:lnTo>
                  <a:lnTo>
                    <a:pt x="155" y="0"/>
                  </a:lnTo>
                  <a:lnTo>
                    <a:pt x="155" y="0"/>
                  </a:lnTo>
                  <a:lnTo>
                    <a:pt x="155" y="0"/>
                  </a:lnTo>
                  <a:lnTo>
                    <a:pt x="155" y="0"/>
                  </a:lnTo>
                  <a:lnTo>
                    <a:pt x="155" y="0"/>
                  </a:lnTo>
                  <a:lnTo>
                    <a:pt x="153" y="0"/>
                  </a:lnTo>
                  <a:lnTo>
                    <a:pt x="153" y="0"/>
                  </a:lnTo>
                  <a:lnTo>
                    <a:pt x="153" y="0"/>
                  </a:lnTo>
                  <a:lnTo>
                    <a:pt x="153" y="2"/>
                  </a:lnTo>
                  <a:lnTo>
                    <a:pt x="153" y="2"/>
                  </a:lnTo>
                  <a:lnTo>
                    <a:pt x="153" y="63"/>
                  </a:lnTo>
                  <a:lnTo>
                    <a:pt x="153" y="63"/>
                  </a:lnTo>
                  <a:lnTo>
                    <a:pt x="153" y="63"/>
                  </a:lnTo>
                  <a:lnTo>
                    <a:pt x="151" y="65"/>
                  </a:lnTo>
                  <a:lnTo>
                    <a:pt x="151" y="65"/>
                  </a:lnTo>
                  <a:lnTo>
                    <a:pt x="151" y="65"/>
                  </a:lnTo>
                  <a:lnTo>
                    <a:pt x="151" y="146"/>
                  </a:lnTo>
                  <a:lnTo>
                    <a:pt x="151" y="146"/>
                  </a:lnTo>
                  <a:lnTo>
                    <a:pt x="151" y="146"/>
                  </a:lnTo>
                  <a:lnTo>
                    <a:pt x="148" y="146"/>
                  </a:lnTo>
                  <a:lnTo>
                    <a:pt x="148" y="146"/>
                  </a:lnTo>
                  <a:lnTo>
                    <a:pt x="148" y="243"/>
                  </a:lnTo>
                  <a:lnTo>
                    <a:pt x="148" y="243"/>
                  </a:lnTo>
                  <a:lnTo>
                    <a:pt x="146" y="245"/>
                  </a:lnTo>
                  <a:lnTo>
                    <a:pt x="146" y="245"/>
                  </a:lnTo>
                  <a:lnTo>
                    <a:pt x="146" y="374"/>
                  </a:lnTo>
                  <a:lnTo>
                    <a:pt x="146" y="374"/>
                  </a:lnTo>
                  <a:lnTo>
                    <a:pt x="143" y="374"/>
                  </a:lnTo>
                  <a:lnTo>
                    <a:pt x="143" y="374"/>
                  </a:lnTo>
                  <a:lnTo>
                    <a:pt x="141" y="379"/>
                  </a:lnTo>
                  <a:lnTo>
                    <a:pt x="141" y="384"/>
                  </a:lnTo>
                  <a:lnTo>
                    <a:pt x="138" y="386"/>
                  </a:lnTo>
                  <a:lnTo>
                    <a:pt x="136" y="391"/>
                  </a:lnTo>
                  <a:lnTo>
                    <a:pt x="131" y="393"/>
                  </a:lnTo>
                  <a:lnTo>
                    <a:pt x="129" y="396"/>
                  </a:lnTo>
                  <a:lnTo>
                    <a:pt x="124" y="398"/>
                  </a:lnTo>
                  <a:lnTo>
                    <a:pt x="121" y="401"/>
                  </a:lnTo>
                  <a:lnTo>
                    <a:pt x="117" y="401"/>
                  </a:lnTo>
                  <a:lnTo>
                    <a:pt x="105" y="403"/>
                  </a:lnTo>
                  <a:lnTo>
                    <a:pt x="97" y="403"/>
                  </a:lnTo>
                  <a:lnTo>
                    <a:pt x="92" y="405"/>
                  </a:lnTo>
                  <a:lnTo>
                    <a:pt x="80" y="413"/>
                  </a:lnTo>
                  <a:lnTo>
                    <a:pt x="80" y="413"/>
                  </a:lnTo>
                  <a:lnTo>
                    <a:pt x="80" y="418"/>
                  </a:lnTo>
                  <a:lnTo>
                    <a:pt x="80" y="418"/>
                  </a:lnTo>
                  <a:lnTo>
                    <a:pt x="80" y="420"/>
                  </a:lnTo>
                  <a:lnTo>
                    <a:pt x="85" y="420"/>
                  </a:lnTo>
                  <a:lnTo>
                    <a:pt x="95" y="425"/>
                  </a:lnTo>
                  <a:lnTo>
                    <a:pt x="95" y="425"/>
                  </a:lnTo>
                  <a:lnTo>
                    <a:pt x="95" y="425"/>
                  </a:lnTo>
                  <a:lnTo>
                    <a:pt x="100" y="425"/>
                  </a:lnTo>
                  <a:lnTo>
                    <a:pt x="100" y="425"/>
                  </a:lnTo>
                  <a:lnTo>
                    <a:pt x="102" y="425"/>
                  </a:lnTo>
                  <a:lnTo>
                    <a:pt x="102" y="425"/>
                  </a:lnTo>
                  <a:lnTo>
                    <a:pt x="107" y="427"/>
                  </a:lnTo>
                  <a:lnTo>
                    <a:pt x="112" y="427"/>
                  </a:lnTo>
                  <a:lnTo>
                    <a:pt x="112" y="427"/>
                  </a:lnTo>
                  <a:lnTo>
                    <a:pt x="119" y="427"/>
                  </a:lnTo>
                  <a:lnTo>
                    <a:pt x="124" y="427"/>
                  </a:lnTo>
                  <a:lnTo>
                    <a:pt x="124" y="427"/>
                  </a:lnTo>
                  <a:lnTo>
                    <a:pt x="124" y="427"/>
                  </a:lnTo>
                  <a:lnTo>
                    <a:pt x="129" y="427"/>
                  </a:lnTo>
                  <a:lnTo>
                    <a:pt x="129" y="427"/>
                  </a:lnTo>
                  <a:lnTo>
                    <a:pt x="126" y="430"/>
                  </a:lnTo>
                  <a:lnTo>
                    <a:pt x="121" y="430"/>
                  </a:lnTo>
                  <a:lnTo>
                    <a:pt x="119" y="430"/>
                  </a:lnTo>
                  <a:lnTo>
                    <a:pt x="119" y="432"/>
                  </a:lnTo>
                  <a:lnTo>
                    <a:pt x="119" y="439"/>
                  </a:lnTo>
                  <a:lnTo>
                    <a:pt x="119" y="449"/>
                  </a:lnTo>
                  <a:lnTo>
                    <a:pt x="119" y="459"/>
                  </a:lnTo>
                  <a:lnTo>
                    <a:pt x="119" y="469"/>
                  </a:lnTo>
                  <a:lnTo>
                    <a:pt x="119" y="478"/>
                  </a:lnTo>
                  <a:lnTo>
                    <a:pt x="119" y="481"/>
                  </a:lnTo>
                  <a:lnTo>
                    <a:pt x="121" y="481"/>
                  </a:lnTo>
                  <a:lnTo>
                    <a:pt x="124" y="483"/>
                  </a:lnTo>
                  <a:lnTo>
                    <a:pt x="129" y="483"/>
                  </a:lnTo>
                  <a:lnTo>
                    <a:pt x="131" y="483"/>
                  </a:lnTo>
                  <a:lnTo>
                    <a:pt x="131" y="486"/>
                  </a:lnTo>
                  <a:lnTo>
                    <a:pt x="119" y="486"/>
                  </a:lnTo>
                  <a:lnTo>
                    <a:pt x="100" y="486"/>
                  </a:lnTo>
                  <a:lnTo>
                    <a:pt x="83" y="488"/>
                  </a:lnTo>
                  <a:lnTo>
                    <a:pt x="73" y="490"/>
                  </a:lnTo>
                  <a:lnTo>
                    <a:pt x="66" y="490"/>
                  </a:lnTo>
                  <a:lnTo>
                    <a:pt x="66" y="495"/>
                  </a:lnTo>
                  <a:lnTo>
                    <a:pt x="68" y="498"/>
                  </a:lnTo>
                  <a:lnTo>
                    <a:pt x="75" y="498"/>
                  </a:lnTo>
                  <a:lnTo>
                    <a:pt x="88" y="500"/>
                  </a:lnTo>
                  <a:lnTo>
                    <a:pt x="105" y="500"/>
                  </a:lnTo>
                  <a:lnTo>
                    <a:pt x="124" y="500"/>
                  </a:lnTo>
                  <a:lnTo>
                    <a:pt x="131" y="500"/>
                  </a:lnTo>
                  <a:lnTo>
                    <a:pt x="131" y="505"/>
                  </a:lnTo>
                  <a:lnTo>
                    <a:pt x="121" y="507"/>
                  </a:lnTo>
                  <a:lnTo>
                    <a:pt x="107" y="507"/>
                  </a:lnTo>
                  <a:lnTo>
                    <a:pt x="95" y="507"/>
                  </a:lnTo>
                  <a:lnTo>
                    <a:pt x="88" y="510"/>
                  </a:lnTo>
                  <a:lnTo>
                    <a:pt x="88" y="510"/>
                  </a:lnTo>
                  <a:lnTo>
                    <a:pt x="88" y="520"/>
                  </a:lnTo>
                  <a:lnTo>
                    <a:pt x="85" y="520"/>
                  </a:lnTo>
                  <a:lnTo>
                    <a:pt x="80" y="520"/>
                  </a:lnTo>
                  <a:lnTo>
                    <a:pt x="75" y="520"/>
                  </a:lnTo>
                  <a:lnTo>
                    <a:pt x="73" y="520"/>
                  </a:lnTo>
                  <a:lnTo>
                    <a:pt x="73" y="520"/>
                  </a:lnTo>
                  <a:lnTo>
                    <a:pt x="78" y="1331"/>
                  </a:lnTo>
                  <a:lnTo>
                    <a:pt x="27" y="1333"/>
                  </a:lnTo>
                  <a:lnTo>
                    <a:pt x="27" y="1350"/>
                  </a:lnTo>
                  <a:lnTo>
                    <a:pt x="0" y="1353"/>
                  </a:lnTo>
                  <a:lnTo>
                    <a:pt x="0" y="1671"/>
                  </a:lnTo>
                  <a:lnTo>
                    <a:pt x="1279" y="1671"/>
                  </a:lnTo>
                  <a:lnTo>
                    <a:pt x="1279" y="1154"/>
                  </a:lnTo>
                  <a:close/>
                  <a:moveTo>
                    <a:pt x="126" y="498"/>
                  </a:moveTo>
                  <a:lnTo>
                    <a:pt x="124" y="498"/>
                  </a:lnTo>
                  <a:lnTo>
                    <a:pt x="121" y="498"/>
                  </a:lnTo>
                  <a:lnTo>
                    <a:pt x="119" y="498"/>
                  </a:lnTo>
                  <a:lnTo>
                    <a:pt x="117" y="498"/>
                  </a:lnTo>
                  <a:lnTo>
                    <a:pt x="119" y="498"/>
                  </a:lnTo>
                  <a:lnTo>
                    <a:pt x="121" y="498"/>
                  </a:lnTo>
                  <a:lnTo>
                    <a:pt x="124" y="498"/>
                  </a:lnTo>
                  <a:lnTo>
                    <a:pt x="126" y="498"/>
                  </a:lnTo>
                  <a:lnTo>
                    <a:pt x="131" y="498"/>
                  </a:lnTo>
                  <a:lnTo>
                    <a:pt x="126" y="498"/>
                  </a:lnTo>
                  <a:close/>
                  <a:moveTo>
                    <a:pt x="117" y="568"/>
                  </a:moveTo>
                  <a:lnTo>
                    <a:pt x="121" y="568"/>
                  </a:lnTo>
                  <a:lnTo>
                    <a:pt x="131" y="568"/>
                  </a:lnTo>
                  <a:lnTo>
                    <a:pt x="138" y="568"/>
                  </a:lnTo>
                  <a:lnTo>
                    <a:pt x="138" y="656"/>
                  </a:lnTo>
                  <a:lnTo>
                    <a:pt x="134" y="656"/>
                  </a:lnTo>
                  <a:lnTo>
                    <a:pt x="124" y="656"/>
                  </a:lnTo>
                  <a:lnTo>
                    <a:pt x="119" y="656"/>
                  </a:lnTo>
                  <a:lnTo>
                    <a:pt x="117" y="568"/>
                  </a:lnTo>
                  <a:close/>
                  <a:moveTo>
                    <a:pt x="119" y="673"/>
                  </a:moveTo>
                  <a:lnTo>
                    <a:pt x="126" y="673"/>
                  </a:lnTo>
                  <a:lnTo>
                    <a:pt x="136" y="673"/>
                  </a:lnTo>
                  <a:lnTo>
                    <a:pt x="138" y="673"/>
                  </a:lnTo>
                  <a:lnTo>
                    <a:pt x="138" y="799"/>
                  </a:lnTo>
                  <a:lnTo>
                    <a:pt x="136" y="799"/>
                  </a:lnTo>
                  <a:lnTo>
                    <a:pt x="126" y="799"/>
                  </a:lnTo>
                  <a:lnTo>
                    <a:pt x="119" y="799"/>
                  </a:lnTo>
                  <a:lnTo>
                    <a:pt x="119" y="673"/>
                  </a:lnTo>
                  <a:close/>
                  <a:moveTo>
                    <a:pt x="119" y="814"/>
                  </a:moveTo>
                  <a:lnTo>
                    <a:pt x="124" y="814"/>
                  </a:lnTo>
                  <a:lnTo>
                    <a:pt x="136" y="814"/>
                  </a:lnTo>
                  <a:lnTo>
                    <a:pt x="141" y="814"/>
                  </a:lnTo>
                  <a:lnTo>
                    <a:pt x="141" y="937"/>
                  </a:lnTo>
                  <a:lnTo>
                    <a:pt x="136" y="937"/>
                  </a:lnTo>
                  <a:lnTo>
                    <a:pt x="129" y="937"/>
                  </a:lnTo>
                  <a:lnTo>
                    <a:pt x="119" y="937"/>
                  </a:lnTo>
                  <a:lnTo>
                    <a:pt x="119" y="814"/>
                  </a:lnTo>
                  <a:close/>
                  <a:moveTo>
                    <a:pt x="119" y="957"/>
                  </a:moveTo>
                  <a:lnTo>
                    <a:pt x="126" y="957"/>
                  </a:lnTo>
                  <a:lnTo>
                    <a:pt x="136" y="957"/>
                  </a:lnTo>
                  <a:lnTo>
                    <a:pt x="141" y="957"/>
                  </a:lnTo>
                  <a:lnTo>
                    <a:pt x="141" y="1071"/>
                  </a:lnTo>
                  <a:lnTo>
                    <a:pt x="138" y="1071"/>
                  </a:lnTo>
                  <a:lnTo>
                    <a:pt x="129" y="1071"/>
                  </a:lnTo>
                  <a:lnTo>
                    <a:pt x="121" y="1073"/>
                  </a:lnTo>
                  <a:lnTo>
                    <a:pt x="119" y="957"/>
                  </a:lnTo>
                  <a:close/>
                  <a:moveTo>
                    <a:pt x="129" y="1185"/>
                  </a:moveTo>
                  <a:lnTo>
                    <a:pt x="121" y="1188"/>
                  </a:lnTo>
                  <a:lnTo>
                    <a:pt x="121" y="1095"/>
                  </a:lnTo>
                  <a:lnTo>
                    <a:pt x="126" y="1095"/>
                  </a:lnTo>
                  <a:lnTo>
                    <a:pt x="136" y="1095"/>
                  </a:lnTo>
                  <a:lnTo>
                    <a:pt x="141" y="1095"/>
                  </a:lnTo>
                  <a:lnTo>
                    <a:pt x="141" y="1185"/>
                  </a:lnTo>
                  <a:lnTo>
                    <a:pt x="129" y="1185"/>
                  </a:lnTo>
                  <a:close/>
                  <a:moveTo>
                    <a:pt x="182" y="568"/>
                  </a:moveTo>
                  <a:lnTo>
                    <a:pt x="189" y="568"/>
                  </a:lnTo>
                  <a:lnTo>
                    <a:pt x="197" y="568"/>
                  </a:lnTo>
                  <a:lnTo>
                    <a:pt x="197" y="656"/>
                  </a:lnTo>
                  <a:lnTo>
                    <a:pt x="194" y="656"/>
                  </a:lnTo>
                  <a:lnTo>
                    <a:pt x="182" y="656"/>
                  </a:lnTo>
                  <a:lnTo>
                    <a:pt x="182" y="568"/>
                  </a:lnTo>
                  <a:close/>
                  <a:moveTo>
                    <a:pt x="182" y="673"/>
                  </a:moveTo>
                  <a:lnTo>
                    <a:pt x="189" y="673"/>
                  </a:lnTo>
                  <a:lnTo>
                    <a:pt x="197" y="673"/>
                  </a:lnTo>
                  <a:lnTo>
                    <a:pt x="199" y="799"/>
                  </a:lnTo>
                  <a:lnTo>
                    <a:pt x="189" y="799"/>
                  </a:lnTo>
                  <a:lnTo>
                    <a:pt x="182" y="799"/>
                  </a:lnTo>
                  <a:lnTo>
                    <a:pt x="182" y="673"/>
                  </a:lnTo>
                  <a:close/>
                  <a:moveTo>
                    <a:pt x="182" y="814"/>
                  </a:moveTo>
                  <a:lnTo>
                    <a:pt x="194" y="814"/>
                  </a:lnTo>
                  <a:lnTo>
                    <a:pt x="199" y="814"/>
                  </a:lnTo>
                  <a:lnTo>
                    <a:pt x="199" y="937"/>
                  </a:lnTo>
                  <a:lnTo>
                    <a:pt x="192" y="937"/>
                  </a:lnTo>
                  <a:lnTo>
                    <a:pt x="184" y="937"/>
                  </a:lnTo>
                  <a:lnTo>
                    <a:pt x="182" y="814"/>
                  </a:lnTo>
                  <a:close/>
                  <a:moveTo>
                    <a:pt x="184" y="957"/>
                  </a:moveTo>
                  <a:lnTo>
                    <a:pt x="194" y="957"/>
                  </a:lnTo>
                  <a:lnTo>
                    <a:pt x="199" y="957"/>
                  </a:lnTo>
                  <a:lnTo>
                    <a:pt x="199" y="1071"/>
                  </a:lnTo>
                  <a:lnTo>
                    <a:pt x="192" y="1071"/>
                  </a:lnTo>
                  <a:lnTo>
                    <a:pt x="184" y="1071"/>
                  </a:lnTo>
                  <a:lnTo>
                    <a:pt x="184" y="957"/>
                  </a:lnTo>
                  <a:close/>
                  <a:moveTo>
                    <a:pt x="199" y="1188"/>
                  </a:moveTo>
                  <a:lnTo>
                    <a:pt x="184" y="1185"/>
                  </a:lnTo>
                  <a:lnTo>
                    <a:pt x="184" y="1098"/>
                  </a:lnTo>
                  <a:lnTo>
                    <a:pt x="197" y="1098"/>
                  </a:lnTo>
                  <a:lnTo>
                    <a:pt x="199" y="1098"/>
                  </a:lnTo>
                  <a:lnTo>
                    <a:pt x="201" y="1188"/>
                  </a:lnTo>
                  <a:lnTo>
                    <a:pt x="199" y="1188"/>
                  </a:lnTo>
                  <a:close/>
                </a:path>
              </a:pathLst>
            </a:custGeom>
            <a:solidFill>
              <a:schemeClr val="accent1">
                <a:lumMod val="75000"/>
              </a:schemeClr>
            </a:solidFill>
            <a:ln>
              <a:noFill/>
            </a:ln>
          </p:spPr>
          <p:txBody>
            <a:bodyPr lIns="68580" tIns="34290" rIns="68580" bIns="34290"/>
            <a:lstStyle/>
            <a:p>
              <a:pPr eaLnBrk="1" fontAlgn="auto" hangingPunct="1">
                <a:spcBef>
                  <a:spcPts val="0"/>
                </a:spcBef>
                <a:spcAft>
                  <a:spcPts val="0"/>
                </a:spcAft>
                <a:defRPr/>
              </a:pPr>
              <a:endParaRPr lang="id-ID" sz="1350">
                <a:latin typeface="+mn-lt"/>
              </a:endParaRPr>
            </a:p>
          </p:txBody>
        </p:sp>
        <p:sp>
          <p:nvSpPr>
            <p:cNvPr id="22551" name="TextBox 10">
              <a:extLst>
                <a:ext uri="{FF2B5EF4-FFF2-40B4-BE49-F238E27FC236}">
                  <a16:creationId xmlns:a16="http://schemas.microsoft.com/office/drawing/2014/main" id="{58504E16-BE63-123A-AD34-8A4395FF0146}"/>
                </a:ext>
              </a:extLst>
            </p:cNvPr>
            <p:cNvSpPr txBox="1">
              <a:spLocks noChangeArrowheads="1"/>
            </p:cNvSpPr>
            <p:nvPr/>
          </p:nvSpPr>
          <p:spPr bwMode="auto">
            <a:xfrm>
              <a:off x="-16797" y="2106202"/>
              <a:ext cx="215466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ctr" eaLnBrk="1" hangingPunct="1">
                <a:lnSpc>
                  <a:spcPct val="100000"/>
                </a:lnSpc>
                <a:spcBef>
                  <a:spcPct val="0"/>
                </a:spcBef>
                <a:buFontTx/>
                <a:buNone/>
              </a:pPr>
              <a:r>
                <a:rPr lang="tr-TR" altLang="tr-TR" sz="3000" b="1">
                  <a:solidFill>
                    <a:schemeClr val="bg1"/>
                  </a:solidFill>
                  <a:latin typeface="Open Sans" panose="020B0606030504020204" pitchFamily="34" charset="0"/>
                  <a:cs typeface="Open Sans" panose="020B0606030504020204" pitchFamily="34" charset="0"/>
                </a:rPr>
                <a:t>…</a:t>
              </a:r>
            </a:p>
          </p:txBody>
        </p:sp>
      </p:grpSp>
      <p:grpSp>
        <p:nvGrpSpPr>
          <p:cNvPr id="43" name="Group 20">
            <a:extLst>
              <a:ext uri="{FF2B5EF4-FFF2-40B4-BE49-F238E27FC236}">
                <a16:creationId xmlns:a16="http://schemas.microsoft.com/office/drawing/2014/main" id="{F7E0BBA3-A975-1193-3FD0-D09F0D3082B1}"/>
              </a:ext>
            </a:extLst>
          </p:cNvPr>
          <p:cNvGrpSpPr/>
          <p:nvPr/>
        </p:nvGrpSpPr>
        <p:grpSpPr>
          <a:xfrm flipH="1">
            <a:off x="-9452" y="4239560"/>
            <a:ext cx="4620912" cy="2507867"/>
            <a:chOff x="6625864" y="1832111"/>
            <a:chExt cx="6820169" cy="4367730"/>
          </a:xfrm>
          <a:effectLst>
            <a:outerShdw blurRad="101600" dist="50800" dir="2700000" algn="tl" rotWithShape="0">
              <a:prstClr val="black">
                <a:alpha val="40000"/>
              </a:prstClr>
            </a:outerShdw>
          </a:effectLst>
        </p:grpSpPr>
        <p:sp>
          <p:nvSpPr>
            <p:cNvPr id="44" name="Freeform 21">
              <a:extLst>
                <a:ext uri="{FF2B5EF4-FFF2-40B4-BE49-F238E27FC236}">
                  <a16:creationId xmlns:a16="http://schemas.microsoft.com/office/drawing/2014/main" id="{3C260A20-ACF8-C1E5-A24B-ABF2DF119994}"/>
                </a:ext>
              </a:extLst>
            </p:cNvPr>
            <p:cNvSpPr>
              <a:spLocks/>
            </p:cNvSpPr>
            <p:nvPr/>
          </p:nvSpPr>
          <p:spPr bwMode="auto">
            <a:xfrm>
              <a:off x="8676705" y="2559254"/>
              <a:ext cx="4769328" cy="727142"/>
            </a:xfrm>
            <a:custGeom>
              <a:avLst/>
              <a:gdLst>
                <a:gd name="connsiteX0" fmla="*/ 121465 w 4769328"/>
                <a:gd name="connsiteY0" fmla="*/ 0 h 727142"/>
                <a:gd name="connsiteX1" fmla="*/ 1221333 w 4769328"/>
                <a:gd name="connsiteY1" fmla="*/ 0 h 727142"/>
                <a:gd name="connsiteX2" fmla="*/ 1234446 w 4769328"/>
                <a:gd name="connsiteY2" fmla="*/ 6816 h 727142"/>
                <a:gd name="connsiteX3" fmla="*/ 1278775 w 4769328"/>
                <a:gd name="connsiteY3" fmla="*/ 43169 h 727142"/>
                <a:gd name="connsiteX4" fmla="*/ 1470324 w 4769328"/>
                <a:gd name="connsiteY4" fmla="*/ 253901 h 727142"/>
                <a:gd name="connsiteX5" fmla="*/ 1587382 w 4769328"/>
                <a:gd name="connsiteY5" fmla="*/ 300730 h 727142"/>
                <a:gd name="connsiteX6" fmla="*/ 1725723 w 4769328"/>
                <a:gd name="connsiteY6" fmla="*/ 307116 h 727142"/>
                <a:gd name="connsiteX7" fmla="*/ 1749135 w 4769328"/>
                <a:gd name="connsiteY7" fmla="*/ 45297 h 727142"/>
                <a:gd name="connsiteX8" fmla="*/ 1734004 w 4769328"/>
                <a:gd name="connsiteY8" fmla="*/ 3424 h 727142"/>
                <a:gd name="connsiteX9" fmla="*/ 1730442 w 4769328"/>
                <a:gd name="connsiteY9" fmla="*/ 0 h 727142"/>
                <a:gd name="connsiteX10" fmla="*/ 4769328 w 4769328"/>
                <a:gd name="connsiteY10" fmla="*/ 0 h 727142"/>
                <a:gd name="connsiteX11" fmla="*/ 4769328 w 4769328"/>
                <a:gd name="connsiteY11" fmla="*/ 727142 h 727142"/>
                <a:gd name="connsiteX12" fmla="*/ 306555 w 4769328"/>
                <a:gd name="connsiteY12" fmla="*/ 727142 h 727142"/>
                <a:gd name="connsiteX13" fmla="*/ 304002 w 4769328"/>
                <a:gd name="connsiteY13" fmla="*/ 717937 h 727142"/>
                <a:gd name="connsiteX14" fmla="*/ 12422 w 4769328"/>
                <a:gd name="connsiteY14" fmla="*/ 92127 h 727142"/>
                <a:gd name="connsiteX15" fmla="*/ 25192 w 4769328"/>
                <a:gd name="connsiteY15" fmla="*/ 19754 h 727142"/>
                <a:gd name="connsiteX16" fmla="*/ 108845 w 4769328"/>
                <a:gd name="connsiteY16" fmla="*/ 3478 h 727142"/>
                <a:gd name="connsiteX17" fmla="*/ 121465 w 4769328"/>
                <a:gd name="connsiteY17" fmla="*/ 0 h 727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69328" h="727142">
                  <a:moveTo>
                    <a:pt x="121465" y="0"/>
                  </a:moveTo>
                  <a:lnTo>
                    <a:pt x="1221333" y="0"/>
                  </a:lnTo>
                  <a:lnTo>
                    <a:pt x="1234446" y="6816"/>
                  </a:lnTo>
                  <a:cubicBezTo>
                    <a:pt x="1250974" y="17493"/>
                    <a:pt x="1265473" y="29333"/>
                    <a:pt x="1278775" y="43169"/>
                  </a:cubicBezTo>
                  <a:cubicBezTo>
                    <a:pt x="1331983" y="96384"/>
                    <a:pt x="1427757" y="249644"/>
                    <a:pt x="1470324" y="253901"/>
                  </a:cubicBezTo>
                  <a:cubicBezTo>
                    <a:pt x="1515019" y="256029"/>
                    <a:pt x="1544815" y="285830"/>
                    <a:pt x="1587382" y="300730"/>
                  </a:cubicBezTo>
                  <a:cubicBezTo>
                    <a:pt x="1632077" y="315630"/>
                    <a:pt x="1666130" y="370974"/>
                    <a:pt x="1725723" y="307116"/>
                  </a:cubicBezTo>
                  <a:cubicBezTo>
                    <a:pt x="1787445" y="243258"/>
                    <a:pt x="1757648" y="111284"/>
                    <a:pt x="1749135" y="45297"/>
                  </a:cubicBezTo>
                  <a:cubicBezTo>
                    <a:pt x="1746475" y="28801"/>
                    <a:pt x="1741553" y="15098"/>
                    <a:pt x="1734004" y="3424"/>
                  </a:cubicBezTo>
                  <a:lnTo>
                    <a:pt x="1730442" y="0"/>
                  </a:lnTo>
                  <a:lnTo>
                    <a:pt x="4769328" y="0"/>
                  </a:lnTo>
                  <a:lnTo>
                    <a:pt x="4769328" y="727142"/>
                  </a:lnTo>
                  <a:lnTo>
                    <a:pt x="306555" y="727142"/>
                  </a:lnTo>
                  <a:lnTo>
                    <a:pt x="304002" y="717937"/>
                  </a:lnTo>
                  <a:cubicBezTo>
                    <a:pt x="261436" y="524234"/>
                    <a:pt x="33705" y="145342"/>
                    <a:pt x="12422" y="92127"/>
                  </a:cubicBezTo>
                  <a:cubicBezTo>
                    <a:pt x="-10990" y="38912"/>
                    <a:pt x="1780" y="19754"/>
                    <a:pt x="25192" y="19754"/>
                  </a:cubicBezTo>
                  <a:cubicBezTo>
                    <a:pt x="33173" y="19754"/>
                    <a:pt x="65697" y="14366"/>
                    <a:pt x="108845" y="3478"/>
                  </a:cubicBezTo>
                  <a:lnTo>
                    <a:pt x="121465" y="0"/>
                  </a:lnTo>
                  <a:close/>
                </a:path>
              </a:pathLst>
            </a:custGeom>
            <a:gradFill flip="none" rotWithShape="1">
              <a:gsLst>
                <a:gs pos="0">
                  <a:schemeClr val="accent2"/>
                </a:gs>
                <a:gs pos="41000">
                  <a:schemeClr val="accent2">
                    <a:lumMod val="60000"/>
                    <a:lumOff val="40000"/>
                  </a:schemeClr>
                </a:gs>
                <a:gs pos="83000">
                  <a:schemeClr val="accent2">
                    <a:lumMod val="40000"/>
                    <a:lumOff val="60000"/>
                  </a:schemeClr>
                </a:gs>
                <a:gs pos="100000">
                  <a:schemeClr val="accent2">
                    <a:lumMod val="20000"/>
                    <a:lumOff val="80000"/>
                  </a:schemeClr>
                </a:gs>
              </a:gsLst>
              <a:lin ang="0" scaled="1"/>
              <a:tileRect/>
            </a:gradFill>
            <a:ln>
              <a:noFill/>
            </a:ln>
          </p:spPr>
          <p:txBody>
            <a:bodyPr lIns="68580" tIns="34290" rIns="68580" bIns="34290"/>
            <a:lstStyle/>
            <a:p>
              <a:pPr eaLnBrk="1" fontAlgn="auto" hangingPunct="1">
                <a:spcBef>
                  <a:spcPts val="0"/>
                </a:spcBef>
                <a:spcAft>
                  <a:spcPts val="0"/>
                </a:spcAft>
                <a:defRPr/>
              </a:pPr>
              <a:endParaRPr lang="en-US" sz="1350">
                <a:latin typeface="+mn-lt"/>
              </a:endParaRPr>
            </a:p>
          </p:txBody>
        </p:sp>
        <p:sp>
          <p:nvSpPr>
            <p:cNvPr id="45" name="Freeform 22">
              <a:extLst>
                <a:ext uri="{FF2B5EF4-FFF2-40B4-BE49-F238E27FC236}">
                  <a16:creationId xmlns:a16="http://schemas.microsoft.com/office/drawing/2014/main" id="{BBCA38FF-BEFF-E8B0-9DD0-E68CF96BA1E0}"/>
                </a:ext>
              </a:extLst>
            </p:cNvPr>
            <p:cNvSpPr>
              <a:spLocks/>
            </p:cNvSpPr>
            <p:nvPr/>
          </p:nvSpPr>
          <p:spPr bwMode="auto">
            <a:xfrm>
              <a:off x="7565934" y="1832112"/>
              <a:ext cx="5880099" cy="727143"/>
            </a:xfrm>
            <a:custGeom>
              <a:avLst/>
              <a:gdLst>
                <a:gd name="connsiteX0" fmla="*/ 1666414 w 5880099"/>
                <a:gd name="connsiteY0" fmla="*/ 520134 h 727143"/>
                <a:gd name="connsiteX1" fmla="*/ 1793615 w 5880099"/>
                <a:gd name="connsiteY1" fmla="*/ 544680 h 727143"/>
                <a:gd name="connsiteX2" fmla="*/ 2119249 w 5880099"/>
                <a:gd name="connsiteY2" fmla="*/ 646853 h 727143"/>
                <a:gd name="connsiteX3" fmla="*/ 2288717 w 5880099"/>
                <a:gd name="connsiteY3" fmla="*/ 704591 h 727143"/>
                <a:gd name="connsiteX4" fmla="*/ 2332104 w 5880099"/>
                <a:gd name="connsiteY4" fmla="*/ 727143 h 727143"/>
                <a:gd name="connsiteX5" fmla="*/ 1232236 w 5880099"/>
                <a:gd name="connsiteY5" fmla="*/ 727143 h 727143"/>
                <a:gd name="connsiteX6" fmla="*/ 1265791 w 5880099"/>
                <a:gd name="connsiteY6" fmla="*/ 717895 h 727143"/>
                <a:gd name="connsiteX7" fmla="*/ 1459468 w 5880099"/>
                <a:gd name="connsiteY7" fmla="*/ 629824 h 727143"/>
                <a:gd name="connsiteX8" fmla="*/ 1636119 w 5880099"/>
                <a:gd name="connsiteY8" fmla="*/ 521265 h 727143"/>
                <a:gd name="connsiteX9" fmla="*/ 1666414 w 5880099"/>
                <a:gd name="connsiteY9" fmla="*/ 520134 h 727143"/>
                <a:gd name="connsiteX10" fmla="*/ 0 w 5880099"/>
                <a:gd name="connsiteY10" fmla="*/ 0 h 727143"/>
                <a:gd name="connsiteX11" fmla="*/ 5880099 w 5880099"/>
                <a:gd name="connsiteY11" fmla="*/ 0 h 727143"/>
                <a:gd name="connsiteX12" fmla="*/ 5880099 w 5880099"/>
                <a:gd name="connsiteY12" fmla="*/ 727143 h 727143"/>
                <a:gd name="connsiteX13" fmla="*/ 2841213 w 5880099"/>
                <a:gd name="connsiteY13" fmla="*/ 727143 h 727143"/>
                <a:gd name="connsiteX14" fmla="*/ 2813881 w 5880099"/>
                <a:gd name="connsiteY14" fmla="*/ 700866 h 727143"/>
                <a:gd name="connsiteX15" fmla="*/ 2696024 w 5880099"/>
                <a:gd name="connsiteY15" fmla="*/ 659624 h 727143"/>
                <a:gd name="connsiteX16" fmla="*/ 2421471 w 5880099"/>
                <a:gd name="connsiteY16" fmla="*/ 570223 h 727143"/>
                <a:gd name="connsiteX17" fmla="*/ 1878748 w 5880099"/>
                <a:gd name="connsiteY17" fmla="*/ 289247 h 727143"/>
                <a:gd name="connsiteX18" fmla="*/ 1531831 w 5880099"/>
                <a:gd name="connsiteY18" fmla="*/ 267961 h 727143"/>
                <a:gd name="connsiteX19" fmla="*/ 1157246 w 5880099"/>
                <a:gd name="connsiteY19" fmla="*/ 374391 h 727143"/>
                <a:gd name="connsiteX20" fmla="*/ 1055087 w 5880099"/>
                <a:gd name="connsiteY20" fmla="*/ 419092 h 727143"/>
                <a:gd name="connsiteX21" fmla="*/ 776276 w 5880099"/>
                <a:gd name="connsiteY21" fmla="*/ 457407 h 727143"/>
                <a:gd name="connsiteX22" fmla="*/ 625165 w 5880099"/>
                <a:gd name="connsiteY22" fmla="*/ 574480 h 727143"/>
                <a:gd name="connsiteX23" fmla="*/ 503850 w 5880099"/>
                <a:gd name="connsiteY23" fmla="*/ 589380 h 727143"/>
                <a:gd name="connsiteX24" fmla="*/ 371894 w 5880099"/>
                <a:gd name="connsiteY24" fmla="*/ 431863 h 727143"/>
                <a:gd name="connsiteX25" fmla="*/ 252708 w 5880099"/>
                <a:gd name="connsiteY25" fmla="*/ 65743 h 727143"/>
                <a:gd name="connsiteX26" fmla="*/ 58129 w 5880099"/>
                <a:gd name="connsiteY26" fmla="*/ 1 h 727143"/>
                <a:gd name="connsiteX27" fmla="*/ 0 w 5880099"/>
                <a:gd name="connsiteY27" fmla="*/ 3776 h 727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880099" h="727143">
                  <a:moveTo>
                    <a:pt x="1666414" y="520134"/>
                  </a:moveTo>
                  <a:cubicBezTo>
                    <a:pt x="1697442" y="518737"/>
                    <a:pt x="1732958" y="519137"/>
                    <a:pt x="1793615" y="544680"/>
                  </a:cubicBezTo>
                  <a:cubicBezTo>
                    <a:pt x="1876620" y="580866"/>
                    <a:pt x="1974523" y="602152"/>
                    <a:pt x="2119249" y="646853"/>
                  </a:cubicBezTo>
                  <a:cubicBezTo>
                    <a:pt x="2191612" y="669203"/>
                    <a:pt x="2245884" y="686232"/>
                    <a:pt x="2288717" y="704591"/>
                  </a:cubicBezTo>
                  <a:lnTo>
                    <a:pt x="2332104" y="727143"/>
                  </a:lnTo>
                  <a:lnTo>
                    <a:pt x="1232236" y="727143"/>
                  </a:lnTo>
                  <a:lnTo>
                    <a:pt x="1265791" y="717895"/>
                  </a:lnTo>
                  <a:cubicBezTo>
                    <a:pt x="1330705" y="698471"/>
                    <a:pt x="1406260" y="669203"/>
                    <a:pt x="1459468" y="629824"/>
                  </a:cubicBezTo>
                  <a:cubicBezTo>
                    <a:pt x="1565884" y="551065"/>
                    <a:pt x="1595681" y="521265"/>
                    <a:pt x="1636119" y="521265"/>
                  </a:cubicBezTo>
                  <a:cubicBezTo>
                    <a:pt x="1646229" y="521265"/>
                    <a:pt x="1656072" y="520600"/>
                    <a:pt x="1666414" y="520134"/>
                  </a:cubicBezTo>
                  <a:close/>
                  <a:moveTo>
                    <a:pt x="0" y="0"/>
                  </a:moveTo>
                  <a:lnTo>
                    <a:pt x="5880099" y="0"/>
                  </a:lnTo>
                  <a:lnTo>
                    <a:pt x="5880099" y="727143"/>
                  </a:lnTo>
                  <a:lnTo>
                    <a:pt x="2841213" y="727143"/>
                  </a:lnTo>
                  <a:lnTo>
                    <a:pt x="2813881" y="700866"/>
                  </a:lnTo>
                  <a:cubicBezTo>
                    <a:pt x="2787542" y="684104"/>
                    <a:pt x="2749232" y="672396"/>
                    <a:pt x="2696024" y="659624"/>
                  </a:cubicBezTo>
                  <a:cubicBezTo>
                    <a:pt x="2587480" y="634081"/>
                    <a:pt x="2570454" y="659624"/>
                    <a:pt x="2421471" y="570223"/>
                  </a:cubicBezTo>
                  <a:cubicBezTo>
                    <a:pt x="2272488" y="482950"/>
                    <a:pt x="1925571" y="319047"/>
                    <a:pt x="1878748" y="289247"/>
                  </a:cubicBezTo>
                  <a:cubicBezTo>
                    <a:pt x="1831925" y="261575"/>
                    <a:pt x="1695712" y="229646"/>
                    <a:pt x="1531831" y="267961"/>
                  </a:cubicBezTo>
                  <a:cubicBezTo>
                    <a:pt x="1367950" y="306276"/>
                    <a:pt x="1189171" y="374391"/>
                    <a:pt x="1157246" y="374391"/>
                  </a:cubicBezTo>
                  <a:cubicBezTo>
                    <a:pt x="1125321" y="374391"/>
                    <a:pt x="1055087" y="393548"/>
                    <a:pt x="1055087" y="419092"/>
                  </a:cubicBezTo>
                  <a:cubicBezTo>
                    <a:pt x="1055087" y="419092"/>
                    <a:pt x="863537" y="397806"/>
                    <a:pt x="776276" y="457407"/>
                  </a:cubicBezTo>
                  <a:cubicBezTo>
                    <a:pt x="686886" y="517008"/>
                    <a:pt x="680501" y="551065"/>
                    <a:pt x="625165" y="574480"/>
                  </a:cubicBezTo>
                  <a:cubicBezTo>
                    <a:pt x="567700" y="595766"/>
                    <a:pt x="533647" y="595766"/>
                    <a:pt x="503850" y="589380"/>
                  </a:cubicBezTo>
                  <a:cubicBezTo>
                    <a:pt x="503850" y="589380"/>
                    <a:pt x="339969" y="527651"/>
                    <a:pt x="371894" y="431863"/>
                  </a:cubicBezTo>
                  <a:cubicBezTo>
                    <a:pt x="403819" y="338205"/>
                    <a:pt x="410204" y="187074"/>
                    <a:pt x="252708" y="65743"/>
                  </a:cubicBezTo>
                  <a:cubicBezTo>
                    <a:pt x="193647" y="21042"/>
                    <a:pt x="125009" y="1486"/>
                    <a:pt x="58129" y="1"/>
                  </a:cubicBezTo>
                  <a:lnTo>
                    <a:pt x="0" y="3776"/>
                  </a:lnTo>
                  <a:close/>
                </a:path>
              </a:pathLst>
            </a:custGeom>
            <a:gradFill flip="none" rotWithShape="1">
              <a:gsLst>
                <a:gs pos="0">
                  <a:schemeClr val="accent1"/>
                </a:gs>
                <a:gs pos="41000">
                  <a:schemeClr val="accent1">
                    <a:lumMod val="60000"/>
                    <a:lumOff val="40000"/>
                  </a:schemeClr>
                </a:gs>
                <a:gs pos="83000">
                  <a:schemeClr val="accent1">
                    <a:lumMod val="40000"/>
                    <a:lumOff val="60000"/>
                  </a:schemeClr>
                </a:gs>
                <a:gs pos="100000">
                  <a:schemeClr val="accent1">
                    <a:lumMod val="20000"/>
                    <a:lumOff val="80000"/>
                  </a:schemeClr>
                </a:gs>
              </a:gsLst>
              <a:lin ang="0" scaled="1"/>
              <a:tileRect/>
            </a:gradFill>
            <a:ln>
              <a:noFill/>
            </a:ln>
          </p:spPr>
          <p:txBody>
            <a:bodyPr lIns="68580" tIns="34290" rIns="68580" bIns="34290"/>
            <a:lstStyle/>
            <a:p>
              <a:pPr eaLnBrk="1" fontAlgn="auto" hangingPunct="1">
                <a:spcBef>
                  <a:spcPts val="0"/>
                </a:spcBef>
                <a:spcAft>
                  <a:spcPts val="0"/>
                </a:spcAft>
                <a:defRPr/>
              </a:pPr>
              <a:endParaRPr lang="en-US" sz="1350">
                <a:latin typeface="+mn-lt"/>
              </a:endParaRPr>
            </a:p>
          </p:txBody>
        </p:sp>
        <p:sp>
          <p:nvSpPr>
            <p:cNvPr id="46" name="Freeform 23">
              <a:extLst>
                <a:ext uri="{FF2B5EF4-FFF2-40B4-BE49-F238E27FC236}">
                  <a16:creationId xmlns:a16="http://schemas.microsoft.com/office/drawing/2014/main" id="{82FB8A0D-EE56-BE4A-CF35-6084860171D1}"/>
                </a:ext>
              </a:extLst>
            </p:cNvPr>
            <p:cNvSpPr>
              <a:spLocks/>
            </p:cNvSpPr>
            <p:nvPr/>
          </p:nvSpPr>
          <p:spPr bwMode="auto">
            <a:xfrm>
              <a:off x="9898038" y="2559254"/>
              <a:ext cx="542487" cy="337204"/>
            </a:xfrm>
            <a:custGeom>
              <a:avLst/>
              <a:gdLst>
                <a:gd name="connsiteX0" fmla="*/ 0 w 542487"/>
                <a:gd name="connsiteY0" fmla="*/ 0 h 337204"/>
                <a:gd name="connsiteX1" fmla="*/ 509109 w 542487"/>
                <a:gd name="connsiteY1" fmla="*/ 0 h 337204"/>
                <a:gd name="connsiteX2" fmla="*/ 512671 w 542487"/>
                <a:gd name="connsiteY2" fmla="*/ 3424 h 337204"/>
                <a:gd name="connsiteX3" fmla="*/ 527802 w 542487"/>
                <a:gd name="connsiteY3" fmla="*/ 45297 h 337204"/>
                <a:gd name="connsiteX4" fmla="*/ 504390 w 542487"/>
                <a:gd name="connsiteY4" fmla="*/ 307116 h 337204"/>
                <a:gd name="connsiteX5" fmla="*/ 366049 w 542487"/>
                <a:gd name="connsiteY5" fmla="*/ 300730 h 337204"/>
                <a:gd name="connsiteX6" fmla="*/ 248991 w 542487"/>
                <a:gd name="connsiteY6" fmla="*/ 253901 h 337204"/>
                <a:gd name="connsiteX7" fmla="*/ 57442 w 542487"/>
                <a:gd name="connsiteY7" fmla="*/ 43169 h 337204"/>
                <a:gd name="connsiteX8" fmla="*/ 13113 w 542487"/>
                <a:gd name="connsiteY8" fmla="*/ 6816 h 337204"/>
                <a:gd name="connsiteX9" fmla="*/ 0 w 542487"/>
                <a:gd name="connsiteY9" fmla="*/ 0 h 337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2487" h="337204">
                  <a:moveTo>
                    <a:pt x="0" y="0"/>
                  </a:moveTo>
                  <a:lnTo>
                    <a:pt x="509109" y="0"/>
                  </a:lnTo>
                  <a:lnTo>
                    <a:pt x="512671" y="3424"/>
                  </a:lnTo>
                  <a:cubicBezTo>
                    <a:pt x="520220" y="15098"/>
                    <a:pt x="525142" y="28801"/>
                    <a:pt x="527802" y="45297"/>
                  </a:cubicBezTo>
                  <a:cubicBezTo>
                    <a:pt x="536315" y="111284"/>
                    <a:pt x="566112" y="243258"/>
                    <a:pt x="504390" y="307116"/>
                  </a:cubicBezTo>
                  <a:cubicBezTo>
                    <a:pt x="444797" y="370974"/>
                    <a:pt x="410744" y="315630"/>
                    <a:pt x="366049" y="300730"/>
                  </a:cubicBezTo>
                  <a:cubicBezTo>
                    <a:pt x="323482" y="285830"/>
                    <a:pt x="293686" y="256029"/>
                    <a:pt x="248991" y="253901"/>
                  </a:cubicBezTo>
                  <a:cubicBezTo>
                    <a:pt x="206424" y="249644"/>
                    <a:pt x="110650" y="96384"/>
                    <a:pt x="57442" y="43169"/>
                  </a:cubicBezTo>
                  <a:cubicBezTo>
                    <a:pt x="44140" y="29333"/>
                    <a:pt x="29641" y="17493"/>
                    <a:pt x="13113" y="6816"/>
                  </a:cubicBezTo>
                  <a:lnTo>
                    <a:pt x="0" y="0"/>
                  </a:lnTo>
                  <a:close/>
                </a:path>
              </a:pathLst>
            </a:custGeom>
            <a:solidFill>
              <a:schemeClr val="tx2"/>
            </a:solidFill>
            <a:ln>
              <a:noFill/>
            </a:ln>
          </p:spPr>
          <p:txBody>
            <a:bodyPr lIns="68580" tIns="34290" rIns="68580" bIns="34290"/>
            <a:lstStyle/>
            <a:p>
              <a:pPr eaLnBrk="1" fontAlgn="auto" hangingPunct="1">
                <a:spcBef>
                  <a:spcPts val="0"/>
                </a:spcBef>
                <a:spcAft>
                  <a:spcPts val="0"/>
                </a:spcAft>
                <a:defRPr/>
              </a:pPr>
              <a:endParaRPr lang="en-US" sz="1350">
                <a:latin typeface="+mn-lt"/>
              </a:endParaRPr>
            </a:p>
          </p:txBody>
        </p:sp>
        <p:sp>
          <p:nvSpPr>
            <p:cNvPr id="47" name="Freeform 24">
              <a:extLst>
                <a:ext uri="{FF2B5EF4-FFF2-40B4-BE49-F238E27FC236}">
                  <a16:creationId xmlns:a16="http://schemas.microsoft.com/office/drawing/2014/main" id="{CA092F27-B7FA-8B22-6D7D-C5A372DE3903}"/>
                </a:ext>
              </a:extLst>
            </p:cNvPr>
            <p:cNvSpPr>
              <a:spLocks/>
            </p:cNvSpPr>
            <p:nvPr/>
          </p:nvSpPr>
          <p:spPr bwMode="auto">
            <a:xfrm>
              <a:off x="9308469" y="4013538"/>
              <a:ext cx="4137564" cy="727142"/>
            </a:xfrm>
            <a:custGeom>
              <a:avLst/>
              <a:gdLst>
                <a:gd name="connsiteX0" fmla="*/ 101524 w 4137564"/>
                <a:gd name="connsiteY0" fmla="*/ 0 h 727142"/>
                <a:gd name="connsiteX1" fmla="*/ 4137564 w 4137564"/>
                <a:gd name="connsiteY1" fmla="*/ 0 h 727142"/>
                <a:gd name="connsiteX2" fmla="*/ 4137564 w 4137564"/>
                <a:gd name="connsiteY2" fmla="*/ 727142 h 727142"/>
                <a:gd name="connsiteX3" fmla="*/ 285212 w 4137564"/>
                <a:gd name="connsiteY3" fmla="*/ 727142 h 727142"/>
                <a:gd name="connsiteX4" fmla="*/ 275951 w 4137564"/>
                <a:gd name="connsiteY4" fmla="*/ 705685 h 727142"/>
                <a:gd name="connsiteX5" fmla="*/ 0 w 4137564"/>
                <a:gd name="connsiteY5" fmla="*/ 287514 h 727142"/>
                <a:gd name="connsiteX6" fmla="*/ 104084 w 4137564"/>
                <a:gd name="connsiteY6" fmla="*/ 15759 h 727142"/>
                <a:gd name="connsiteX7" fmla="*/ 101524 w 4137564"/>
                <a:gd name="connsiteY7" fmla="*/ 0 h 727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37564" h="727142">
                  <a:moveTo>
                    <a:pt x="101524" y="0"/>
                  </a:moveTo>
                  <a:lnTo>
                    <a:pt x="4137564" y="0"/>
                  </a:lnTo>
                  <a:lnTo>
                    <a:pt x="4137564" y="727142"/>
                  </a:lnTo>
                  <a:lnTo>
                    <a:pt x="285212" y="727142"/>
                  </a:lnTo>
                  <a:lnTo>
                    <a:pt x="275951" y="705685"/>
                  </a:lnTo>
                  <a:cubicBezTo>
                    <a:pt x="222277" y="590840"/>
                    <a:pt x="106949" y="391283"/>
                    <a:pt x="0" y="287514"/>
                  </a:cubicBezTo>
                  <a:cubicBezTo>
                    <a:pt x="0" y="287514"/>
                    <a:pt x="114065" y="186472"/>
                    <a:pt x="104084" y="15759"/>
                  </a:cubicBezTo>
                  <a:lnTo>
                    <a:pt x="101524" y="0"/>
                  </a:lnTo>
                  <a:close/>
                </a:path>
              </a:pathLst>
            </a:custGeom>
            <a:gradFill flip="none" rotWithShape="1">
              <a:gsLst>
                <a:gs pos="0">
                  <a:schemeClr val="accent4"/>
                </a:gs>
                <a:gs pos="41000">
                  <a:schemeClr val="accent4">
                    <a:lumMod val="60000"/>
                    <a:lumOff val="40000"/>
                  </a:schemeClr>
                </a:gs>
                <a:gs pos="83000">
                  <a:schemeClr val="accent4">
                    <a:lumMod val="40000"/>
                    <a:lumOff val="60000"/>
                  </a:schemeClr>
                </a:gs>
                <a:gs pos="100000">
                  <a:schemeClr val="accent4">
                    <a:lumMod val="20000"/>
                    <a:lumOff val="80000"/>
                  </a:schemeClr>
                </a:gs>
              </a:gsLst>
              <a:lin ang="0" scaled="1"/>
              <a:tileRect/>
            </a:gradFill>
            <a:ln>
              <a:noFill/>
            </a:ln>
          </p:spPr>
          <p:txBody>
            <a:bodyPr lIns="68580" tIns="34290" rIns="68580" bIns="34290"/>
            <a:lstStyle/>
            <a:p>
              <a:pPr eaLnBrk="1" fontAlgn="auto" hangingPunct="1">
                <a:spcBef>
                  <a:spcPts val="0"/>
                </a:spcBef>
                <a:spcAft>
                  <a:spcPts val="0"/>
                </a:spcAft>
                <a:defRPr/>
              </a:pPr>
              <a:endParaRPr lang="en-US" sz="1350">
                <a:latin typeface="+mn-lt"/>
              </a:endParaRPr>
            </a:p>
          </p:txBody>
        </p:sp>
        <p:sp>
          <p:nvSpPr>
            <p:cNvPr id="48" name="Freeform 25">
              <a:extLst>
                <a:ext uri="{FF2B5EF4-FFF2-40B4-BE49-F238E27FC236}">
                  <a16:creationId xmlns:a16="http://schemas.microsoft.com/office/drawing/2014/main" id="{42E1BEFF-A9D6-D433-CB1F-3C2E92AFAF90}"/>
                </a:ext>
              </a:extLst>
            </p:cNvPr>
            <p:cNvSpPr>
              <a:spLocks/>
            </p:cNvSpPr>
            <p:nvPr/>
          </p:nvSpPr>
          <p:spPr bwMode="auto">
            <a:xfrm>
              <a:off x="8983260" y="3286397"/>
              <a:ext cx="4462773" cy="727141"/>
            </a:xfrm>
            <a:custGeom>
              <a:avLst/>
              <a:gdLst>
                <a:gd name="connsiteX0" fmla="*/ 0 w 4462773"/>
                <a:gd name="connsiteY0" fmla="*/ 0 h 727141"/>
                <a:gd name="connsiteX1" fmla="*/ 4462773 w 4462773"/>
                <a:gd name="connsiteY1" fmla="*/ 0 h 727141"/>
                <a:gd name="connsiteX2" fmla="*/ 4462773 w 4462773"/>
                <a:gd name="connsiteY2" fmla="*/ 727141 h 727141"/>
                <a:gd name="connsiteX3" fmla="*/ 426733 w 4462773"/>
                <a:gd name="connsiteY3" fmla="*/ 727141 h 727141"/>
                <a:gd name="connsiteX4" fmla="*/ 416727 w 4462773"/>
                <a:gd name="connsiteY4" fmla="*/ 665563 h 727141"/>
                <a:gd name="connsiteX5" fmla="*/ 206023 w 4462773"/>
                <a:gd name="connsiteY5" fmla="*/ 333501 h 727141"/>
                <a:gd name="connsiteX6" fmla="*/ 16274 w 4462773"/>
                <a:gd name="connsiteY6" fmla="*/ 58690 h 727141"/>
                <a:gd name="connsiteX7" fmla="*/ 0 w 4462773"/>
                <a:gd name="connsiteY7" fmla="*/ 0 h 727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2773" h="727141">
                  <a:moveTo>
                    <a:pt x="0" y="0"/>
                  </a:moveTo>
                  <a:lnTo>
                    <a:pt x="4462773" y="0"/>
                  </a:lnTo>
                  <a:lnTo>
                    <a:pt x="4462773" y="727141"/>
                  </a:lnTo>
                  <a:lnTo>
                    <a:pt x="426733" y="727141"/>
                  </a:lnTo>
                  <a:lnTo>
                    <a:pt x="416727" y="665563"/>
                  </a:lnTo>
                  <a:cubicBezTo>
                    <a:pt x="361391" y="446317"/>
                    <a:pt x="278386" y="378201"/>
                    <a:pt x="206023" y="333501"/>
                  </a:cubicBezTo>
                  <a:cubicBezTo>
                    <a:pt x="142706" y="294388"/>
                    <a:pt x="64722" y="208013"/>
                    <a:pt x="16274" y="58690"/>
                  </a:cubicBezTo>
                  <a:lnTo>
                    <a:pt x="0" y="0"/>
                  </a:lnTo>
                  <a:close/>
                </a:path>
              </a:pathLst>
            </a:custGeom>
            <a:gradFill flip="none" rotWithShape="1">
              <a:gsLst>
                <a:gs pos="0">
                  <a:schemeClr val="accent3"/>
                </a:gs>
                <a:gs pos="41000">
                  <a:schemeClr val="accent3">
                    <a:lumMod val="60000"/>
                    <a:lumOff val="40000"/>
                  </a:schemeClr>
                </a:gs>
                <a:gs pos="83000">
                  <a:schemeClr val="accent3">
                    <a:lumMod val="40000"/>
                    <a:lumOff val="60000"/>
                  </a:schemeClr>
                </a:gs>
                <a:gs pos="100000">
                  <a:schemeClr val="accent3">
                    <a:lumMod val="20000"/>
                    <a:lumOff val="80000"/>
                  </a:schemeClr>
                </a:gs>
              </a:gsLst>
              <a:lin ang="0" scaled="1"/>
              <a:tileRect/>
            </a:gradFill>
            <a:ln>
              <a:noFill/>
            </a:ln>
          </p:spPr>
          <p:txBody>
            <a:bodyPr lIns="68580" tIns="34290" rIns="68580" bIns="34290"/>
            <a:lstStyle/>
            <a:p>
              <a:pPr eaLnBrk="1" fontAlgn="auto" hangingPunct="1">
                <a:spcBef>
                  <a:spcPts val="0"/>
                </a:spcBef>
                <a:spcAft>
                  <a:spcPts val="0"/>
                </a:spcAft>
                <a:defRPr/>
              </a:pPr>
              <a:endParaRPr lang="en-US" sz="1350">
                <a:latin typeface="+mn-lt"/>
              </a:endParaRPr>
            </a:p>
          </p:txBody>
        </p:sp>
        <p:sp>
          <p:nvSpPr>
            <p:cNvPr id="49" name="Freeform 26">
              <a:extLst>
                <a:ext uri="{FF2B5EF4-FFF2-40B4-BE49-F238E27FC236}">
                  <a16:creationId xmlns:a16="http://schemas.microsoft.com/office/drawing/2014/main" id="{50044063-2377-6B12-C099-2D33899FB682}"/>
                </a:ext>
              </a:extLst>
            </p:cNvPr>
            <p:cNvSpPr>
              <a:spLocks/>
            </p:cNvSpPr>
            <p:nvPr/>
          </p:nvSpPr>
          <p:spPr bwMode="auto">
            <a:xfrm>
              <a:off x="10167877" y="5467819"/>
              <a:ext cx="3278156" cy="727142"/>
            </a:xfrm>
            <a:custGeom>
              <a:avLst/>
              <a:gdLst>
                <a:gd name="connsiteX0" fmla="*/ 0 w 3278156"/>
                <a:gd name="connsiteY0" fmla="*/ 0 h 727142"/>
                <a:gd name="connsiteX1" fmla="*/ 3278156 w 3278156"/>
                <a:gd name="connsiteY1" fmla="*/ 0 h 727142"/>
                <a:gd name="connsiteX2" fmla="*/ 3278156 w 3278156"/>
                <a:gd name="connsiteY2" fmla="*/ 727142 h 727142"/>
                <a:gd name="connsiteX3" fmla="*/ 0 w 3278156"/>
                <a:gd name="connsiteY3" fmla="*/ 727142 h 727142"/>
                <a:gd name="connsiteX4" fmla="*/ 0 w 3278156"/>
                <a:gd name="connsiteY4" fmla="*/ 0 h 727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8156" h="727142">
                  <a:moveTo>
                    <a:pt x="0" y="0"/>
                  </a:moveTo>
                  <a:lnTo>
                    <a:pt x="3278156" y="0"/>
                  </a:lnTo>
                  <a:lnTo>
                    <a:pt x="3278156" y="727142"/>
                  </a:lnTo>
                  <a:lnTo>
                    <a:pt x="0" y="727142"/>
                  </a:lnTo>
                  <a:lnTo>
                    <a:pt x="0" y="0"/>
                  </a:lnTo>
                  <a:close/>
                </a:path>
              </a:pathLst>
            </a:custGeom>
            <a:solidFill>
              <a:schemeClr val="accent6"/>
            </a:solidFill>
            <a:ln>
              <a:noFill/>
            </a:ln>
          </p:spPr>
          <p:txBody>
            <a:bodyPr lIns="68580" tIns="34290" rIns="68580" bIns="34290"/>
            <a:lstStyle/>
            <a:p>
              <a:pPr eaLnBrk="1" fontAlgn="auto" hangingPunct="1">
                <a:spcBef>
                  <a:spcPts val="0"/>
                </a:spcBef>
                <a:spcAft>
                  <a:spcPts val="0"/>
                </a:spcAft>
                <a:defRPr/>
              </a:pPr>
              <a:endParaRPr lang="en-US" sz="1350">
                <a:latin typeface="+mn-lt"/>
              </a:endParaRPr>
            </a:p>
          </p:txBody>
        </p:sp>
        <p:sp>
          <p:nvSpPr>
            <p:cNvPr id="50" name="Freeform 27">
              <a:extLst>
                <a:ext uri="{FF2B5EF4-FFF2-40B4-BE49-F238E27FC236}">
                  <a16:creationId xmlns:a16="http://schemas.microsoft.com/office/drawing/2014/main" id="{60C13275-9003-7D1B-F0BC-3A9843930C94}"/>
                </a:ext>
              </a:extLst>
            </p:cNvPr>
            <p:cNvSpPr>
              <a:spLocks/>
            </p:cNvSpPr>
            <p:nvPr/>
          </p:nvSpPr>
          <p:spPr bwMode="auto">
            <a:xfrm>
              <a:off x="9593681" y="4740681"/>
              <a:ext cx="3852352" cy="727139"/>
            </a:xfrm>
            <a:custGeom>
              <a:avLst/>
              <a:gdLst>
                <a:gd name="connsiteX0" fmla="*/ 0 w 3852352"/>
                <a:gd name="connsiteY0" fmla="*/ 0 h 727139"/>
                <a:gd name="connsiteX1" fmla="*/ 3852352 w 3852352"/>
                <a:gd name="connsiteY1" fmla="*/ 0 h 727139"/>
                <a:gd name="connsiteX2" fmla="*/ 3852352 w 3852352"/>
                <a:gd name="connsiteY2" fmla="*/ 727139 h 727139"/>
                <a:gd name="connsiteX3" fmla="*/ 574196 w 3852352"/>
                <a:gd name="connsiteY3" fmla="*/ 727139 h 727139"/>
                <a:gd name="connsiteX4" fmla="*/ 574196 w 3852352"/>
                <a:gd name="connsiteY4" fmla="*/ 672169 h 727139"/>
                <a:gd name="connsiteX5" fmla="*/ 562128 w 3852352"/>
                <a:gd name="connsiteY5" fmla="*/ 658467 h 727139"/>
                <a:gd name="connsiteX6" fmla="*/ 425649 w 3852352"/>
                <a:gd name="connsiteY6" fmla="*/ 477801 h 727139"/>
                <a:gd name="connsiteX7" fmla="*/ 48935 w 3852352"/>
                <a:gd name="connsiteY7" fmla="*/ 122324 h 727139"/>
                <a:gd name="connsiteX8" fmla="*/ 21267 w 3852352"/>
                <a:gd name="connsiteY8" fmla="*/ 58466 h 727139"/>
                <a:gd name="connsiteX9" fmla="*/ 12114 w 3852352"/>
                <a:gd name="connsiteY9" fmla="*/ 28071 h 727139"/>
                <a:gd name="connsiteX10" fmla="*/ 0 w 3852352"/>
                <a:gd name="connsiteY10" fmla="*/ 0 h 72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52352" h="727139">
                  <a:moveTo>
                    <a:pt x="0" y="0"/>
                  </a:moveTo>
                  <a:lnTo>
                    <a:pt x="3852352" y="0"/>
                  </a:lnTo>
                  <a:lnTo>
                    <a:pt x="3852352" y="727139"/>
                  </a:lnTo>
                  <a:lnTo>
                    <a:pt x="574196" y="727139"/>
                  </a:lnTo>
                  <a:lnTo>
                    <a:pt x="574196" y="672169"/>
                  </a:lnTo>
                  <a:lnTo>
                    <a:pt x="562128" y="658467"/>
                  </a:lnTo>
                  <a:cubicBezTo>
                    <a:pt x="514507" y="603389"/>
                    <a:pt x="458638" y="534209"/>
                    <a:pt x="425649" y="477801"/>
                  </a:cubicBezTo>
                  <a:cubicBezTo>
                    <a:pt x="359671" y="364985"/>
                    <a:pt x="223458" y="201082"/>
                    <a:pt x="48935" y="122324"/>
                  </a:cubicBezTo>
                  <a:cubicBezTo>
                    <a:pt x="48935" y="122324"/>
                    <a:pt x="27652" y="109552"/>
                    <a:pt x="21267" y="58466"/>
                  </a:cubicBezTo>
                  <a:cubicBezTo>
                    <a:pt x="20469" y="52080"/>
                    <a:pt x="17310" y="41670"/>
                    <a:pt x="12114" y="28071"/>
                  </a:cubicBezTo>
                  <a:lnTo>
                    <a:pt x="0" y="0"/>
                  </a:lnTo>
                  <a:close/>
                </a:path>
              </a:pathLst>
            </a:custGeom>
            <a:gradFill flip="none" rotWithShape="1">
              <a:gsLst>
                <a:gs pos="0">
                  <a:schemeClr val="accent5"/>
                </a:gs>
                <a:gs pos="41000">
                  <a:schemeClr val="accent5">
                    <a:lumMod val="60000"/>
                    <a:lumOff val="40000"/>
                  </a:schemeClr>
                </a:gs>
                <a:gs pos="83000">
                  <a:schemeClr val="accent5">
                    <a:lumMod val="40000"/>
                    <a:lumOff val="60000"/>
                  </a:schemeClr>
                </a:gs>
                <a:gs pos="100000">
                  <a:schemeClr val="accent5">
                    <a:lumMod val="20000"/>
                    <a:lumOff val="80000"/>
                  </a:schemeClr>
                </a:gs>
              </a:gsLst>
              <a:lin ang="0" scaled="1"/>
              <a:tileRect/>
            </a:gradFill>
            <a:ln>
              <a:noFill/>
            </a:ln>
          </p:spPr>
          <p:txBody>
            <a:bodyPr lIns="68580" tIns="34290" rIns="68580" bIns="34290"/>
            <a:lstStyle/>
            <a:p>
              <a:pPr eaLnBrk="1" fontAlgn="auto" hangingPunct="1">
                <a:spcBef>
                  <a:spcPts val="0"/>
                </a:spcBef>
                <a:spcAft>
                  <a:spcPts val="0"/>
                </a:spcAft>
                <a:defRPr/>
              </a:pPr>
              <a:endParaRPr lang="en-US" sz="1350">
                <a:latin typeface="+mn-lt"/>
              </a:endParaRPr>
            </a:p>
          </p:txBody>
        </p:sp>
        <p:sp>
          <p:nvSpPr>
            <p:cNvPr id="51" name="Freeform 28">
              <a:extLst>
                <a:ext uri="{FF2B5EF4-FFF2-40B4-BE49-F238E27FC236}">
                  <a16:creationId xmlns:a16="http://schemas.microsoft.com/office/drawing/2014/main" id="{E1195238-8179-078C-D9EC-4CEA03E707BD}"/>
                </a:ext>
              </a:extLst>
            </p:cNvPr>
            <p:cNvSpPr>
              <a:spLocks/>
            </p:cNvSpPr>
            <p:nvPr/>
          </p:nvSpPr>
          <p:spPr bwMode="auto">
            <a:xfrm>
              <a:off x="10167877" y="6194962"/>
              <a:ext cx="3278156" cy="4879"/>
            </a:xfrm>
            <a:custGeom>
              <a:avLst/>
              <a:gdLst>
                <a:gd name="connsiteX0" fmla="*/ 0 w 3278156"/>
                <a:gd name="connsiteY0" fmla="*/ 0 h 4879"/>
                <a:gd name="connsiteX1" fmla="*/ 3278156 w 3278156"/>
                <a:gd name="connsiteY1" fmla="*/ 0 h 4879"/>
                <a:gd name="connsiteX2" fmla="*/ 3278156 w 3278156"/>
                <a:gd name="connsiteY2" fmla="*/ 5 h 4879"/>
                <a:gd name="connsiteX3" fmla="*/ 3278156 w 3278156"/>
                <a:gd name="connsiteY3" fmla="*/ 4879 h 4879"/>
                <a:gd name="connsiteX4" fmla="*/ 106250 w 3278156"/>
                <a:gd name="connsiteY4" fmla="*/ 4879 h 4879"/>
                <a:gd name="connsiteX5" fmla="*/ 106250 w 3278156"/>
                <a:gd name="connsiteY5" fmla="*/ 4339 h 4879"/>
                <a:gd name="connsiteX6" fmla="*/ 0 w 3278156"/>
                <a:gd name="connsiteY6" fmla="*/ 4339 h 4879"/>
                <a:gd name="connsiteX7" fmla="*/ 0 w 3278156"/>
                <a:gd name="connsiteY7" fmla="*/ 0 h 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8156" h="4879">
                  <a:moveTo>
                    <a:pt x="0" y="0"/>
                  </a:moveTo>
                  <a:lnTo>
                    <a:pt x="3278156" y="0"/>
                  </a:lnTo>
                  <a:lnTo>
                    <a:pt x="3278156" y="5"/>
                  </a:lnTo>
                  <a:lnTo>
                    <a:pt x="3278156" y="4879"/>
                  </a:lnTo>
                  <a:lnTo>
                    <a:pt x="106250" y="4879"/>
                  </a:lnTo>
                  <a:lnTo>
                    <a:pt x="106250" y="4339"/>
                  </a:lnTo>
                  <a:lnTo>
                    <a:pt x="0" y="4339"/>
                  </a:lnTo>
                  <a:lnTo>
                    <a:pt x="0" y="0"/>
                  </a:lnTo>
                  <a:close/>
                </a:path>
              </a:pathLst>
            </a:custGeom>
            <a:solidFill>
              <a:schemeClr val="tx2"/>
            </a:solidFill>
            <a:ln>
              <a:noFill/>
            </a:ln>
          </p:spPr>
          <p:txBody>
            <a:bodyPr lIns="68580" tIns="34290" rIns="68580" bIns="34290"/>
            <a:lstStyle/>
            <a:p>
              <a:pPr eaLnBrk="1" fontAlgn="auto" hangingPunct="1">
                <a:spcBef>
                  <a:spcPts val="0"/>
                </a:spcBef>
                <a:spcAft>
                  <a:spcPts val="0"/>
                </a:spcAft>
                <a:defRPr/>
              </a:pPr>
              <a:endParaRPr lang="en-US" sz="1350">
                <a:latin typeface="+mn-lt"/>
              </a:endParaRPr>
            </a:p>
          </p:txBody>
        </p:sp>
        <p:sp>
          <p:nvSpPr>
            <p:cNvPr id="52" name="Freeform 29">
              <a:extLst>
                <a:ext uri="{FF2B5EF4-FFF2-40B4-BE49-F238E27FC236}">
                  <a16:creationId xmlns:a16="http://schemas.microsoft.com/office/drawing/2014/main" id="{0810DBFB-B684-6E7D-BD3D-0884DEBED80F}"/>
                </a:ext>
              </a:extLst>
            </p:cNvPr>
            <p:cNvSpPr>
              <a:spLocks/>
            </p:cNvSpPr>
            <p:nvPr/>
          </p:nvSpPr>
          <p:spPr bwMode="auto">
            <a:xfrm>
              <a:off x="8125822" y="5963555"/>
              <a:ext cx="524062" cy="176511"/>
            </a:xfrm>
            <a:custGeom>
              <a:avLst/>
              <a:gdLst>
                <a:gd name="connsiteX0" fmla="*/ 78469 w 524062"/>
                <a:gd name="connsiteY0" fmla="*/ 0 h 176511"/>
                <a:gd name="connsiteX1" fmla="*/ 524062 w 524062"/>
                <a:gd name="connsiteY1" fmla="*/ 0 h 176511"/>
                <a:gd name="connsiteX2" fmla="*/ 499455 w 524062"/>
                <a:gd name="connsiteY2" fmla="*/ 14839 h 176511"/>
                <a:gd name="connsiteX3" fmla="*/ 3556 w 524062"/>
                <a:gd name="connsiteY3" fmla="*/ 146812 h 176511"/>
                <a:gd name="connsiteX4" fmla="*/ 49048 w 524062"/>
                <a:gd name="connsiteY4" fmla="*/ 18098 h 176511"/>
                <a:gd name="connsiteX5" fmla="*/ 78469 w 524062"/>
                <a:gd name="connsiteY5" fmla="*/ 0 h 176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4062" h="176511">
                  <a:moveTo>
                    <a:pt x="78469" y="0"/>
                  </a:moveTo>
                  <a:lnTo>
                    <a:pt x="524062" y="0"/>
                  </a:lnTo>
                  <a:lnTo>
                    <a:pt x="499455" y="14839"/>
                  </a:lnTo>
                  <a:cubicBezTo>
                    <a:pt x="275981" y="153198"/>
                    <a:pt x="20582" y="219185"/>
                    <a:pt x="3556" y="146812"/>
                  </a:cubicBezTo>
                  <a:cubicBezTo>
                    <a:pt x="-7618" y="92533"/>
                    <a:pt x="7546" y="51425"/>
                    <a:pt x="49048" y="18098"/>
                  </a:cubicBezTo>
                  <a:lnTo>
                    <a:pt x="78469" y="0"/>
                  </a:lnTo>
                  <a:close/>
                </a:path>
              </a:pathLst>
            </a:custGeom>
            <a:solidFill>
              <a:schemeClr val="tx2"/>
            </a:solidFill>
            <a:ln>
              <a:noFill/>
            </a:ln>
          </p:spPr>
          <p:txBody>
            <a:bodyPr lIns="68580" tIns="34290" rIns="68580" bIns="34290"/>
            <a:lstStyle/>
            <a:p>
              <a:pPr eaLnBrk="1" fontAlgn="auto" hangingPunct="1">
                <a:spcBef>
                  <a:spcPts val="0"/>
                </a:spcBef>
                <a:spcAft>
                  <a:spcPts val="0"/>
                </a:spcAft>
                <a:defRPr/>
              </a:pPr>
              <a:endParaRPr lang="en-US" sz="1350">
                <a:latin typeface="+mn-lt"/>
              </a:endParaRPr>
            </a:p>
          </p:txBody>
        </p:sp>
        <p:sp>
          <p:nvSpPr>
            <p:cNvPr id="53" name="Freeform 30">
              <a:extLst>
                <a:ext uri="{FF2B5EF4-FFF2-40B4-BE49-F238E27FC236}">
                  <a16:creationId xmlns:a16="http://schemas.microsoft.com/office/drawing/2014/main" id="{D040883F-4614-8AEF-49F7-98518115A516}"/>
                </a:ext>
              </a:extLst>
            </p:cNvPr>
            <p:cNvSpPr>
              <a:spLocks/>
            </p:cNvSpPr>
            <p:nvPr/>
          </p:nvSpPr>
          <p:spPr bwMode="auto">
            <a:xfrm>
              <a:off x="10076515" y="5963554"/>
              <a:ext cx="197612" cy="231412"/>
            </a:xfrm>
            <a:custGeom>
              <a:avLst/>
              <a:gdLst>
                <a:gd name="connsiteX0" fmla="*/ 72522 w 197612"/>
                <a:gd name="connsiteY0" fmla="*/ 0 h 231412"/>
                <a:gd name="connsiteX1" fmla="*/ 197612 w 197612"/>
                <a:gd name="connsiteY1" fmla="*/ 0 h 231412"/>
                <a:gd name="connsiteX2" fmla="*/ 197612 w 197612"/>
                <a:gd name="connsiteY2" fmla="*/ 170535 h 231412"/>
                <a:gd name="connsiteX3" fmla="*/ 163229 w 197612"/>
                <a:gd name="connsiteY3" fmla="*/ 198863 h 231412"/>
                <a:gd name="connsiteX4" fmla="*/ 8793 w 197612"/>
                <a:gd name="connsiteY4" fmla="*/ 202156 h 231412"/>
                <a:gd name="connsiteX5" fmla="*/ 59873 w 197612"/>
                <a:gd name="connsiteY5" fmla="*/ 91468 h 231412"/>
                <a:gd name="connsiteX6" fmla="*/ 69716 w 197612"/>
                <a:gd name="connsiteY6" fmla="*/ 41911 h 231412"/>
                <a:gd name="connsiteX7" fmla="*/ 72522 w 197612"/>
                <a:gd name="connsiteY7" fmla="*/ 0 h 23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7612" h="231412">
                  <a:moveTo>
                    <a:pt x="72522" y="0"/>
                  </a:moveTo>
                  <a:lnTo>
                    <a:pt x="197612" y="0"/>
                  </a:lnTo>
                  <a:lnTo>
                    <a:pt x="197612" y="170535"/>
                  </a:lnTo>
                  <a:lnTo>
                    <a:pt x="163229" y="198863"/>
                  </a:lnTo>
                  <a:cubicBezTo>
                    <a:pt x="94990" y="246058"/>
                    <a:pt x="32736" y="237278"/>
                    <a:pt x="8793" y="202156"/>
                  </a:cubicBezTo>
                  <a:cubicBezTo>
                    <a:pt x="-23132" y="153198"/>
                    <a:pt x="40717" y="127655"/>
                    <a:pt x="59873" y="91468"/>
                  </a:cubicBezTo>
                  <a:cubicBezTo>
                    <a:pt x="64129" y="81889"/>
                    <a:pt x="67322" y="64062"/>
                    <a:pt x="69716" y="41911"/>
                  </a:cubicBezTo>
                  <a:lnTo>
                    <a:pt x="72522" y="0"/>
                  </a:lnTo>
                  <a:close/>
                </a:path>
              </a:pathLst>
            </a:custGeom>
            <a:solidFill>
              <a:schemeClr val="accent6"/>
            </a:solidFill>
            <a:ln>
              <a:noFill/>
            </a:ln>
          </p:spPr>
          <p:txBody>
            <a:bodyPr lIns="68580" tIns="34290" rIns="68580" bIns="34290"/>
            <a:lstStyle/>
            <a:p>
              <a:pPr eaLnBrk="1" fontAlgn="auto" hangingPunct="1">
                <a:spcBef>
                  <a:spcPts val="0"/>
                </a:spcBef>
                <a:spcAft>
                  <a:spcPts val="0"/>
                </a:spcAft>
                <a:defRPr/>
              </a:pPr>
              <a:endParaRPr lang="en-US" sz="1350">
                <a:latin typeface="+mn-lt"/>
              </a:endParaRPr>
            </a:p>
          </p:txBody>
        </p:sp>
        <p:sp>
          <p:nvSpPr>
            <p:cNvPr id="54" name="Freeform 31">
              <a:extLst>
                <a:ext uri="{FF2B5EF4-FFF2-40B4-BE49-F238E27FC236}">
                  <a16:creationId xmlns:a16="http://schemas.microsoft.com/office/drawing/2014/main" id="{FA37CAEA-D00F-361C-0E8E-A1778CCEFA10}"/>
                </a:ext>
              </a:extLst>
            </p:cNvPr>
            <p:cNvSpPr>
              <a:spLocks/>
            </p:cNvSpPr>
            <p:nvPr/>
          </p:nvSpPr>
          <p:spPr bwMode="auto">
            <a:xfrm>
              <a:off x="6625864" y="2559253"/>
              <a:ext cx="3814661" cy="727143"/>
            </a:xfrm>
            <a:custGeom>
              <a:avLst/>
              <a:gdLst>
                <a:gd name="connsiteX0" fmla="*/ 208840 w 3814661"/>
                <a:gd name="connsiteY0" fmla="*/ 128372 h 727143"/>
                <a:gd name="connsiteX1" fmla="*/ 307395 w 3814661"/>
                <a:gd name="connsiteY1" fmla="*/ 247516 h 727143"/>
                <a:gd name="connsiteX2" fmla="*/ 343577 w 3814661"/>
                <a:gd name="connsiteY2" fmla="*/ 471020 h 727143"/>
                <a:gd name="connsiteX3" fmla="*/ 499107 w 3814661"/>
                <a:gd name="connsiteY3" fmla="*/ 717746 h 727143"/>
                <a:gd name="connsiteX4" fmla="*/ 508283 w 3814661"/>
                <a:gd name="connsiteY4" fmla="*/ 727143 h 727143"/>
                <a:gd name="connsiteX5" fmla="*/ 271015 w 3814661"/>
                <a:gd name="connsiteY5" fmla="*/ 727143 h 727143"/>
                <a:gd name="connsiteX6" fmla="*/ 270981 w 3814661"/>
                <a:gd name="connsiteY6" fmla="*/ 727084 h 727143"/>
                <a:gd name="connsiteX7" fmla="*/ 209492 w 3814661"/>
                <a:gd name="connsiteY7" fmla="*/ 617894 h 727143"/>
                <a:gd name="connsiteX8" fmla="*/ 62638 w 3814661"/>
                <a:gd name="connsiteY8" fmla="*/ 471020 h 727143"/>
                <a:gd name="connsiteX9" fmla="*/ 3045 w 3814661"/>
                <a:gd name="connsiteY9" fmla="*/ 345432 h 727143"/>
                <a:gd name="connsiteX10" fmla="*/ 58381 w 3814661"/>
                <a:gd name="connsiteY10" fmla="*/ 258159 h 727143"/>
                <a:gd name="connsiteX11" fmla="*/ 130744 w 3814661"/>
                <a:gd name="connsiteY11" fmla="*/ 192172 h 727143"/>
                <a:gd name="connsiteX12" fmla="*/ 171182 w 3814661"/>
                <a:gd name="connsiteY12" fmla="*/ 151729 h 727143"/>
                <a:gd name="connsiteX13" fmla="*/ 192466 w 3814661"/>
                <a:gd name="connsiteY13" fmla="*/ 134700 h 727143"/>
                <a:gd name="connsiteX14" fmla="*/ 208840 w 3814661"/>
                <a:gd name="connsiteY14" fmla="*/ 128372 h 727143"/>
                <a:gd name="connsiteX15" fmla="*/ 3272174 w 3814661"/>
                <a:gd name="connsiteY15" fmla="*/ 0 h 727143"/>
                <a:gd name="connsiteX16" fmla="*/ 3781283 w 3814661"/>
                <a:gd name="connsiteY16" fmla="*/ 0 h 727143"/>
                <a:gd name="connsiteX17" fmla="*/ 3784845 w 3814661"/>
                <a:gd name="connsiteY17" fmla="*/ 3424 h 727143"/>
                <a:gd name="connsiteX18" fmla="*/ 3799976 w 3814661"/>
                <a:gd name="connsiteY18" fmla="*/ 45297 h 727143"/>
                <a:gd name="connsiteX19" fmla="*/ 3776564 w 3814661"/>
                <a:gd name="connsiteY19" fmla="*/ 307116 h 727143"/>
                <a:gd name="connsiteX20" fmla="*/ 3638223 w 3814661"/>
                <a:gd name="connsiteY20" fmla="*/ 300730 h 727143"/>
                <a:gd name="connsiteX21" fmla="*/ 3521165 w 3814661"/>
                <a:gd name="connsiteY21" fmla="*/ 253901 h 727143"/>
                <a:gd name="connsiteX22" fmla="*/ 3329616 w 3814661"/>
                <a:gd name="connsiteY22" fmla="*/ 43169 h 727143"/>
                <a:gd name="connsiteX23" fmla="*/ 3285287 w 3814661"/>
                <a:gd name="connsiteY23" fmla="*/ 6816 h 727143"/>
                <a:gd name="connsiteX24" fmla="*/ 773176 w 3814661"/>
                <a:gd name="connsiteY24" fmla="*/ 0 h 727143"/>
                <a:gd name="connsiteX25" fmla="*/ 2172306 w 3814661"/>
                <a:gd name="connsiteY25" fmla="*/ 0 h 727143"/>
                <a:gd name="connsiteX26" fmla="*/ 2159686 w 3814661"/>
                <a:gd name="connsiteY26" fmla="*/ 3478 h 727143"/>
                <a:gd name="connsiteX27" fmla="*/ 2076033 w 3814661"/>
                <a:gd name="connsiteY27" fmla="*/ 19754 h 727143"/>
                <a:gd name="connsiteX28" fmla="*/ 2063263 w 3814661"/>
                <a:gd name="connsiteY28" fmla="*/ 92127 h 727143"/>
                <a:gd name="connsiteX29" fmla="*/ 2354843 w 3814661"/>
                <a:gd name="connsiteY29" fmla="*/ 717937 h 727143"/>
                <a:gd name="connsiteX30" fmla="*/ 2357396 w 3814661"/>
                <a:gd name="connsiteY30" fmla="*/ 727142 h 727143"/>
                <a:gd name="connsiteX31" fmla="*/ 1252707 w 3814661"/>
                <a:gd name="connsiteY31" fmla="*/ 727142 h 727143"/>
                <a:gd name="connsiteX32" fmla="*/ 1246419 w 3814661"/>
                <a:gd name="connsiteY32" fmla="*/ 721812 h 727143"/>
                <a:gd name="connsiteX33" fmla="*/ 1139570 w 3814661"/>
                <a:gd name="connsiteY33" fmla="*/ 630664 h 727143"/>
                <a:gd name="connsiteX34" fmla="*/ 1124672 w 3814661"/>
                <a:gd name="connsiteY34" fmla="*/ 645564 h 727143"/>
                <a:gd name="connsiteX35" fmla="*/ 1071962 w 3814661"/>
                <a:gd name="connsiteY35" fmla="*/ 714977 h 727143"/>
                <a:gd name="connsiteX36" fmla="*/ 1062065 w 3814661"/>
                <a:gd name="connsiteY36" fmla="*/ 727142 h 727143"/>
                <a:gd name="connsiteX37" fmla="*/ 676901 w 3814661"/>
                <a:gd name="connsiteY37" fmla="*/ 727142 h 727143"/>
                <a:gd name="connsiteX38" fmla="*/ 686769 w 3814661"/>
                <a:gd name="connsiteY38" fmla="*/ 711950 h 727143"/>
                <a:gd name="connsiteX39" fmla="*/ 796910 w 3814661"/>
                <a:gd name="connsiteY39" fmla="*/ 602992 h 727143"/>
                <a:gd name="connsiteX40" fmla="*/ 903326 w 3814661"/>
                <a:gd name="connsiteY40" fmla="*/ 422061 h 727143"/>
                <a:gd name="connsiteX41" fmla="*/ 919226 w 3814661"/>
                <a:gd name="connsiteY41" fmla="*/ 374508 h 727143"/>
                <a:gd name="connsiteX42" fmla="*/ 940070 w 3814661"/>
                <a:gd name="connsiteY42" fmla="*/ 335775 h 727143"/>
                <a:gd name="connsiteX43" fmla="*/ 943930 w 3814661"/>
                <a:gd name="connsiteY43" fmla="*/ 328602 h 727143"/>
                <a:gd name="connsiteX44" fmla="*/ 1088490 w 3814661"/>
                <a:gd name="connsiteY44" fmla="*/ 168757 h 727143"/>
                <a:gd name="connsiteX45" fmla="*/ 1013999 w 3814661"/>
                <a:gd name="connsiteY45" fmla="*/ 81484 h 727143"/>
                <a:gd name="connsiteX46" fmla="*/ 950947 w 3814661"/>
                <a:gd name="connsiteY46" fmla="*/ 73236 h 727143"/>
                <a:gd name="connsiteX47" fmla="*/ 940071 w 3814661"/>
                <a:gd name="connsiteY47" fmla="*/ 76776 h 727143"/>
                <a:gd name="connsiteX48" fmla="*/ 940071 w 3814661"/>
                <a:gd name="connsiteY48" fmla="*/ 76777 h 727143"/>
                <a:gd name="connsiteX49" fmla="*/ 917328 w 3814661"/>
                <a:gd name="connsiteY49" fmla="*/ 84179 h 727143"/>
                <a:gd name="connsiteX50" fmla="*/ 879916 w 3814661"/>
                <a:gd name="connsiteY50" fmla="*/ 92128 h 727143"/>
                <a:gd name="connsiteX51" fmla="*/ 805424 w 3814661"/>
                <a:gd name="connsiteY51" fmla="*/ 43170 h 727143"/>
                <a:gd name="connsiteX52" fmla="*/ 773499 w 3814661"/>
                <a:gd name="connsiteY52" fmla="*/ 598 h 727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814661" h="727143">
                  <a:moveTo>
                    <a:pt x="208840" y="128372"/>
                  </a:moveTo>
                  <a:cubicBezTo>
                    <a:pt x="244544" y="125986"/>
                    <a:pt x="264563" y="204678"/>
                    <a:pt x="307395" y="247516"/>
                  </a:cubicBezTo>
                  <a:cubicBezTo>
                    <a:pt x="356347" y="296474"/>
                    <a:pt x="345705" y="443348"/>
                    <a:pt x="343577" y="471020"/>
                  </a:cubicBezTo>
                  <a:cubicBezTo>
                    <a:pt x="341714" y="493370"/>
                    <a:pt x="453917" y="664024"/>
                    <a:pt x="499107" y="717746"/>
                  </a:cubicBezTo>
                  <a:lnTo>
                    <a:pt x="508283" y="727143"/>
                  </a:lnTo>
                  <a:lnTo>
                    <a:pt x="271015" y="727143"/>
                  </a:lnTo>
                  <a:lnTo>
                    <a:pt x="270981" y="727084"/>
                  </a:lnTo>
                  <a:cubicBezTo>
                    <a:pt x="243812" y="679224"/>
                    <a:pt x="221730" y="639712"/>
                    <a:pt x="209492" y="617894"/>
                  </a:cubicBezTo>
                  <a:cubicBezTo>
                    <a:pt x="158413" y="528492"/>
                    <a:pt x="147771" y="543392"/>
                    <a:pt x="62638" y="471020"/>
                  </a:cubicBezTo>
                  <a:cubicBezTo>
                    <a:pt x="-20367" y="396518"/>
                    <a:pt x="3045" y="366718"/>
                    <a:pt x="3045" y="345432"/>
                  </a:cubicBezTo>
                  <a:cubicBezTo>
                    <a:pt x="3045" y="324146"/>
                    <a:pt x="43483" y="273059"/>
                    <a:pt x="58381" y="258159"/>
                  </a:cubicBezTo>
                  <a:cubicBezTo>
                    <a:pt x="75408" y="243259"/>
                    <a:pt x="120103" y="209201"/>
                    <a:pt x="130744" y="192172"/>
                  </a:cubicBezTo>
                  <a:cubicBezTo>
                    <a:pt x="141386" y="175143"/>
                    <a:pt x="158413" y="158115"/>
                    <a:pt x="171182" y="151729"/>
                  </a:cubicBezTo>
                  <a:cubicBezTo>
                    <a:pt x="183952" y="145343"/>
                    <a:pt x="192466" y="134700"/>
                    <a:pt x="192466" y="134700"/>
                  </a:cubicBezTo>
                  <a:cubicBezTo>
                    <a:pt x="198319" y="130709"/>
                    <a:pt x="203740" y="128713"/>
                    <a:pt x="208840" y="128372"/>
                  </a:cubicBezTo>
                  <a:close/>
                  <a:moveTo>
                    <a:pt x="3272174" y="0"/>
                  </a:moveTo>
                  <a:lnTo>
                    <a:pt x="3781283" y="0"/>
                  </a:lnTo>
                  <a:lnTo>
                    <a:pt x="3784845" y="3424"/>
                  </a:lnTo>
                  <a:cubicBezTo>
                    <a:pt x="3792394" y="15098"/>
                    <a:pt x="3797316" y="28801"/>
                    <a:pt x="3799976" y="45297"/>
                  </a:cubicBezTo>
                  <a:cubicBezTo>
                    <a:pt x="3808489" y="111284"/>
                    <a:pt x="3838286" y="243258"/>
                    <a:pt x="3776564" y="307116"/>
                  </a:cubicBezTo>
                  <a:cubicBezTo>
                    <a:pt x="3716971" y="370974"/>
                    <a:pt x="3682918" y="315630"/>
                    <a:pt x="3638223" y="300730"/>
                  </a:cubicBezTo>
                  <a:cubicBezTo>
                    <a:pt x="3595656" y="285830"/>
                    <a:pt x="3565860" y="256029"/>
                    <a:pt x="3521165" y="253901"/>
                  </a:cubicBezTo>
                  <a:cubicBezTo>
                    <a:pt x="3478598" y="249644"/>
                    <a:pt x="3382824" y="96384"/>
                    <a:pt x="3329616" y="43169"/>
                  </a:cubicBezTo>
                  <a:cubicBezTo>
                    <a:pt x="3316314" y="29333"/>
                    <a:pt x="3301815" y="17493"/>
                    <a:pt x="3285287" y="6816"/>
                  </a:cubicBezTo>
                  <a:close/>
                  <a:moveTo>
                    <a:pt x="773176" y="0"/>
                  </a:moveTo>
                  <a:lnTo>
                    <a:pt x="2172306" y="0"/>
                  </a:lnTo>
                  <a:lnTo>
                    <a:pt x="2159686" y="3478"/>
                  </a:lnTo>
                  <a:cubicBezTo>
                    <a:pt x="2116538" y="14366"/>
                    <a:pt x="2084014" y="19754"/>
                    <a:pt x="2076033" y="19754"/>
                  </a:cubicBezTo>
                  <a:cubicBezTo>
                    <a:pt x="2052621" y="19754"/>
                    <a:pt x="2039851" y="38912"/>
                    <a:pt x="2063263" y="92127"/>
                  </a:cubicBezTo>
                  <a:cubicBezTo>
                    <a:pt x="2084546" y="145342"/>
                    <a:pt x="2312277" y="524234"/>
                    <a:pt x="2354843" y="717937"/>
                  </a:cubicBezTo>
                  <a:lnTo>
                    <a:pt x="2357396" y="727142"/>
                  </a:lnTo>
                  <a:lnTo>
                    <a:pt x="1252707" y="727142"/>
                  </a:lnTo>
                  <a:lnTo>
                    <a:pt x="1246419" y="721812"/>
                  </a:lnTo>
                  <a:cubicBezTo>
                    <a:pt x="1185662" y="670176"/>
                    <a:pt x="1139570" y="630664"/>
                    <a:pt x="1139570" y="630664"/>
                  </a:cubicBezTo>
                  <a:cubicBezTo>
                    <a:pt x="1139570" y="630664"/>
                    <a:pt x="1139570" y="630664"/>
                    <a:pt x="1124672" y="645564"/>
                  </a:cubicBezTo>
                  <a:cubicBezTo>
                    <a:pt x="1124140" y="648757"/>
                    <a:pt x="1103655" y="675498"/>
                    <a:pt x="1071962" y="714977"/>
                  </a:cubicBezTo>
                  <a:lnTo>
                    <a:pt x="1062065" y="727142"/>
                  </a:lnTo>
                  <a:lnTo>
                    <a:pt x="676901" y="727142"/>
                  </a:lnTo>
                  <a:lnTo>
                    <a:pt x="686769" y="711950"/>
                  </a:lnTo>
                  <a:cubicBezTo>
                    <a:pt x="728272" y="652881"/>
                    <a:pt x="755407" y="642903"/>
                    <a:pt x="796910" y="602992"/>
                  </a:cubicBezTo>
                  <a:cubicBezTo>
                    <a:pt x="852246" y="547649"/>
                    <a:pt x="877786" y="549777"/>
                    <a:pt x="903326" y="422061"/>
                  </a:cubicBezTo>
                  <a:cubicBezTo>
                    <a:pt x="906785" y="406097"/>
                    <a:pt x="912272" y="390165"/>
                    <a:pt x="919226" y="374508"/>
                  </a:cubicBezTo>
                  <a:lnTo>
                    <a:pt x="940070" y="335775"/>
                  </a:lnTo>
                  <a:lnTo>
                    <a:pt x="943930" y="328602"/>
                  </a:lnTo>
                  <a:cubicBezTo>
                    <a:pt x="999899" y="239400"/>
                    <a:pt x="1088490" y="168757"/>
                    <a:pt x="1088490" y="168757"/>
                  </a:cubicBezTo>
                  <a:cubicBezTo>
                    <a:pt x="1088490" y="168757"/>
                    <a:pt x="1056565" y="113413"/>
                    <a:pt x="1013999" y="81484"/>
                  </a:cubicBezTo>
                  <a:cubicBezTo>
                    <a:pt x="992716" y="65520"/>
                    <a:pt x="972497" y="67116"/>
                    <a:pt x="950947" y="73236"/>
                  </a:cubicBezTo>
                  <a:lnTo>
                    <a:pt x="940071" y="76776"/>
                  </a:lnTo>
                  <a:lnTo>
                    <a:pt x="940071" y="76777"/>
                  </a:lnTo>
                  <a:lnTo>
                    <a:pt x="917328" y="84179"/>
                  </a:lnTo>
                  <a:cubicBezTo>
                    <a:pt x="905589" y="87871"/>
                    <a:pt x="893218" y="91064"/>
                    <a:pt x="879916" y="92128"/>
                  </a:cubicBezTo>
                  <a:cubicBezTo>
                    <a:pt x="824579" y="96385"/>
                    <a:pt x="811809" y="62327"/>
                    <a:pt x="805424" y="43170"/>
                  </a:cubicBezTo>
                  <a:cubicBezTo>
                    <a:pt x="799039" y="24012"/>
                    <a:pt x="786269" y="13369"/>
                    <a:pt x="773499" y="598"/>
                  </a:cubicBezTo>
                  <a:close/>
                </a:path>
              </a:pathLst>
            </a:custGeom>
            <a:solidFill>
              <a:schemeClr val="accent2">
                <a:lumMod val="75000"/>
              </a:schemeClr>
            </a:solidFill>
            <a:ln>
              <a:noFill/>
            </a:ln>
          </p:spPr>
          <p:txBody>
            <a:bodyPr lIns="68580" tIns="34290" rIns="68580" bIns="34290"/>
            <a:lstStyle/>
            <a:p>
              <a:pPr eaLnBrk="1" fontAlgn="auto" hangingPunct="1">
                <a:spcBef>
                  <a:spcPts val="0"/>
                </a:spcBef>
                <a:spcAft>
                  <a:spcPts val="0"/>
                </a:spcAft>
                <a:defRPr/>
              </a:pPr>
              <a:endParaRPr lang="en-US" sz="1350">
                <a:latin typeface="+mn-lt"/>
              </a:endParaRPr>
            </a:p>
          </p:txBody>
        </p:sp>
        <p:sp>
          <p:nvSpPr>
            <p:cNvPr id="55" name="Freeform 32">
              <a:extLst>
                <a:ext uri="{FF2B5EF4-FFF2-40B4-BE49-F238E27FC236}">
                  <a16:creationId xmlns:a16="http://schemas.microsoft.com/office/drawing/2014/main" id="{DB9EC95F-2940-697D-5940-206259F33359}"/>
                </a:ext>
              </a:extLst>
            </p:cNvPr>
            <p:cNvSpPr>
              <a:spLocks/>
            </p:cNvSpPr>
            <p:nvPr/>
          </p:nvSpPr>
          <p:spPr bwMode="auto">
            <a:xfrm>
              <a:off x="7297396" y="1832111"/>
              <a:ext cx="3109751" cy="727142"/>
            </a:xfrm>
            <a:custGeom>
              <a:avLst/>
              <a:gdLst>
                <a:gd name="connsiteX0" fmla="*/ 326667 w 3109751"/>
                <a:gd name="connsiteY0" fmla="*/ 0 h 727142"/>
                <a:gd name="connsiteX1" fmla="*/ 521246 w 3109751"/>
                <a:gd name="connsiteY1" fmla="*/ 65742 h 727142"/>
                <a:gd name="connsiteX2" fmla="*/ 640432 w 3109751"/>
                <a:gd name="connsiteY2" fmla="*/ 431862 h 727142"/>
                <a:gd name="connsiteX3" fmla="*/ 772388 w 3109751"/>
                <a:gd name="connsiteY3" fmla="*/ 589379 h 727142"/>
                <a:gd name="connsiteX4" fmla="*/ 893703 w 3109751"/>
                <a:gd name="connsiteY4" fmla="*/ 574479 h 727142"/>
                <a:gd name="connsiteX5" fmla="*/ 1044814 w 3109751"/>
                <a:gd name="connsiteY5" fmla="*/ 457406 h 727142"/>
                <a:gd name="connsiteX6" fmla="*/ 1323625 w 3109751"/>
                <a:gd name="connsiteY6" fmla="*/ 419091 h 727142"/>
                <a:gd name="connsiteX7" fmla="*/ 1425784 w 3109751"/>
                <a:gd name="connsiteY7" fmla="*/ 374390 h 727142"/>
                <a:gd name="connsiteX8" fmla="*/ 1800369 w 3109751"/>
                <a:gd name="connsiteY8" fmla="*/ 267960 h 727142"/>
                <a:gd name="connsiteX9" fmla="*/ 2147286 w 3109751"/>
                <a:gd name="connsiteY9" fmla="*/ 289246 h 727142"/>
                <a:gd name="connsiteX10" fmla="*/ 2690009 w 3109751"/>
                <a:gd name="connsiteY10" fmla="*/ 570222 h 727142"/>
                <a:gd name="connsiteX11" fmla="*/ 2964562 w 3109751"/>
                <a:gd name="connsiteY11" fmla="*/ 659623 h 727142"/>
                <a:gd name="connsiteX12" fmla="*/ 3082419 w 3109751"/>
                <a:gd name="connsiteY12" fmla="*/ 700865 h 727142"/>
                <a:gd name="connsiteX13" fmla="*/ 3109751 w 3109751"/>
                <a:gd name="connsiteY13" fmla="*/ 727142 h 727142"/>
                <a:gd name="connsiteX14" fmla="*/ 2600642 w 3109751"/>
                <a:gd name="connsiteY14" fmla="*/ 727142 h 727142"/>
                <a:gd name="connsiteX15" fmla="*/ 2557255 w 3109751"/>
                <a:gd name="connsiteY15" fmla="*/ 704590 h 727142"/>
                <a:gd name="connsiteX16" fmla="*/ 2387787 w 3109751"/>
                <a:gd name="connsiteY16" fmla="*/ 646852 h 727142"/>
                <a:gd name="connsiteX17" fmla="*/ 2062153 w 3109751"/>
                <a:gd name="connsiteY17" fmla="*/ 544679 h 727142"/>
                <a:gd name="connsiteX18" fmla="*/ 1904657 w 3109751"/>
                <a:gd name="connsiteY18" fmla="*/ 521264 h 727142"/>
                <a:gd name="connsiteX19" fmla="*/ 1728006 w 3109751"/>
                <a:gd name="connsiteY19" fmla="*/ 629823 h 727142"/>
                <a:gd name="connsiteX20" fmla="*/ 1534329 w 3109751"/>
                <a:gd name="connsiteY20" fmla="*/ 717894 h 727142"/>
                <a:gd name="connsiteX21" fmla="*/ 1500774 w 3109751"/>
                <a:gd name="connsiteY21" fmla="*/ 727142 h 727142"/>
                <a:gd name="connsiteX22" fmla="*/ 101644 w 3109751"/>
                <a:gd name="connsiteY22" fmla="*/ 727142 h 727142"/>
                <a:gd name="connsiteX23" fmla="*/ 96680 w 3109751"/>
                <a:gd name="connsiteY23" fmla="*/ 717962 h 727142"/>
                <a:gd name="connsiteX24" fmla="*/ 89197 w 3109751"/>
                <a:gd name="connsiteY24" fmla="*/ 695811 h 727142"/>
                <a:gd name="connsiteX25" fmla="*/ 63657 w 3109751"/>
                <a:gd name="connsiteY25" fmla="*/ 636210 h 727142"/>
                <a:gd name="connsiteX26" fmla="*/ 29604 w 3109751"/>
                <a:gd name="connsiteY26" fmla="*/ 617052 h 727142"/>
                <a:gd name="connsiteX27" fmla="*/ 44503 w 3109751"/>
                <a:gd name="connsiteY27" fmla="*/ 474436 h 727142"/>
                <a:gd name="connsiteX28" fmla="*/ 4064 w 3109751"/>
                <a:gd name="connsiteY28" fmla="*/ 431863 h 727142"/>
                <a:gd name="connsiteX29" fmla="*/ 59401 w 3109751"/>
                <a:gd name="connsiteY29" fmla="*/ 110444 h 727142"/>
                <a:gd name="connsiteX30" fmla="*/ 260793 w 3109751"/>
                <a:gd name="connsiteY30" fmla="*/ 4279 h 727142"/>
                <a:gd name="connsiteX31" fmla="*/ 268538 w 3109751"/>
                <a:gd name="connsiteY31" fmla="*/ 3776 h 727142"/>
                <a:gd name="connsiteX32" fmla="*/ 268538 w 3109751"/>
                <a:gd name="connsiteY32" fmla="*/ 3775 h 727142"/>
                <a:gd name="connsiteX33" fmla="*/ 326667 w 3109751"/>
                <a:gd name="connsiteY33" fmla="*/ 0 h 727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109751" h="727142">
                  <a:moveTo>
                    <a:pt x="326667" y="0"/>
                  </a:moveTo>
                  <a:cubicBezTo>
                    <a:pt x="393547" y="1485"/>
                    <a:pt x="462185" y="21041"/>
                    <a:pt x="521246" y="65742"/>
                  </a:cubicBezTo>
                  <a:cubicBezTo>
                    <a:pt x="678742" y="187073"/>
                    <a:pt x="672357" y="338204"/>
                    <a:pt x="640432" y="431862"/>
                  </a:cubicBezTo>
                  <a:cubicBezTo>
                    <a:pt x="608507" y="527650"/>
                    <a:pt x="772388" y="589379"/>
                    <a:pt x="772388" y="589379"/>
                  </a:cubicBezTo>
                  <a:cubicBezTo>
                    <a:pt x="802185" y="595765"/>
                    <a:pt x="836238" y="595765"/>
                    <a:pt x="893703" y="574479"/>
                  </a:cubicBezTo>
                  <a:cubicBezTo>
                    <a:pt x="949039" y="551064"/>
                    <a:pt x="955424" y="517007"/>
                    <a:pt x="1044814" y="457406"/>
                  </a:cubicBezTo>
                  <a:cubicBezTo>
                    <a:pt x="1132075" y="397805"/>
                    <a:pt x="1323625" y="419091"/>
                    <a:pt x="1323625" y="419091"/>
                  </a:cubicBezTo>
                  <a:cubicBezTo>
                    <a:pt x="1323625" y="393547"/>
                    <a:pt x="1393859" y="374390"/>
                    <a:pt x="1425784" y="374390"/>
                  </a:cubicBezTo>
                  <a:cubicBezTo>
                    <a:pt x="1457709" y="374390"/>
                    <a:pt x="1636488" y="306275"/>
                    <a:pt x="1800369" y="267960"/>
                  </a:cubicBezTo>
                  <a:cubicBezTo>
                    <a:pt x="1964250" y="229645"/>
                    <a:pt x="2100463" y="261574"/>
                    <a:pt x="2147286" y="289246"/>
                  </a:cubicBezTo>
                  <a:cubicBezTo>
                    <a:pt x="2194109" y="319046"/>
                    <a:pt x="2541026" y="482949"/>
                    <a:pt x="2690009" y="570222"/>
                  </a:cubicBezTo>
                  <a:cubicBezTo>
                    <a:pt x="2838992" y="659623"/>
                    <a:pt x="2856018" y="634080"/>
                    <a:pt x="2964562" y="659623"/>
                  </a:cubicBezTo>
                  <a:cubicBezTo>
                    <a:pt x="3017770" y="672395"/>
                    <a:pt x="3056080" y="684103"/>
                    <a:pt x="3082419" y="700865"/>
                  </a:cubicBezTo>
                  <a:lnTo>
                    <a:pt x="3109751" y="727142"/>
                  </a:lnTo>
                  <a:lnTo>
                    <a:pt x="2600642" y="727142"/>
                  </a:lnTo>
                  <a:lnTo>
                    <a:pt x="2557255" y="704590"/>
                  </a:lnTo>
                  <a:cubicBezTo>
                    <a:pt x="2514422" y="686231"/>
                    <a:pt x="2460150" y="669202"/>
                    <a:pt x="2387787" y="646852"/>
                  </a:cubicBezTo>
                  <a:cubicBezTo>
                    <a:pt x="2243061" y="602151"/>
                    <a:pt x="2145158" y="580865"/>
                    <a:pt x="2062153" y="544679"/>
                  </a:cubicBezTo>
                  <a:cubicBezTo>
                    <a:pt x="1981277" y="510621"/>
                    <a:pt x="1945095" y="521264"/>
                    <a:pt x="1904657" y="521264"/>
                  </a:cubicBezTo>
                  <a:cubicBezTo>
                    <a:pt x="1864219" y="521264"/>
                    <a:pt x="1834422" y="551064"/>
                    <a:pt x="1728006" y="629823"/>
                  </a:cubicBezTo>
                  <a:cubicBezTo>
                    <a:pt x="1674798" y="669202"/>
                    <a:pt x="1599243" y="698470"/>
                    <a:pt x="1534329" y="717894"/>
                  </a:cubicBezTo>
                  <a:lnTo>
                    <a:pt x="1500774" y="727142"/>
                  </a:lnTo>
                  <a:lnTo>
                    <a:pt x="101644" y="727142"/>
                  </a:lnTo>
                  <a:lnTo>
                    <a:pt x="96680" y="717962"/>
                  </a:lnTo>
                  <a:cubicBezTo>
                    <a:pt x="94784" y="708183"/>
                    <a:pt x="100371" y="699004"/>
                    <a:pt x="89197" y="695811"/>
                  </a:cubicBezTo>
                  <a:cubicBezTo>
                    <a:pt x="74299" y="689425"/>
                    <a:pt x="63657" y="648981"/>
                    <a:pt x="63657" y="636210"/>
                  </a:cubicBezTo>
                  <a:cubicBezTo>
                    <a:pt x="63657" y="623438"/>
                    <a:pt x="63657" y="625567"/>
                    <a:pt x="29604" y="617052"/>
                  </a:cubicBezTo>
                  <a:cubicBezTo>
                    <a:pt x="-6577" y="608538"/>
                    <a:pt x="46631" y="489336"/>
                    <a:pt x="44503" y="474436"/>
                  </a:cubicBezTo>
                  <a:cubicBezTo>
                    <a:pt x="42374" y="459535"/>
                    <a:pt x="16834" y="470178"/>
                    <a:pt x="4064" y="431863"/>
                  </a:cubicBezTo>
                  <a:cubicBezTo>
                    <a:pt x="-8706" y="393548"/>
                    <a:pt x="8321" y="182816"/>
                    <a:pt x="59401" y="110444"/>
                  </a:cubicBezTo>
                  <a:cubicBezTo>
                    <a:pt x="98775" y="58293"/>
                    <a:pt x="174863" y="17317"/>
                    <a:pt x="260793" y="4279"/>
                  </a:cubicBezTo>
                  <a:lnTo>
                    <a:pt x="268538" y="3776"/>
                  </a:lnTo>
                  <a:lnTo>
                    <a:pt x="268538" y="3775"/>
                  </a:lnTo>
                  <a:lnTo>
                    <a:pt x="326667" y="0"/>
                  </a:lnTo>
                  <a:close/>
                </a:path>
              </a:pathLst>
            </a:custGeom>
            <a:solidFill>
              <a:schemeClr val="accent1">
                <a:lumMod val="75000"/>
              </a:schemeClr>
            </a:solidFill>
            <a:ln>
              <a:noFill/>
            </a:ln>
          </p:spPr>
          <p:txBody>
            <a:bodyPr lIns="68580" tIns="34290" rIns="68580" bIns="34290"/>
            <a:lstStyle/>
            <a:p>
              <a:pPr eaLnBrk="1" fontAlgn="auto" hangingPunct="1">
                <a:spcBef>
                  <a:spcPts val="0"/>
                </a:spcBef>
                <a:spcAft>
                  <a:spcPts val="0"/>
                </a:spcAft>
                <a:defRPr/>
              </a:pPr>
              <a:endParaRPr lang="en-US" sz="1350">
                <a:latin typeface="+mn-lt"/>
              </a:endParaRPr>
            </a:p>
          </p:txBody>
        </p:sp>
        <p:sp>
          <p:nvSpPr>
            <p:cNvPr id="56" name="Freeform 33">
              <a:extLst>
                <a:ext uri="{FF2B5EF4-FFF2-40B4-BE49-F238E27FC236}">
                  <a16:creationId xmlns:a16="http://schemas.microsoft.com/office/drawing/2014/main" id="{1B520F78-F47C-2B7A-A3D0-A615E436BF08}"/>
                </a:ext>
              </a:extLst>
            </p:cNvPr>
            <p:cNvSpPr>
              <a:spLocks/>
            </p:cNvSpPr>
            <p:nvPr/>
          </p:nvSpPr>
          <p:spPr bwMode="auto">
            <a:xfrm>
              <a:off x="7777040" y="4013538"/>
              <a:ext cx="1816641" cy="727142"/>
            </a:xfrm>
            <a:custGeom>
              <a:avLst/>
              <a:gdLst>
                <a:gd name="connsiteX0" fmla="*/ 537254 w 1816641"/>
                <a:gd name="connsiteY0" fmla="*/ 0 h 727142"/>
                <a:gd name="connsiteX1" fmla="*/ 1632953 w 1816641"/>
                <a:gd name="connsiteY1" fmla="*/ 0 h 727142"/>
                <a:gd name="connsiteX2" fmla="*/ 1635513 w 1816641"/>
                <a:gd name="connsiteY2" fmla="*/ 15757 h 727142"/>
                <a:gd name="connsiteX3" fmla="*/ 1531429 w 1816641"/>
                <a:gd name="connsiteY3" fmla="*/ 287512 h 727142"/>
                <a:gd name="connsiteX4" fmla="*/ 1807380 w 1816641"/>
                <a:gd name="connsiteY4" fmla="*/ 705683 h 727142"/>
                <a:gd name="connsiteX5" fmla="*/ 1816641 w 1816641"/>
                <a:gd name="connsiteY5" fmla="*/ 727142 h 727142"/>
                <a:gd name="connsiteX6" fmla="*/ 1285399 w 1816641"/>
                <a:gd name="connsiteY6" fmla="*/ 727142 h 727142"/>
                <a:gd name="connsiteX7" fmla="*/ 1234262 w 1816641"/>
                <a:gd name="connsiteY7" fmla="*/ 682102 h 727142"/>
                <a:gd name="connsiteX8" fmla="*/ 1031273 w 1816641"/>
                <a:gd name="connsiteY8" fmla="*/ 502501 h 727142"/>
                <a:gd name="connsiteX9" fmla="*/ 441727 w 1816641"/>
                <a:gd name="connsiteY9" fmla="*/ 549330 h 727142"/>
                <a:gd name="connsiteX10" fmla="*/ 516152 w 1816641"/>
                <a:gd name="connsiteY10" fmla="*/ 629120 h 727142"/>
                <a:gd name="connsiteX11" fmla="*/ 565844 w 1816641"/>
                <a:gd name="connsiteY11" fmla="*/ 727142 h 727142"/>
                <a:gd name="connsiteX12" fmla="*/ 108513 w 1816641"/>
                <a:gd name="connsiteY12" fmla="*/ 727142 h 727142"/>
                <a:gd name="connsiteX13" fmla="*/ 37346 w 1816641"/>
                <a:gd name="connsiteY13" fmla="*/ 600417 h 727142"/>
                <a:gd name="connsiteX14" fmla="*/ 126735 w 1816641"/>
                <a:gd name="connsiteY14" fmla="*/ 234296 h 727142"/>
                <a:gd name="connsiteX15" fmla="*/ 428957 w 1816641"/>
                <a:gd name="connsiteY15" fmla="*/ 38465 h 727142"/>
                <a:gd name="connsiteX16" fmla="*/ 532447 w 1816641"/>
                <a:gd name="connsiteY16" fmla="*/ 1780 h 727142"/>
                <a:gd name="connsiteX17" fmla="*/ 537254 w 1816641"/>
                <a:gd name="connsiteY17" fmla="*/ 0 h 727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16641" h="727142">
                  <a:moveTo>
                    <a:pt x="537254" y="0"/>
                  </a:moveTo>
                  <a:lnTo>
                    <a:pt x="1632953" y="0"/>
                  </a:lnTo>
                  <a:lnTo>
                    <a:pt x="1635513" y="15757"/>
                  </a:lnTo>
                  <a:cubicBezTo>
                    <a:pt x="1645494" y="186470"/>
                    <a:pt x="1531429" y="287512"/>
                    <a:pt x="1531429" y="287512"/>
                  </a:cubicBezTo>
                  <a:cubicBezTo>
                    <a:pt x="1638378" y="391281"/>
                    <a:pt x="1753706" y="590838"/>
                    <a:pt x="1807380" y="705683"/>
                  </a:cubicBezTo>
                  <a:lnTo>
                    <a:pt x="1816641" y="727142"/>
                  </a:lnTo>
                  <a:lnTo>
                    <a:pt x="1285399" y="727142"/>
                  </a:lnTo>
                  <a:lnTo>
                    <a:pt x="1234262" y="682102"/>
                  </a:lnTo>
                  <a:cubicBezTo>
                    <a:pt x="1125984" y="586581"/>
                    <a:pt x="1031273" y="502501"/>
                    <a:pt x="1031273" y="502501"/>
                  </a:cubicBezTo>
                  <a:cubicBezTo>
                    <a:pt x="967423" y="534430"/>
                    <a:pt x="441727" y="549330"/>
                    <a:pt x="441727" y="549330"/>
                  </a:cubicBezTo>
                  <a:cubicBezTo>
                    <a:pt x="470992" y="570084"/>
                    <a:pt x="495467" y="597756"/>
                    <a:pt x="516152" y="629120"/>
                  </a:cubicBezTo>
                  <a:lnTo>
                    <a:pt x="565844" y="727142"/>
                  </a:lnTo>
                  <a:lnTo>
                    <a:pt x="108513" y="727142"/>
                  </a:lnTo>
                  <a:lnTo>
                    <a:pt x="37346" y="600417"/>
                  </a:lnTo>
                  <a:cubicBezTo>
                    <a:pt x="-62686" y="398199"/>
                    <a:pt x="62885" y="259840"/>
                    <a:pt x="126735" y="234296"/>
                  </a:cubicBezTo>
                  <a:cubicBezTo>
                    <a:pt x="188457" y="208753"/>
                    <a:pt x="309771" y="78908"/>
                    <a:pt x="428957" y="38465"/>
                  </a:cubicBezTo>
                  <a:cubicBezTo>
                    <a:pt x="458754" y="28354"/>
                    <a:pt x="494935" y="15449"/>
                    <a:pt x="532447" y="1780"/>
                  </a:cubicBezTo>
                  <a:lnTo>
                    <a:pt x="537254" y="0"/>
                  </a:lnTo>
                  <a:close/>
                </a:path>
              </a:pathLst>
            </a:custGeom>
            <a:solidFill>
              <a:schemeClr val="accent4">
                <a:lumMod val="75000"/>
              </a:schemeClr>
            </a:solidFill>
            <a:ln>
              <a:noFill/>
            </a:ln>
          </p:spPr>
          <p:txBody>
            <a:bodyPr lIns="68580" tIns="34290" rIns="68580" bIns="34290"/>
            <a:lstStyle/>
            <a:p>
              <a:pPr eaLnBrk="1" fontAlgn="auto" hangingPunct="1">
                <a:spcBef>
                  <a:spcPts val="0"/>
                </a:spcBef>
                <a:spcAft>
                  <a:spcPts val="0"/>
                </a:spcAft>
                <a:defRPr/>
              </a:pPr>
              <a:endParaRPr lang="en-US" sz="1350">
                <a:latin typeface="+mn-lt"/>
              </a:endParaRPr>
            </a:p>
          </p:txBody>
        </p:sp>
        <p:sp>
          <p:nvSpPr>
            <p:cNvPr id="57" name="Freeform 34">
              <a:extLst>
                <a:ext uri="{FF2B5EF4-FFF2-40B4-BE49-F238E27FC236}">
                  <a16:creationId xmlns:a16="http://schemas.microsoft.com/office/drawing/2014/main" id="{1E6218F9-35A8-7F8D-0022-D2B803B4C1D2}"/>
                </a:ext>
              </a:extLst>
            </p:cNvPr>
            <p:cNvSpPr>
              <a:spLocks/>
            </p:cNvSpPr>
            <p:nvPr/>
          </p:nvSpPr>
          <p:spPr bwMode="auto">
            <a:xfrm>
              <a:off x="6896879" y="3286394"/>
              <a:ext cx="2513114" cy="727144"/>
            </a:xfrm>
            <a:custGeom>
              <a:avLst/>
              <a:gdLst>
                <a:gd name="connsiteX0" fmla="*/ 981692 w 2513114"/>
                <a:gd name="connsiteY0" fmla="*/ 1 h 727144"/>
                <a:gd name="connsiteX1" fmla="*/ 2086381 w 2513114"/>
                <a:gd name="connsiteY1" fmla="*/ 1 h 727144"/>
                <a:gd name="connsiteX2" fmla="*/ 2102655 w 2513114"/>
                <a:gd name="connsiteY2" fmla="*/ 58691 h 727144"/>
                <a:gd name="connsiteX3" fmla="*/ 2292404 w 2513114"/>
                <a:gd name="connsiteY3" fmla="*/ 333502 h 727144"/>
                <a:gd name="connsiteX4" fmla="*/ 2503108 w 2513114"/>
                <a:gd name="connsiteY4" fmla="*/ 665564 h 727144"/>
                <a:gd name="connsiteX5" fmla="*/ 2513114 w 2513114"/>
                <a:gd name="connsiteY5" fmla="*/ 727144 h 727144"/>
                <a:gd name="connsiteX6" fmla="*/ 1417415 w 2513114"/>
                <a:gd name="connsiteY6" fmla="*/ 727144 h 727144"/>
                <a:gd name="connsiteX7" fmla="*/ 1524079 w 2513114"/>
                <a:gd name="connsiteY7" fmla="*/ 687648 h 727144"/>
                <a:gd name="connsiteX8" fmla="*/ 1649650 w 2513114"/>
                <a:gd name="connsiteY8" fmla="*/ 640021 h 727144"/>
                <a:gd name="connsiteX9" fmla="*/ 1255910 w 2513114"/>
                <a:gd name="connsiteY9" fmla="*/ 227071 h 727144"/>
                <a:gd name="connsiteX10" fmla="*/ 1039885 w 2513114"/>
                <a:gd name="connsiteY10" fmla="*/ 49332 h 727144"/>
                <a:gd name="connsiteX11" fmla="*/ 0 w 2513114"/>
                <a:gd name="connsiteY11" fmla="*/ 0 h 727144"/>
                <a:gd name="connsiteX12" fmla="*/ 237268 w 2513114"/>
                <a:gd name="connsiteY12" fmla="*/ 0 h 727144"/>
                <a:gd name="connsiteX13" fmla="*/ 242828 w 2513114"/>
                <a:gd name="connsiteY13" fmla="*/ 5695 h 727144"/>
                <a:gd name="connsiteX14" fmla="*/ 368399 w 2513114"/>
                <a:gd name="connsiteY14" fmla="*/ 63168 h 727144"/>
                <a:gd name="connsiteX15" fmla="*/ 393673 w 2513114"/>
                <a:gd name="connsiteY15" fmla="*/ 18800 h 727144"/>
                <a:gd name="connsiteX16" fmla="*/ 405886 w 2513114"/>
                <a:gd name="connsiteY16" fmla="*/ 0 h 727144"/>
                <a:gd name="connsiteX17" fmla="*/ 791050 w 2513114"/>
                <a:gd name="connsiteY17" fmla="*/ 0 h 727144"/>
                <a:gd name="connsiteX18" fmla="*/ 746097 w 2513114"/>
                <a:gd name="connsiteY18" fmla="*/ 55256 h 727144"/>
                <a:gd name="connsiteX19" fmla="*/ 680996 w 2513114"/>
                <a:gd name="connsiteY19" fmla="*/ 133678 h 727144"/>
                <a:gd name="connsiteX20" fmla="*/ 669055 w 2513114"/>
                <a:gd name="connsiteY20" fmla="*/ 147793 h 727144"/>
                <a:gd name="connsiteX21" fmla="*/ 612204 w 2513114"/>
                <a:gd name="connsiteY21" fmla="*/ 214993 h 727144"/>
                <a:gd name="connsiteX22" fmla="*/ 449275 w 2513114"/>
                <a:gd name="connsiteY22" fmla="*/ 395230 h 727144"/>
                <a:gd name="connsiteX23" fmla="*/ 253469 w 2513114"/>
                <a:gd name="connsiteY23" fmla="*/ 403745 h 727144"/>
                <a:gd name="connsiteX24" fmla="*/ 43942 w 2513114"/>
                <a:gd name="connsiteY24" fmla="*/ 76825 h 72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513114" h="727144">
                  <a:moveTo>
                    <a:pt x="981692" y="1"/>
                  </a:moveTo>
                  <a:lnTo>
                    <a:pt x="2086381" y="1"/>
                  </a:lnTo>
                  <a:lnTo>
                    <a:pt x="2102655" y="58691"/>
                  </a:lnTo>
                  <a:cubicBezTo>
                    <a:pt x="2151103" y="208014"/>
                    <a:pt x="2229087" y="294389"/>
                    <a:pt x="2292404" y="333502"/>
                  </a:cubicBezTo>
                  <a:cubicBezTo>
                    <a:pt x="2364767" y="378202"/>
                    <a:pt x="2447772" y="446318"/>
                    <a:pt x="2503108" y="665564"/>
                  </a:cubicBezTo>
                  <a:lnTo>
                    <a:pt x="2513114" y="727144"/>
                  </a:lnTo>
                  <a:lnTo>
                    <a:pt x="1417415" y="727144"/>
                  </a:lnTo>
                  <a:lnTo>
                    <a:pt x="1524079" y="687648"/>
                  </a:lnTo>
                  <a:cubicBezTo>
                    <a:pt x="1594314" y="661307"/>
                    <a:pt x="1649650" y="640021"/>
                    <a:pt x="1649650" y="640021"/>
                  </a:cubicBezTo>
                  <a:cubicBezTo>
                    <a:pt x="1649650" y="640021"/>
                    <a:pt x="1317632" y="269643"/>
                    <a:pt x="1255910" y="227071"/>
                  </a:cubicBezTo>
                  <a:cubicBezTo>
                    <a:pt x="1226114" y="205785"/>
                    <a:pt x="1129275" y="124898"/>
                    <a:pt x="1039885" y="49332"/>
                  </a:cubicBezTo>
                  <a:close/>
                  <a:moveTo>
                    <a:pt x="0" y="0"/>
                  </a:moveTo>
                  <a:lnTo>
                    <a:pt x="237268" y="0"/>
                  </a:lnTo>
                  <a:lnTo>
                    <a:pt x="242828" y="5695"/>
                  </a:lnTo>
                  <a:cubicBezTo>
                    <a:pt x="268368" y="22724"/>
                    <a:pt x="368399" y="63168"/>
                    <a:pt x="368399" y="63168"/>
                  </a:cubicBezTo>
                  <a:cubicBezTo>
                    <a:pt x="377445" y="46405"/>
                    <a:pt x="385825" y="31738"/>
                    <a:pt x="393673" y="18800"/>
                  </a:cubicBezTo>
                  <a:lnTo>
                    <a:pt x="405886" y="0"/>
                  </a:lnTo>
                  <a:lnTo>
                    <a:pt x="791050" y="0"/>
                  </a:lnTo>
                  <a:lnTo>
                    <a:pt x="746097" y="55256"/>
                  </a:lnTo>
                  <a:cubicBezTo>
                    <a:pt x="725741" y="80014"/>
                    <a:pt x="703676" y="106605"/>
                    <a:pt x="680996" y="133678"/>
                  </a:cubicBezTo>
                  <a:lnTo>
                    <a:pt x="669055" y="147793"/>
                  </a:lnTo>
                  <a:lnTo>
                    <a:pt x="612204" y="214993"/>
                  </a:lnTo>
                  <a:cubicBezTo>
                    <a:pt x="543753" y="295053"/>
                    <a:pt x="479604" y="367292"/>
                    <a:pt x="449275" y="395230"/>
                  </a:cubicBezTo>
                  <a:cubicBezTo>
                    <a:pt x="370527" y="467603"/>
                    <a:pt x="310934" y="456960"/>
                    <a:pt x="253469" y="403745"/>
                  </a:cubicBezTo>
                  <a:cubicBezTo>
                    <a:pt x="216224" y="369155"/>
                    <a:pt x="121613" y="211505"/>
                    <a:pt x="43942" y="76825"/>
                  </a:cubicBezTo>
                  <a:close/>
                </a:path>
              </a:pathLst>
            </a:custGeom>
            <a:solidFill>
              <a:schemeClr val="accent3">
                <a:lumMod val="75000"/>
              </a:schemeClr>
            </a:solidFill>
            <a:ln>
              <a:noFill/>
            </a:ln>
          </p:spPr>
          <p:txBody>
            <a:bodyPr lIns="68580" tIns="34290" rIns="68580" bIns="34290"/>
            <a:lstStyle/>
            <a:p>
              <a:pPr eaLnBrk="1" fontAlgn="auto" hangingPunct="1">
                <a:spcBef>
                  <a:spcPts val="0"/>
                </a:spcBef>
                <a:spcAft>
                  <a:spcPts val="0"/>
                </a:spcAft>
                <a:defRPr/>
              </a:pPr>
              <a:endParaRPr lang="en-US" sz="1350">
                <a:latin typeface="+mn-lt"/>
              </a:endParaRPr>
            </a:p>
          </p:txBody>
        </p:sp>
        <p:sp>
          <p:nvSpPr>
            <p:cNvPr id="58" name="Freeform 35">
              <a:extLst>
                <a:ext uri="{FF2B5EF4-FFF2-40B4-BE49-F238E27FC236}">
                  <a16:creationId xmlns:a16="http://schemas.microsoft.com/office/drawing/2014/main" id="{85A39F53-E311-7504-C175-C9EDC407783E}"/>
                </a:ext>
              </a:extLst>
            </p:cNvPr>
            <p:cNvSpPr>
              <a:spLocks/>
            </p:cNvSpPr>
            <p:nvPr/>
          </p:nvSpPr>
          <p:spPr bwMode="auto">
            <a:xfrm>
              <a:off x="8125823" y="5467824"/>
              <a:ext cx="2385161" cy="727143"/>
            </a:xfrm>
            <a:custGeom>
              <a:avLst/>
              <a:gdLst>
                <a:gd name="connsiteX0" fmla="*/ 1826774 w 2385161"/>
                <a:gd name="connsiteY0" fmla="*/ 0 h 727143"/>
                <a:gd name="connsiteX1" fmla="*/ 2091339 w 2385161"/>
                <a:gd name="connsiteY1" fmla="*/ 0 h 727143"/>
                <a:gd name="connsiteX2" fmla="*/ 2091342 w 2385161"/>
                <a:gd name="connsiteY2" fmla="*/ 3 h 727143"/>
                <a:gd name="connsiteX3" fmla="*/ 2116982 w 2385161"/>
                <a:gd name="connsiteY3" fmla="*/ 27376 h 727143"/>
                <a:gd name="connsiteX4" fmla="*/ 2129752 w 2385161"/>
                <a:gd name="connsiteY4" fmla="*/ 27376 h 727143"/>
                <a:gd name="connsiteX5" fmla="*/ 2185088 w 2385161"/>
                <a:gd name="connsiteY5" fmla="*/ 76334 h 727143"/>
                <a:gd name="connsiteX6" fmla="*/ 2351097 w 2385161"/>
                <a:gd name="connsiteY6" fmla="*/ 125292 h 727143"/>
                <a:gd name="connsiteX7" fmla="*/ 2276606 w 2385161"/>
                <a:gd name="connsiteY7" fmla="*/ 365824 h 727143"/>
                <a:gd name="connsiteX8" fmla="*/ 2182960 w 2385161"/>
                <a:gd name="connsiteY8" fmla="*/ 627643 h 727143"/>
                <a:gd name="connsiteX9" fmla="*/ 1959486 w 2385161"/>
                <a:gd name="connsiteY9" fmla="*/ 697887 h 727143"/>
                <a:gd name="connsiteX10" fmla="*/ 2010566 w 2385161"/>
                <a:gd name="connsiteY10" fmla="*/ 587199 h 727143"/>
                <a:gd name="connsiteX11" fmla="*/ 2027592 w 2385161"/>
                <a:gd name="connsiteY11" fmla="*/ 327509 h 727143"/>
                <a:gd name="connsiteX12" fmla="*/ 1987154 w 2385161"/>
                <a:gd name="connsiteY12" fmla="*/ 221079 h 727143"/>
                <a:gd name="connsiteX13" fmla="*/ 1889251 w 2385161"/>
                <a:gd name="connsiteY13" fmla="*/ 50790 h 727143"/>
                <a:gd name="connsiteX14" fmla="*/ 1861558 w 2385161"/>
                <a:gd name="connsiteY14" fmla="*/ 27725 h 727143"/>
                <a:gd name="connsiteX15" fmla="*/ 328683 w 2385161"/>
                <a:gd name="connsiteY15" fmla="*/ 0 h 727143"/>
                <a:gd name="connsiteX16" fmla="*/ 570661 w 2385161"/>
                <a:gd name="connsiteY16" fmla="*/ 0 h 727143"/>
                <a:gd name="connsiteX17" fmla="*/ 572882 w 2385161"/>
                <a:gd name="connsiteY17" fmla="*/ 5025 h 727143"/>
                <a:gd name="connsiteX18" fmla="*/ 612256 w 2385161"/>
                <a:gd name="connsiteY18" fmla="*/ 76333 h 727143"/>
                <a:gd name="connsiteX19" fmla="*/ 746341 w 2385161"/>
                <a:gd name="connsiteY19" fmla="*/ 253007 h 727143"/>
                <a:gd name="connsiteX20" fmla="*/ 499455 w 2385161"/>
                <a:gd name="connsiteY20" fmla="*/ 510569 h 727143"/>
                <a:gd name="connsiteX21" fmla="*/ 3556 w 2385161"/>
                <a:gd name="connsiteY21" fmla="*/ 642542 h 727143"/>
                <a:gd name="connsiteX22" fmla="*/ 99330 w 2385161"/>
                <a:gd name="connsiteY22" fmla="*/ 482897 h 727143"/>
                <a:gd name="connsiteX23" fmla="*/ 316419 w 2385161"/>
                <a:gd name="connsiteY23" fmla="*/ 182763 h 727143"/>
                <a:gd name="connsiteX24" fmla="*/ 329189 w 2385161"/>
                <a:gd name="connsiteY24" fmla="*/ 97619 h 727143"/>
                <a:gd name="connsiteX25" fmla="*/ 325465 w 2385161"/>
                <a:gd name="connsiteY25" fmla="*/ 24448 h 727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385161" h="727143">
                  <a:moveTo>
                    <a:pt x="1826774" y="0"/>
                  </a:moveTo>
                  <a:lnTo>
                    <a:pt x="2091339" y="0"/>
                  </a:lnTo>
                  <a:lnTo>
                    <a:pt x="2091342" y="3"/>
                  </a:lnTo>
                  <a:cubicBezTo>
                    <a:pt x="2107138" y="17132"/>
                    <a:pt x="2116982" y="27376"/>
                    <a:pt x="2116982" y="27376"/>
                  </a:cubicBezTo>
                  <a:cubicBezTo>
                    <a:pt x="2116982" y="27376"/>
                    <a:pt x="2116982" y="27376"/>
                    <a:pt x="2129752" y="27376"/>
                  </a:cubicBezTo>
                  <a:cubicBezTo>
                    <a:pt x="2142522" y="27376"/>
                    <a:pt x="2155292" y="72077"/>
                    <a:pt x="2185088" y="76334"/>
                  </a:cubicBezTo>
                  <a:cubicBezTo>
                    <a:pt x="2217013" y="78462"/>
                    <a:pt x="2259580" y="76334"/>
                    <a:pt x="2351097" y="125292"/>
                  </a:cubicBezTo>
                  <a:cubicBezTo>
                    <a:pt x="2440487" y="176378"/>
                    <a:pt x="2331942" y="299837"/>
                    <a:pt x="2276606" y="365824"/>
                  </a:cubicBezTo>
                  <a:cubicBezTo>
                    <a:pt x="2223398" y="431811"/>
                    <a:pt x="2274478" y="510570"/>
                    <a:pt x="2182960" y="627643"/>
                  </a:cubicBezTo>
                  <a:cubicBezTo>
                    <a:pt x="2091442" y="744716"/>
                    <a:pt x="1991410" y="744716"/>
                    <a:pt x="1959486" y="697887"/>
                  </a:cubicBezTo>
                  <a:cubicBezTo>
                    <a:pt x="1927561" y="648929"/>
                    <a:pt x="1991410" y="623386"/>
                    <a:pt x="2010566" y="587199"/>
                  </a:cubicBezTo>
                  <a:cubicBezTo>
                    <a:pt x="2027592" y="548884"/>
                    <a:pt x="2027592" y="378596"/>
                    <a:pt x="2027592" y="327509"/>
                  </a:cubicBezTo>
                  <a:cubicBezTo>
                    <a:pt x="2027592" y="278551"/>
                    <a:pt x="1987154" y="246622"/>
                    <a:pt x="1987154" y="221079"/>
                  </a:cubicBezTo>
                  <a:cubicBezTo>
                    <a:pt x="1987154" y="195536"/>
                    <a:pt x="1953101" y="104006"/>
                    <a:pt x="1889251" y="50790"/>
                  </a:cubicBezTo>
                  <a:cubicBezTo>
                    <a:pt x="1881536" y="44138"/>
                    <a:pt x="1872224" y="36389"/>
                    <a:pt x="1861558" y="27725"/>
                  </a:cubicBezTo>
                  <a:close/>
                  <a:moveTo>
                    <a:pt x="328683" y="0"/>
                  </a:moveTo>
                  <a:lnTo>
                    <a:pt x="570661" y="0"/>
                  </a:lnTo>
                  <a:lnTo>
                    <a:pt x="572882" y="5025"/>
                  </a:lnTo>
                  <a:cubicBezTo>
                    <a:pt x="584588" y="35889"/>
                    <a:pt x="595230" y="66754"/>
                    <a:pt x="612256" y="76333"/>
                  </a:cubicBezTo>
                  <a:cubicBezTo>
                    <a:pt x="648438" y="95490"/>
                    <a:pt x="665464" y="161477"/>
                    <a:pt x="746341" y="253007"/>
                  </a:cubicBezTo>
                  <a:cubicBezTo>
                    <a:pt x="825089" y="344537"/>
                    <a:pt x="722929" y="372209"/>
                    <a:pt x="499455" y="510569"/>
                  </a:cubicBezTo>
                  <a:cubicBezTo>
                    <a:pt x="275981" y="648928"/>
                    <a:pt x="20582" y="714915"/>
                    <a:pt x="3556" y="642542"/>
                  </a:cubicBezTo>
                  <a:cubicBezTo>
                    <a:pt x="-11343" y="570170"/>
                    <a:pt x="20582" y="521212"/>
                    <a:pt x="99330" y="482897"/>
                  </a:cubicBezTo>
                  <a:cubicBezTo>
                    <a:pt x="178078" y="444582"/>
                    <a:pt x="316419" y="182763"/>
                    <a:pt x="316419" y="182763"/>
                  </a:cubicBezTo>
                  <a:cubicBezTo>
                    <a:pt x="316419" y="182763"/>
                    <a:pt x="341959" y="142320"/>
                    <a:pt x="329189" y="97619"/>
                  </a:cubicBezTo>
                  <a:cubicBezTo>
                    <a:pt x="322804" y="75269"/>
                    <a:pt x="323336" y="47065"/>
                    <a:pt x="325465" y="24448"/>
                  </a:cubicBezTo>
                  <a:close/>
                </a:path>
              </a:pathLst>
            </a:custGeom>
            <a:solidFill>
              <a:schemeClr val="accent6">
                <a:lumMod val="75000"/>
              </a:schemeClr>
            </a:solidFill>
            <a:ln>
              <a:noFill/>
            </a:ln>
          </p:spPr>
          <p:txBody>
            <a:bodyPr lIns="68580" tIns="34290" rIns="68580" bIns="34290"/>
            <a:lstStyle/>
            <a:p>
              <a:pPr eaLnBrk="1" fontAlgn="auto" hangingPunct="1">
                <a:spcBef>
                  <a:spcPts val="0"/>
                </a:spcBef>
                <a:spcAft>
                  <a:spcPts val="0"/>
                </a:spcAft>
                <a:defRPr/>
              </a:pPr>
              <a:endParaRPr lang="en-US" sz="1350">
                <a:latin typeface="+mn-lt"/>
              </a:endParaRPr>
            </a:p>
          </p:txBody>
        </p:sp>
        <p:sp>
          <p:nvSpPr>
            <p:cNvPr id="59" name="Freeform 36">
              <a:extLst>
                <a:ext uri="{FF2B5EF4-FFF2-40B4-BE49-F238E27FC236}">
                  <a16:creationId xmlns:a16="http://schemas.microsoft.com/office/drawing/2014/main" id="{8D77E896-9873-60A2-7426-B0C61D440433}"/>
                </a:ext>
              </a:extLst>
            </p:cNvPr>
            <p:cNvSpPr>
              <a:spLocks/>
            </p:cNvSpPr>
            <p:nvPr/>
          </p:nvSpPr>
          <p:spPr bwMode="auto">
            <a:xfrm>
              <a:off x="7885553" y="4740681"/>
              <a:ext cx="2331608" cy="727143"/>
            </a:xfrm>
            <a:custGeom>
              <a:avLst/>
              <a:gdLst>
                <a:gd name="connsiteX0" fmla="*/ 1176886 w 2331608"/>
                <a:gd name="connsiteY0" fmla="*/ 0 h 727143"/>
                <a:gd name="connsiteX1" fmla="*/ 1708128 w 2331608"/>
                <a:gd name="connsiteY1" fmla="*/ 0 h 727143"/>
                <a:gd name="connsiteX2" fmla="*/ 1720242 w 2331608"/>
                <a:gd name="connsiteY2" fmla="*/ 28069 h 727143"/>
                <a:gd name="connsiteX3" fmla="*/ 1729395 w 2331608"/>
                <a:gd name="connsiteY3" fmla="*/ 58464 h 727143"/>
                <a:gd name="connsiteX4" fmla="*/ 1757063 w 2331608"/>
                <a:gd name="connsiteY4" fmla="*/ 122322 h 727143"/>
                <a:gd name="connsiteX5" fmla="*/ 2133777 w 2331608"/>
                <a:gd name="connsiteY5" fmla="*/ 477799 h 727143"/>
                <a:gd name="connsiteX6" fmla="*/ 2303939 w 2331608"/>
                <a:gd name="connsiteY6" fmla="*/ 696709 h 727143"/>
                <a:gd name="connsiteX7" fmla="*/ 2331608 w 2331608"/>
                <a:gd name="connsiteY7" fmla="*/ 727142 h 727143"/>
                <a:gd name="connsiteX8" fmla="*/ 2067043 w 2331608"/>
                <a:gd name="connsiteY8" fmla="*/ 727142 h 727143"/>
                <a:gd name="connsiteX9" fmla="*/ 2066003 w 2331608"/>
                <a:gd name="connsiteY9" fmla="*/ 726313 h 727143"/>
                <a:gd name="connsiteX10" fmla="*/ 1761320 w 2331608"/>
                <a:gd name="connsiteY10" fmla="*/ 501214 h 727143"/>
                <a:gd name="connsiteX11" fmla="*/ 1593182 w 2331608"/>
                <a:gd name="connsiteY11" fmla="*/ 416069 h 727143"/>
                <a:gd name="connsiteX12" fmla="*/ 1454841 w 2331608"/>
                <a:gd name="connsiteY12" fmla="*/ 250038 h 727143"/>
                <a:gd name="connsiteX13" fmla="*/ 1410146 w 2331608"/>
                <a:gd name="connsiteY13" fmla="*/ 203209 h 727143"/>
                <a:gd name="connsiteX14" fmla="*/ 1208234 w 2331608"/>
                <a:gd name="connsiteY14" fmla="*/ 27611 h 727143"/>
                <a:gd name="connsiteX15" fmla="*/ 0 w 2331608"/>
                <a:gd name="connsiteY15" fmla="*/ 0 h 727143"/>
                <a:gd name="connsiteX16" fmla="*/ 457331 w 2331608"/>
                <a:gd name="connsiteY16" fmla="*/ 0 h 727143"/>
                <a:gd name="connsiteX17" fmla="*/ 459317 w 2331608"/>
                <a:gd name="connsiteY17" fmla="*/ 3918 h 727143"/>
                <a:gd name="connsiteX18" fmla="*/ 518378 w 2331608"/>
                <a:gd name="connsiteY18" fmla="*/ 196823 h 727143"/>
                <a:gd name="connsiteX19" fmla="*/ 754622 w 2331608"/>
                <a:gd name="connsiteY19" fmla="*/ 665116 h 727143"/>
                <a:gd name="connsiteX20" fmla="*/ 767392 w 2331608"/>
                <a:gd name="connsiteY20" fmla="*/ 660859 h 727143"/>
                <a:gd name="connsiteX21" fmla="*/ 793863 w 2331608"/>
                <a:gd name="connsiteY21" fmla="*/ 688531 h 727143"/>
                <a:gd name="connsiteX22" fmla="*/ 810930 w 2331608"/>
                <a:gd name="connsiteY22" fmla="*/ 727143 h 727143"/>
                <a:gd name="connsiteX23" fmla="*/ 568952 w 2331608"/>
                <a:gd name="connsiteY23" fmla="*/ 727143 h 727143"/>
                <a:gd name="connsiteX24" fmla="*/ 569459 w 2331608"/>
                <a:gd name="connsiteY24" fmla="*/ 723287 h 727143"/>
                <a:gd name="connsiteX25" fmla="*/ 571587 w 2331608"/>
                <a:gd name="connsiteY25" fmla="*/ 711946 h 727143"/>
                <a:gd name="connsiteX26" fmla="*/ 267236 w 2331608"/>
                <a:gd name="connsiteY26" fmla="*/ 341568 h 727143"/>
                <a:gd name="connsiteX27" fmla="*/ 7747 w 2331608"/>
                <a:gd name="connsiteY27" fmla="*/ 13796 h 727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331608" h="727143">
                  <a:moveTo>
                    <a:pt x="1176886" y="0"/>
                  </a:moveTo>
                  <a:lnTo>
                    <a:pt x="1708128" y="0"/>
                  </a:lnTo>
                  <a:lnTo>
                    <a:pt x="1720242" y="28069"/>
                  </a:lnTo>
                  <a:cubicBezTo>
                    <a:pt x="1725438" y="41668"/>
                    <a:pt x="1728597" y="52078"/>
                    <a:pt x="1729395" y="58464"/>
                  </a:cubicBezTo>
                  <a:cubicBezTo>
                    <a:pt x="1735780" y="109550"/>
                    <a:pt x="1757063" y="122322"/>
                    <a:pt x="1757063" y="122322"/>
                  </a:cubicBezTo>
                  <a:cubicBezTo>
                    <a:pt x="1931586" y="201080"/>
                    <a:pt x="2067799" y="364983"/>
                    <a:pt x="2133777" y="477799"/>
                  </a:cubicBezTo>
                  <a:cubicBezTo>
                    <a:pt x="2175013" y="548309"/>
                    <a:pt x="2251999" y="638775"/>
                    <a:pt x="2303939" y="696709"/>
                  </a:cubicBezTo>
                  <a:lnTo>
                    <a:pt x="2331608" y="727142"/>
                  </a:lnTo>
                  <a:lnTo>
                    <a:pt x="2067043" y="727142"/>
                  </a:lnTo>
                  <a:lnTo>
                    <a:pt x="2066003" y="726313"/>
                  </a:lnTo>
                  <a:cubicBezTo>
                    <a:pt x="1987188" y="664451"/>
                    <a:pt x="1868268" y="576247"/>
                    <a:pt x="1761320" y="501214"/>
                  </a:cubicBezTo>
                  <a:cubicBezTo>
                    <a:pt x="1618722" y="399041"/>
                    <a:pt x="1676187" y="439484"/>
                    <a:pt x="1593182" y="416069"/>
                  </a:cubicBezTo>
                  <a:cubicBezTo>
                    <a:pt x="1512306" y="390526"/>
                    <a:pt x="1478253" y="275581"/>
                    <a:pt x="1454841" y="250038"/>
                  </a:cubicBezTo>
                  <a:cubicBezTo>
                    <a:pt x="1433558" y="226623"/>
                    <a:pt x="1410146" y="203209"/>
                    <a:pt x="1410146" y="203209"/>
                  </a:cubicBezTo>
                  <a:cubicBezTo>
                    <a:pt x="1369442" y="168885"/>
                    <a:pt x="1290728" y="100138"/>
                    <a:pt x="1208234" y="27611"/>
                  </a:cubicBezTo>
                  <a:close/>
                  <a:moveTo>
                    <a:pt x="0" y="0"/>
                  </a:moveTo>
                  <a:lnTo>
                    <a:pt x="457331" y="0"/>
                  </a:lnTo>
                  <a:lnTo>
                    <a:pt x="459317" y="3918"/>
                  </a:lnTo>
                  <a:cubicBezTo>
                    <a:pt x="487518" y="74960"/>
                    <a:pt x="504544" y="147865"/>
                    <a:pt x="518378" y="196823"/>
                  </a:cubicBezTo>
                  <a:cubicBezTo>
                    <a:pt x="548175" y="294739"/>
                    <a:pt x="754622" y="665116"/>
                    <a:pt x="754622" y="665116"/>
                  </a:cubicBezTo>
                  <a:cubicBezTo>
                    <a:pt x="754622" y="665116"/>
                    <a:pt x="754622" y="665116"/>
                    <a:pt x="767392" y="660859"/>
                  </a:cubicBezTo>
                  <a:cubicBezTo>
                    <a:pt x="778034" y="665649"/>
                    <a:pt x="786547" y="675760"/>
                    <a:pt x="793863" y="688531"/>
                  </a:cubicBezTo>
                  <a:lnTo>
                    <a:pt x="810930" y="727143"/>
                  </a:lnTo>
                  <a:lnTo>
                    <a:pt x="568952" y="727143"/>
                  </a:lnTo>
                  <a:lnTo>
                    <a:pt x="569459" y="723287"/>
                  </a:lnTo>
                  <a:cubicBezTo>
                    <a:pt x="570656" y="716203"/>
                    <a:pt x="571587" y="711946"/>
                    <a:pt x="571587" y="711946"/>
                  </a:cubicBezTo>
                  <a:cubicBezTo>
                    <a:pt x="571587" y="711946"/>
                    <a:pt x="386422" y="471413"/>
                    <a:pt x="267236" y="341568"/>
                  </a:cubicBezTo>
                  <a:cubicBezTo>
                    <a:pt x="176251" y="245781"/>
                    <a:pt x="88856" y="144007"/>
                    <a:pt x="7747" y="13796"/>
                  </a:cubicBezTo>
                  <a:close/>
                </a:path>
              </a:pathLst>
            </a:custGeom>
            <a:solidFill>
              <a:schemeClr val="accent5">
                <a:lumMod val="75000"/>
              </a:schemeClr>
            </a:solidFill>
            <a:ln>
              <a:noFill/>
            </a:ln>
          </p:spPr>
          <p:txBody>
            <a:bodyPr lIns="68580" tIns="34290" rIns="68580" bIns="34290"/>
            <a:lstStyle/>
            <a:p>
              <a:pPr eaLnBrk="1" fontAlgn="auto" hangingPunct="1">
                <a:spcBef>
                  <a:spcPts val="0"/>
                </a:spcBef>
                <a:spcAft>
                  <a:spcPts val="0"/>
                </a:spcAft>
                <a:defRPr/>
              </a:pPr>
              <a:endParaRPr lang="en-US" sz="1350">
                <a:latin typeface="+mn-lt"/>
              </a:endParaRPr>
            </a:p>
          </p:txBody>
        </p:sp>
      </p:grpSp>
      <p:sp>
        <p:nvSpPr>
          <p:cNvPr id="38" name="Metin kutusu 37">
            <a:extLst>
              <a:ext uri="{FF2B5EF4-FFF2-40B4-BE49-F238E27FC236}">
                <a16:creationId xmlns:a16="http://schemas.microsoft.com/office/drawing/2014/main" id="{A13B9CBC-4279-4DD2-7DF1-5D9C08FA7FEA}"/>
              </a:ext>
            </a:extLst>
          </p:cNvPr>
          <p:cNvSpPr txBox="1">
            <a:spLocks noChangeArrowheads="1"/>
          </p:cNvSpPr>
          <p:nvPr/>
        </p:nvSpPr>
        <p:spPr bwMode="auto">
          <a:xfrm>
            <a:off x="457200" y="731838"/>
            <a:ext cx="7112000"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r>
              <a:rPr lang="tr-TR" altLang="tr-TR" sz="6000" b="1" dirty="0">
                <a:solidFill>
                  <a:srgbClr val="FFFFFF"/>
                </a:solidFill>
                <a:latin typeface="Open Sans" panose="020B0606030504020204" pitchFamily="34" charset="0"/>
                <a:cs typeface="Open Sans" panose="020B0606030504020204" pitchFamily="34" charset="0"/>
              </a:rPr>
              <a:t>Vizyon </a:t>
            </a:r>
            <a:r>
              <a:rPr lang="tr-TR" altLang="tr-TR" sz="6000" dirty="0">
                <a:solidFill>
                  <a:srgbClr val="FFFFFF"/>
                </a:solidFill>
                <a:latin typeface="Open Sans" panose="020B0606030504020204" pitchFamily="34" charset="0"/>
                <a:cs typeface="Open Sans" panose="020B0606030504020204" pitchFamily="34" charset="0"/>
              </a:rPr>
              <a:t>Kronolojisi</a:t>
            </a:r>
            <a:endParaRPr lang="tr-TR" altLang="tr-TR" sz="4800" dirty="0">
              <a:solidFill>
                <a:srgbClr val="FFFFFF"/>
              </a:solidFill>
              <a:latin typeface="Open Sans" panose="020B0606030504020204" pitchFamily="34" charset="0"/>
              <a:cs typeface="Open Sans" panose="020B0606030504020204" pitchFamily="34" charset="0"/>
            </a:endParaRPr>
          </a:p>
        </p:txBody>
      </p:sp>
      <p:grpSp>
        <p:nvGrpSpPr>
          <p:cNvPr id="22540" name="Group 307">
            <a:extLst>
              <a:ext uri="{FF2B5EF4-FFF2-40B4-BE49-F238E27FC236}">
                <a16:creationId xmlns:a16="http://schemas.microsoft.com/office/drawing/2014/main" id="{1A35A90F-9185-7127-5D92-669895FE4075}"/>
              </a:ext>
            </a:extLst>
          </p:cNvPr>
          <p:cNvGrpSpPr>
            <a:grpSpLocks/>
          </p:cNvGrpSpPr>
          <p:nvPr/>
        </p:nvGrpSpPr>
        <p:grpSpPr bwMode="auto">
          <a:xfrm>
            <a:off x="-3175" y="6743700"/>
            <a:ext cx="12195175" cy="114300"/>
            <a:chOff x="-3175" y="4762500"/>
            <a:chExt cx="12195174" cy="2092323"/>
          </a:xfrm>
        </p:grpSpPr>
        <p:sp>
          <p:nvSpPr>
            <p:cNvPr id="71" name="Rectangle 308">
              <a:extLst>
                <a:ext uri="{FF2B5EF4-FFF2-40B4-BE49-F238E27FC236}">
                  <a16:creationId xmlns:a16="http://schemas.microsoft.com/office/drawing/2014/main" id="{B834716F-0724-411E-68C9-5D2934CD86F7}"/>
                </a:ext>
              </a:extLst>
            </p:cNvPr>
            <p:cNvSpPr/>
            <p:nvPr/>
          </p:nvSpPr>
          <p:spPr>
            <a:xfrm>
              <a:off x="-3175" y="4762500"/>
              <a:ext cx="2032000" cy="2092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2" name="Rectangle 309">
              <a:extLst>
                <a:ext uri="{FF2B5EF4-FFF2-40B4-BE49-F238E27FC236}">
                  <a16:creationId xmlns:a16="http://schemas.microsoft.com/office/drawing/2014/main" id="{DDEE934B-8B50-4E4F-D28D-7BB45E326E31}"/>
                </a:ext>
              </a:extLst>
            </p:cNvPr>
            <p:cNvSpPr/>
            <p:nvPr/>
          </p:nvSpPr>
          <p:spPr>
            <a:xfrm>
              <a:off x="2027238" y="4762500"/>
              <a:ext cx="2032000" cy="2092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3" name="Rectangle 310">
              <a:extLst>
                <a:ext uri="{FF2B5EF4-FFF2-40B4-BE49-F238E27FC236}">
                  <a16:creationId xmlns:a16="http://schemas.microsoft.com/office/drawing/2014/main" id="{23494BCF-7216-967C-EE34-92E7D7159BCB}"/>
                </a:ext>
              </a:extLst>
            </p:cNvPr>
            <p:cNvSpPr/>
            <p:nvPr/>
          </p:nvSpPr>
          <p:spPr>
            <a:xfrm>
              <a:off x="4059238" y="4762500"/>
              <a:ext cx="2032000" cy="2092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4" name="Rectangle 311">
              <a:extLst>
                <a:ext uri="{FF2B5EF4-FFF2-40B4-BE49-F238E27FC236}">
                  <a16:creationId xmlns:a16="http://schemas.microsoft.com/office/drawing/2014/main" id="{905D201D-9423-2EC3-78AF-28B2B9EC7A27}"/>
                </a:ext>
              </a:extLst>
            </p:cNvPr>
            <p:cNvSpPr/>
            <p:nvPr/>
          </p:nvSpPr>
          <p:spPr>
            <a:xfrm>
              <a:off x="6089650" y="4762500"/>
              <a:ext cx="2032000" cy="2092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5" name="Rectangle 312">
              <a:extLst>
                <a:ext uri="{FF2B5EF4-FFF2-40B4-BE49-F238E27FC236}">
                  <a16:creationId xmlns:a16="http://schemas.microsoft.com/office/drawing/2014/main" id="{C7D432E1-1887-7A0E-F349-E553A0CDDD8B}"/>
                </a:ext>
              </a:extLst>
            </p:cNvPr>
            <p:cNvSpPr/>
            <p:nvPr/>
          </p:nvSpPr>
          <p:spPr>
            <a:xfrm>
              <a:off x="8118474" y="4762500"/>
              <a:ext cx="2032000" cy="2092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6" name="Rectangle 313">
              <a:extLst>
                <a:ext uri="{FF2B5EF4-FFF2-40B4-BE49-F238E27FC236}">
                  <a16:creationId xmlns:a16="http://schemas.microsoft.com/office/drawing/2014/main" id="{801193B5-A3F0-B2AA-9387-5078A21CD361}"/>
                </a:ext>
              </a:extLst>
            </p:cNvPr>
            <p:cNvSpPr/>
            <p:nvPr/>
          </p:nvSpPr>
          <p:spPr>
            <a:xfrm>
              <a:off x="10148887" y="4762500"/>
              <a:ext cx="2043112" cy="20923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nodeType="afterGroup">
                            <p:stCondLst>
                              <p:cond delay="500"/>
                            </p:stCondLst>
                            <p:childTnLst>
                              <p:par>
                                <p:cTn id="9" presetID="10" presetClass="entr" presetSubtype="0"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par>
                          <p:cTn id="12" fill="hold" nodeType="afterGroup">
                            <p:stCondLst>
                              <p:cond delay="10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nodeType="afterGroup">
                            <p:stCondLst>
                              <p:cond delay="1500"/>
                            </p:stCondLst>
                            <p:childTnLst>
                              <p:par>
                                <p:cTn id="17" presetID="10" presetClass="entr" presetSubtype="0"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childTnLst>
                          </p:cTn>
                        </p:par>
                        <p:par>
                          <p:cTn id="20" fill="hold" nodeType="afterGroup">
                            <p:stCondLst>
                              <p:cond delay="2000"/>
                            </p:stCondLst>
                            <p:childTnLst>
                              <p:par>
                                <p:cTn id="21" presetID="10" presetClass="entr" presetSubtype="0" fill="hold"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par>
                          <p:cTn id="24" fill="hold" nodeType="afterGroup">
                            <p:stCondLst>
                              <p:cond delay="2500"/>
                            </p:stCondLst>
                            <p:childTnLst>
                              <p:par>
                                <p:cTn id="25" presetID="10" presetClass="entr" presetSubtype="0" fill="hold" nodeType="afterEffect">
                                  <p:stCondLst>
                                    <p:cond delay="0"/>
                                  </p:stCondLst>
                                  <p:childTnLst>
                                    <p:set>
                                      <p:cBhvr>
                                        <p:cTn id="26" dur="1" fill="hold">
                                          <p:stCondLst>
                                            <p:cond delay="0"/>
                                          </p:stCondLst>
                                        </p:cTn>
                                        <p:tgtEl>
                                          <p:spTgt spid="85"/>
                                        </p:tgtEl>
                                        <p:attrNameLst>
                                          <p:attrName>style.visibility</p:attrName>
                                        </p:attrNameLst>
                                      </p:cBhvr>
                                      <p:to>
                                        <p:strVal val="visible"/>
                                      </p:to>
                                    </p:set>
                                    <p:animEffect transition="in" filter="fade">
                                      <p:cBhvr>
                                        <p:cTn id="27" dur="500"/>
                                        <p:tgtEl>
                                          <p:spTgt spid="85"/>
                                        </p:tgtEl>
                                      </p:cBhvr>
                                    </p:animEffect>
                                  </p:childTnLst>
                                </p:cTn>
                              </p:par>
                            </p:childTnLst>
                          </p:cTn>
                        </p:par>
                        <p:par>
                          <p:cTn id="28" fill="hold" nodeType="afterGroup">
                            <p:stCondLst>
                              <p:cond delay="3000"/>
                            </p:stCondLst>
                            <p:childTnLst>
                              <p:par>
                                <p:cTn id="29" presetID="10" presetClass="entr" presetSubtype="0" fill="hold" nodeType="after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fade">
                                      <p:cBhvr>
                                        <p:cTn id="31" dur="500"/>
                                        <p:tgtEl>
                                          <p:spTgt spid="38"/>
                                        </p:tgtEl>
                                      </p:cBhvr>
                                    </p:animEffect>
                                  </p:childTnLst>
                                </p:cTn>
                              </p:par>
                            </p:childTnLst>
                          </p:cTn>
                        </p:par>
                        <p:par>
                          <p:cTn id="32" fill="hold" nodeType="afterGroup">
                            <p:stCondLst>
                              <p:cond delay="3500"/>
                            </p:stCondLst>
                            <p:childTnLst>
                              <p:par>
                                <p:cTn id="33" presetID="10" presetClass="entr" presetSubtype="0" fill="hold" nodeType="afterEffect">
                                  <p:stCondLst>
                                    <p:cond delay="0"/>
                                  </p:stCondLst>
                                  <p:childTnLst>
                                    <p:set>
                                      <p:cBhvr>
                                        <p:cTn id="34" dur="1" fill="hold">
                                          <p:stCondLst>
                                            <p:cond delay="0"/>
                                          </p:stCondLst>
                                        </p:cTn>
                                        <p:tgtEl>
                                          <p:spTgt spid="43"/>
                                        </p:tgtEl>
                                        <p:attrNameLst>
                                          <p:attrName>style.visibility</p:attrName>
                                        </p:attrNameLst>
                                      </p:cBhvr>
                                      <p:to>
                                        <p:strVal val="visible"/>
                                      </p:to>
                                    </p:set>
                                    <p:animEffect transition="in" filter="fade">
                                      <p:cBhvr>
                                        <p:cTn id="35"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Picture 2">
            <a:extLst>
              <a:ext uri="{FF2B5EF4-FFF2-40B4-BE49-F238E27FC236}">
                <a16:creationId xmlns:a16="http://schemas.microsoft.com/office/drawing/2014/main" id="{B184584E-1CE8-7F77-AA52-86F9A92B10B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5"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4035" name="Group 307">
            <a:extLst>
              <a:ext uri="{FF2B5EF4-FFF2-40B4-BE49-F238E27FC236}">
                <a16:creationId xmlns:a16="http://schemas.microsoft.com/office/drawing/2014/main" id="{8624BCA8-1292-55FF-F876-079E39341641}"/>
              </a:ext>
            </a:extLst>
          </p:cNvPr>
          <p:cNvGrpSpPr>
            <a:grpSpLocks/>
          </p:cNvGrpSpPr>
          <p:nvPr/>
        </p:nvGrpSpPr>
        <p:grpSpPr bwMode="auto">
          <a:xfrm>
            <a:off x="-3175" y="6754813"/>
            <a:ext cx="12195175" cy="114300"/>
            <a:chOff x="-3175" y="4762500"/>
            <a:chExt cx="12195174" cy="2092323"/>
          </a:xfrm>
        </p:grpSpPr>
        <p:sp>
          <p:nvSpPr>
            <p:cNvPr id="50" name="Rectangle 308">
              <a:extLst>
                <a:ext uri="{FF2B5EF4-FFF2-40B4-BE49-F238E27FC236}">
                  <a16:creationId xmlns:a16="http://schemas.microsoft.com/office/drawing/2014/main" id="{2D5A67D9-DC75-A219-61BF-86B2254417BE}"/>
                </a:ext>
              </a:extLst>
            </p:cNvPr>
            <p:cNvSpPr/>
            <p:nvPr/>
          </p:nvSpPr>
          <p:spPr>
            <a:xfrm>
              <a:off x="-3175" y="4762500"/>
              <a:ext cx="2032000" cy="2092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1" name="Rectangle 309">
              <a:extLst>
                <a:ext uri="{FF2B5EF4-FFF2-40B4-BE49-F238E27FC236}">
                  <a16:creationId xmlns:a16="http://schemas.microsoft.com/office/drawing/2014/main" id="{B7241F01-09DE-B060-59F8-DDBABDF34160}"/>
                </a:ext>
              </a:extLst>
            </p:cNvPr>
            <p:cNvSpPr/>
            <p:nvPr/>
          </p:nvSpPr>
          <p:spPr>
            <a:xfrm>
              <a:off x="2027238" y="4762500"/>
              <a:ext cx="2032000" cy="2092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2" name="Rectangle 310">
              <a:extLst>
                <a:ext uri="{FF2B5EF4-FFF2-40B4-BE49-F238E27FC236}">
                  <a16:creationId xmlns:a16="http://schemas.microsoft.com/office/drawing/2014/main" id="{CC66A537-257F-BD3D-B4A4-A0C6313C723C}"/>
                </a:ext>
              </a:extLst>
            </p:cNvPr>
            <p:cNvSpPr/>
            <p:nvPr/>
          </p:nvSpPr>
          <p:spPr>
            <a:xfrm>
              <a:off x="4059238" y="4762500"/>
              <a:ext cx="2032000" cy="2092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3" name="Rectangle 311">
              <a:extLst>
                <a:ext uri="{FF2B5EF4-FFF2-40B4-BE49-F238E27FC236}">
                  <a16:creationId xmlns:a16="http://schemas.microsoft.com/office/drawing/2014/main" id="{0848FAFF-7BAC-845C-8969-8B560060142B}"/>
                </a:ext>
              </a:extLst>
            </p:cNvPr>
            <p:cNvSpPr/>
            <p:nvPr/>
          </p:nvSpPr>
          <p:spPr>
            <a:xfrm>
              <a:off x="6089650" y="4762500"/>
              <a:ext cx="2032000" cy="2092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4" name="Rectangle 312">
              <a:extLst>
                <a:ext uri="{FF2B5EF4-FFF2-40B4-BE49-F238E27FC236}">
                  <a16:creationId xmlns:a16="http://schemas.microsoft.com/office/drawing/2014/main" id="{6DA8B1DC-6CA8-6E58-9EFA-E2F568547400}"/>
                </a:ext>
              </a:extLst>
            </p:cNvPr>
            <p:cNvSpPr/>
            <p:nvPr/>
          </p:nvSpPr>
          <p:spPr>
            <a:xfrm>
              <a:off x="8118474" y="4762500"/>
              <a:ext cx="2032000" cy="2092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5" name="Rectangle 313">
              <a:extLst>
                <a:ext uri="{FF2B5EF4-FFF2-40B4-BE49-F238E27FC236}">
                  <a16:creationId xmlns:a16="http://schemas.microsoft.com/office/drawing/2014/main" id="{326CFB1C-8E28-AB83-FDE3-F10F134F1531}"/>
                </a:ext>
              </a:extLst>
            </p:cNvPr>
            <p:cNvSpPr/>
            <p:nvPr/>
          </p:nvSpPr>
          <p:spPr>
            <a:xfrm>
              <a:off x="10148887" y="4762500"/>
              <a:ext cx="2043112" cy="20923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4" name="Grup 3">
            <a:extLst>
              <a:ext uri="{FF2B5EF4-FFF2-40B4-BE49-F238E27FC236}">
                <a16:creationId xmlns:a16="http://schemas.microsoft.com/office/drawing/2014/main" id="{1FDC454A-EFBC-56A2-2E4C-B81E117DA4A9}"/>
              </a:ext>
            </a:extLst>
          </p:cNvPr>
          <p:cNvGrpSpPr/>
          <p:nvPr/>
        </p:nvGrpSpPr>
        <p:grpSpPr>
          <a:xfrm>
            <a:off x="-1" y="4683511"/>
            <a:ext cx="12192001" cy="2071339"/>
            <a:chOff x="1524000" y="2923828"/>
            <a:chExt cx="9144000" cy="3462547"/>
          </a:xfrm>
          <a:pattFill prst="pct50">
            <a:fgClr>
              <a:schemeClr val="bg1">
                <a:lumMod val="85000"/>
              </a:schemeClr>
            </a:fgClr>
            <a:bgClr>
              <a:schemeClr val="bg1">
                <a:lumMod val="75000"/>
              </a:schemeClr>
            </a:bgClr>
          </a:pattFill>
        </p:grpSpPr>
        <p:sp>
          <p:nvSpPr>
            <p:cNvPr id="6" name="Freeform 13">
              <a:extLst>
                <a:ext uri="{FF2B5EF4-FFF2-40B4-BE49-F238E27FC236}">
                  <a16:creationId xmlns:a16="http://schemas.microsoft.com/office/drawing/2014/main" id="{660BFFCF-AB9F-F984-6DA1-BDFC427C4209}"/>
                </a:ext>
              </a:extLst>
            </p:cNvPr>
            <p:cNvSpPr>
              <a:spLocks/>
            </p:cNvSpPr>
            <p:nvPr/>
          </p:nvSpPr>
          <p:spPr bwMode="auto">
            <a:xfrm>
              <a:off x="9147376" y="3870048"/>
              <a:ext cx="1520624" cy="1111867"/>
            </a:xfrm>
            <a:custGeom>
              <a:avLst/>
              <a:gdLst>
                <a:gd name="T0" fmla="*/ 1230 w 1276"/>
                <a:gd name="T1" fmla="*/ 748 h 933"/>
                <a:gd name="T2" fmla="*/ 1221 w 1276"/>
                <a:gd name="T3" fmla="*/ 748 h 933"/>
                <a:gd name="T4" fmla="*/ 1206 w 1276"/>
                <a:gd name="T5" fmla="*/ 748 h 933"/>
                <a:gd name="T6" fmla="*/ 1211 w 1276"/>
                <a:gd name="T7" fmla="*/ 216 h 933"/>
                <a:gd name="T8" fmla="*/ 1218 w 1276"/>
                <a:gd name="T9" fmla="*/ 216 h 933"/>
                <a:gd name="T10" fmla="*/ 1221 w 1276"/>
                <a:gd name="T11" fmla="*/ 214 h 933"/>
                <a:gd name="T12" fmla="*/ 1218 w 1276"/>
                <a:gd name="T13" fmla="*/ 185 h 933"/>
                <a:gd name="T14" fmla="*/ 1206 w 1276"/>
                <a:gd name="T15" fmla="*/ 182 h 933"/>
                <a:gd name="T16" fmla="*/ 1192 w 1276"/>
                <a:gd name="T17" fmla="*/ 180 h 933"/>
                <a:gd name="T18" fmla="*/ 1182 w 1276"/>
                <a:gd name="T19" fmla="*/ 0 h 933"/>
                <a:gd name="T20" fmla="*/ 1172 w 1276"/>
                <a:gd name="T21" fmla="*/ 180 h 933"/>
                <a:gd name="T22" fmla="*/ 1158 w 1276"/>
                <a:gd name="T23" fmla="*/ 180 h 933"/>
                <a:gd name="T24" fmla="*/ 1143 w 1276"/>
                <a:gd name="T25" fmla="*/ 182 h 933"/>
                <a:gd name="T26" fmla="*/ 1141 w 1276"/>
                <a:gd name="T27" fmla="*/ 212 h 933"/>
                <a:gd name="T28" fmla="*/ 1143 w 1276"/>
                <a:gd name="T29" fmla="*/ 214 h 933"/>
                <a:gd name="T30" fmla="*/ 1151 w 1276"/>
                <a:gd name="T31" fmla="*/ 214 h 933"/>
                <a:gd name="T32" fmla="*/ 1071 w 1276"/>
                <a:gd name="T33" fmla="*/ 659 h 933"/>
                <a:gd name="T34" fmla="*/ 659 w 1276"/>
                <a:gd name="T35" fmla="*/ 496 h 933"/>
                <a:gd name="T36" fmla="*/ 666 w 1276"/>
                <a:gd name="T37" fmla="*/ 491 h 933"/>
                <a:gd name="T38" fmla="*/ 611 w 1276"/>
                <a:gd name="T39" fmla="*/ 430 h 933"/>
                <a:gd name="T40" fmla="*/ 620 w 1276"/>
                <a:gd name="T41" fmla="*/ 425 h 933"/>
                <a:gd name="T42" fmla="*/ 606 w 1276"/>
                <a:gd name="T43" fmla="*/ 420 h 933"/>
                <a:gd name="T44" fmla="*/ 608 w 1276"/>
                <a:gd name="T45" fmla="*/ 406 h 933"/>
                <a:gd name="T46" fmla="*/ 606 w 1276"/>
                <a:gd name="T47" fmla="*/ 389 h 933"/>
                <a:gd name="T48" fmla="*/ 594 w 1276"/>
                <a:gd name="T49" fmla="*/ 379 h 933"/>
                <a:gd name="T50" fmla="*/ 586 w 1276"/>
                <a:gd name="T51" fmla="*/ 377 h 933"/>
                <a:gd name="T52" fmla="*/ 569 w 1276"/>
                <a:gd name="T53" fmla="*/ 377 h 933"/>
                <a:gd name="T54" fmla="*/ 562 w 1276"/>
                <a:gd name="T55" fmla="*/ 379 h 933"/>
                <a:gd name="T56" fmla="*/ 552 w 1276"/>
                <a:gd name="T57" fmla="*/ 391 h 933"/>
                <a:gd name="T58" fmla="*/ 548 w 1276"/>
                <a:gd name="T59" fmla="*/ 399 h 933"/>
                <a:gd name="T60" fmla="*/ 548 w 1276"/>
                <a:gd name="T61" fmla="*/ 413 h 933"/>
                <a:gd name="T62" fmla="*/ 552 w 1276"/>
                <a:gd name="T63" fmla="*/ 423 h 933"/>
                <a:gd name="T64" fmla="*/ 538 w 1276"/>
                <a:gd name="T65" fmla="*/ 425 h 933"/>
                <a:gd name="T66" fmla="*/ 548 w 1276"/>
                <a:gd name="T67" fmla="*/ 430 h 933"/>
                <a:gd name="T68" fmla="*/ 519 w 1276"/>
                <a:gd name="T69" fmla="*/ 491 h 933"/>
                <a:gd name="T70" fmla="*/ 412 w 1276"/>
                <a:gd name="T71" fmla="*/ 491 h 933"/>
                <a:gd name="T72" fmla="*/ 402 w 1276"/>
                <a:gd name="T73" fmla="*/ 491 h 933"/>
                <a:gd name="T74" fmla="*/ 359 w 1276"/>
                <a:gd name="T75" fmla="*/ 464 h 933"/>
                <a:gd name="T76" fmla="*/ 366 w 1276"/>
                <a:gd name="T77" fmla="*/ 459 h 933"/>
                <a:gd name="T78" fmla="*/ 204 w 1276"/>
                <a:gd name="T79" fmla="*/ 447 h 933"/>
                <a:gd name="T80" fmla="*/ 194 w 1276"/>
                <a:gd name="T81" fmla="*/ 416 h 933"/>
                <a:gd name="T82" fmla="*/ 177 w 1276"/>
                <a:gd name="T83" fmla="*/ 391 h 933"/>
                <a:gd name="T84" fmla="*/ 155 w 1276"/>
                <a:gd name="T85" fmla="*/ 369 h 933"/>
                <a:gd name="T86" fmla="*/ 141 w 1276"/>
                <a:gd name="T87" fmla="*/ 360 h 933"/>
                <a:gd name="T88" fmla="*/ 114 w 1276"/>
                <a:gd name="T89" fmla="*/ 350 h 933"/>
                <a:gd name="T90" fmla="*/ 112 w 1276"/>
                <a:gd name="T91" fmla="*/ 348 h 933"/>
                <a:gd name="T92" fmla="*/ 97 w 1276"/>
                <a:gd name="T93" fmla="*/ 345 h 933"/>
                <a:gd name="T94" fmla="*/ 92 w 1276"/>
                <a:gd name="T95" fmla="*/ 345 h 933"/>
                <a:gd name="T96" fmla="*/ 88 w 1276"/>
                <a:gd name="T97" fmla="*/ 345 h 933"/>
                <a:gd name="T98" fmla="*/ 78 w 1276"/>
                <a:gd name="T99" fmla="*/ 263 h 933"/>
                <a:gd name="T100" fmla="*/ 73 w 1276"/>
                <a:gd name="T101" fmla="*/ 345 h 933"/>
                <a:gd name="T102" fmla="*/ 68 w 1276"/>
                <a:gd name="T103" fmla="*/ 345 h 933"/>
                <a:gd name="T104" fmla="*/ 51 w 1276"/>
                <a:gd name="T105" fmla="*/ 348 h 933"/>
                <a:gd name="T106" fmla="*/ 51 w 1276"/>
                <a:gd name="T107" fmla="*/ 348 h 933"/>
                <a:gd name="T108" fmla="*/ 37 w 1276"/>
                <a:gd name="T109" fmla="*/ 355 h 933"/>
                <a:gd name="T110" fmla="*/ 22 w 1276"/>
                <a:gd name="T111" fmla="*/ 360 h 933"/>
                <a:gd name="T112" fmla="*/ 0 w 1276"/>
                <a:gd name="T113" fmla="*/ 374 h 933"/>
                <a:gd name="T114" fmla="*/ 1276 w 1276"/>
                <a:gd name="T115" fmla="*/ 933 h 933"/>
                <a:gd name="T116" fmla="*/ 1233 w 1276"/>
                <a:gd name="T117" fmla="*/ 739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76" h="933">
                  <a:moveTo>
                    <a:pt x="1233" y="746"/>
                  </a:moveTo>
                  <a:lnTo>
                    <a:pt x="1230" y="748"/>
                  </a:lnTo>
                  <a:lnTo>
                    <a:pt x="1228" y="748"/>
                  </a:lnTo>
                  <a:lnTo>
                    <a:pt x="1221" y="748"/>
                  </a:lnTo>
                  <a:lnTo>
                    <a:pt x="1216" y="748"/>
                  </a:lnTo>
                  <a:lnTo>
                    <a:pt x="1206" y="748"/>
                  </a:lnTo>
                  <a:lnTo>
                    <a:pt x="1206" y="741"/>
                  </a:lnTo>
                  <a:lnTo>
                    <a:pt x="1211" y="216"/>
                  </a:lnTo>
                  <a:lnTo>
                    <a:pt x="1213" y="216"/>
                  </a:lnTo>
                  <a:lnTo>
                    <a:pt x="1218" y="216"/>
                  </a:lnTo>
                  <a:lnTo>
                    <a:pt x="1221" y="214"/>
                  </a:lnTo>
                  <a:lnTo>
                    <a:pt x="1221" y="214"/>
                  </a:lnTo>
                  <a:lnTo>
                    <a:pt x="1221" y="185"/>
                  </a:lnTo>
                  <a:lnTo>
                    <a:pt x="1218" y="185"/>
                  </a:lnTo>
                  <a:lnTo>
                    <a:pt x="1213" y="182"/>
                  </a:lnTo>
                  <a:lnTo>
                    <a:pt x="1206" y="182"/>
                  </a:lnTo>
                  <a:lnTo>
                    <a:pt x="1197" y="180"/>
                  </a:lnTo>
                  <a:lnTo>
                    <a:pt x="1192" y="180"/>
                  </a:lnTo>
                  <a:lnTo>
                    <a:pt x="1192" y="93"/>
                  </a:lnTo>
                  <a:lnTo>
                    <a:pt x="1182" y="0"/>
                  </a:lnTo>
                  <a:lnTo>
                    <a:pt x="1175" y="90"/>
                  </a:lnTo>
                  <a:lnTo>
                    <a:pt x="1172" y="180"/>
                  </a:lnTo>
                  <a:lnTo>
                    <a:pt x="1165" y="180"/>
                  </a:lnTo>
                  <a:lnTo>
                    <a:pt x="1158" y="180"/>
                  </a:lnTo>
                  <a:lnTo>
                    <a:pt x="1151" y="180"/>
                  </a:lnTo>
                  <a:lnTo>
                    <a:pt x="1143" y="182"/>
                  </a:lnTo>
                  <a:lnTo>
                    <a:pt x="1141" y="182"/>
                  </a:lnTo>
                  <a:lnTo>
                    <a:pt x="1141" y="212"/>
                  </a:lnTo>
                  <a:lnTo>
                    <a:pt x="1141" y="212"/>
                  </a:lnTo>
                  <a:lnTo>
                    <a:pt x="1143" y="214"/>
                  </a:lnTo>
                  <a:lnTo>
                    <a:pt x="1148" y="214"/>
                  </a:lnTo>
                  <a:lnTo>
                    <a:pt x="1151" y="214"/>
                  </a:lnTo>
                  <a:lnTo>
                    <a:pt x="1146" y="714"/>
                  </a:lnTo>
                  <a:lnTo>
                    <a:pt x="1071" y="659"/>
                  </a:lnTo>
                  <a:lnTo>
                    <a:pt x="661" y="651"/>
                  </a:lnTo>
                  <a:lnTo>
                    <a:pt x="659" y="496"/>
                  </a:lnTo>
                  <a:lnTo>
                    <a:pt x="666" y="496"/>
                  </a:lnTo>
                  <a:lnTo>
                    <a:pt x="666" y="491"/>
                  </a:lnTo>
                  <a:lnTo>
                    <a:pt x="611" y="491"/>
                  </a:lnTo>
                  <a:lnTo>
                    <a:pt x="611" y="430"/>
                  </a:lnTo>
                  <a:lnTo>
                    <a:pt x="620" y="428"/>
                  </a:lnTo>
                  <a:lnTo>
                    <a:pt x="620" y="425"/>
                  </a:lnTo>
                  <a:lnTo>
                    <a:pt x="603" y="423"/>
                  </a:lnTo>
                  <a:lnTo>
                    <a:pt x="606" y="420"/>
                  </a:lnTo>
                  <a:lnTo>
                    <a:pt x="608" y="413"/>
                  </a:lnTo>
                  <a:lnTo>
                    <a:pt x="608" y="406"/>
                  </a:lnTo>
                  <a:lnTo>
                    <a:pt x="608" y="399"/>
                  </a:lnTo>
                  <a:lnTo>
                    <a:pt x="606" y="389"/>
                  </a:lnTo>
                  <a:lnTo>
                    <a:pt x="601" y="384"/>
                  </a:lnTo>
                  <a:lnTo>
                    <a:pt x="594" y="379"/>
                  </a:lnTo>
                  <a:lnTo>
                    <a:pt x="586" y="377"/>
                  </a:lnTo>
                  <a:lnTo>
                    <a:pt x="586" y="377"/>
                  </a:lnTo>
                  <a:lnTo>
                    <a:pt x="577" y="374"/>
                  </a:lnTo>
                  <a:lnTo>
                    <a:pt x="569" y="377"/>
                  </a:lnTo>
                  <a:lnTo>
                    <a:pt x="569" y="377"/>
                  </a:lnTo>
                  <a:lnTo>
                    <a:pt x="562" y="379"/>
                  </a:lnTo>
                  <a:lnTo>
                    <a:pt x="557" y="384"/>
                  </a:lnTo>
                  <a:lnTo>
                    <a:pt x="552" y="391"/>
                  </a:lnTo>
                  <a:lnTo>
                    <a:pt x="548" y="399"/>
                  </a:lnTo>
                  <a:lnTo>
                    <a:pt x="548" y="399"/>
                  </a:lnTo>
                  <a:lnTo>
                    <a:pt x="548" y="406"/>
                  </a:lnTo>
                  <a:lnTo>
                    <a:pt x="548" y="413"/>
                  </a:lnTo>
                  <a:lnTo>
                    <a:pt x="552" y="420"/>
                  </a:lnTo>
                  <a:lnTo>
                    <a:pt x="552" y="423"/>
                  </a:lnTo>
                  <a:lnTo>
                    <a:pt x="552" y="423"/>
                  </a:lnTo>
                  <a:lnTo>
                    <a:pt x="538" y="425"/>
                  </a:lnTo>
                  <a:lnTo>
                    <a:pt x="538" y="430"/>
                  </a:lnTo>
                  <a:lnTo>
                    <a:pt x="548" y="430"/>
                  </a:lnTo>
                  <a:lnTo>
                    <a:pt x="550" y="491"/>
                  </a:lnTo>
                  <a:lnTo>
                    <a:pt x="519" y="491"/>
                  </a:lnTo>
                  <a:lnTo>
                    <a:pt x="509" y="491"/>
                  </a:lnTo>
                  <a:lnTo>
                    <a:pt x="412" y="491"/>
                  </a:lnTo>
                  <a:lnTo>
                    <a:pt x="412" y="491"/>
                  </a:lnTo>
                  <a:lnTo>
                    <a:pt x="402" y="491"/>
                  </a:lnTo>
                  <a:lnTo>
                    <a:pt x="359" y="491"/>
                  </a:lnTo>
                  <a:lnTo>
                    <a:pt x="359" y="464"/>
                  </a:lnTo>
                  <a:lnTo>
                    <a:pt x="366" y="464"/>
                  </a:lnTo>
                  <a:lnTo>
                    <a:pt x="366" y="459"/>
                  </a:lnTo>
                  <a:lnTo>
                    <a:pt x="206" y="459"/>
                  </a:lnTo>
                  <a:lnTo>
                    <a:pt x="204" y="447"/>
                  </a:lnTo>
                  <a:lnTo>
                    <a:pt x="201" y="430"/>
                  </a:lnTo>
                  <a:lnTo>
                    <a:pt x="194" y="416"/>
                  </a:lnTo>
                  <a:lnTo>
                    <a:pt x="187" y="403"/>
                  </a:lnTo>
                  <a:lnTo>
                    <a:pt x="177" y="391"/>
                  </a:lnTo>
                  <a:lnTo>
                    <a:pt x="167" y="379"/>
                  </a:lnTo>
                  <a:lnTo>
                    <a:pt x="155" y="369"/>
                  </a:lnTo>
                  <a:lnTo>
                    <a:pt x="141" y="362"/>
                  </a:lnTo>
                  <a:lnTo>
                    <a:pt x="141" y="360"/>
                  </a:lnTo>
                  <a:lnTo>
                    <a:pt x="126" y="355"/>
                  </a:lnTo>
                  <a:lnTo>
                    <a:pt x="114" y="350"/>
                  </a:lnTo>
                  <a:lnTo>
                    <a:pt x="114" y="348"/>
                  </a:lnTo>
                  <a:lnTo>
                    <a:pt x="112" y="348"/>
                  </a:lnTo>
                  <a:lnTo>
                    <a:pt x="112" y="348"/>
                  </a:lnTo>
                  <a:lnTo>
                    <a:pt x="97" y="345"/>
                  </a:lnTo>
                  <a:lnTo>
                    <a:pt x="95" y="345"/>
                  </a:lnTo>
                  <a:lnTo>
                    <a:pt x="92" y="345"/>
                  </a:lnTo>
                  <a:lnTo>
                    <a:pt x="90" y="345"/>
                  </a:lnTo>
                  <a:lnTo>
                    <a:pt x="88" y="345"/>
                  </a:lnTo>
                  <a:lnTo>
                    <a:pt x="90" y="263"/>
                  </a:lnTo>
                  <a:lnTo>
                    <a:pt x="78" y="263"/>
                  </a:lnTo>
                  <a:lnTo>
                    <a:pt x="75" y="345"/>
                  </a:lnTo>
                  <a:lnTo>
                    <a:pt x="73" y="345"/>
                  </a:lnTo>
                  <a:lnTo>
                    <a:pt x="71" y="345"/>
                  </a:lnTo>
                  <a:lnTo>
                    <a:pt x="68" y="345"/>
                  </a:lnTo>
                  <a:lnTo>
                    <a:pt x="54" y="348"/>
                  </a:lnTo>
                  <a:lnTo>
                    <a:pt x="51" y="348"/>
                  </a:lnTo>
                  <a:lnTo>
                    <a:pt x="51" y="348"/>
                  </a:lnTo>
                  <a:lnTo>
                    <a:pt x="51" y="348"/>
                  </a:lnTo>
                  <a:lnTo>
                    <a:pt x="51" y="350"/>
                  </a:lnTo>
                  <a:lnTo>
                    <a:pt x="37" y="355"/>
                  </a:lnTo>
                  <a:lnTo>
                    <a:pt x="22" y="360"/>
                  </a:lnTo>
                  <a:lnTo>
                    <a:pt x="22" y="360"/>
                  </a:lnTo>
                  <a:lnTo>
                    <a:pt x="8" y="369"/>
                  </a:lnTo>
                  <a:lnTo>
                    <a:pt x="0" y="374"/>
                  </a:lnTo>
                  <a:lnTo>
                    <a:pt x="0" y="933"/>
                  </a:lnTo>
                  <a:lnTo>
                    <a:pt x="1276" y="933"/>
                  </a:lnTo>
                  <a:lnTo>
                    <a:pt x="1276" y="739"/>
                  </a:lnTo>
                  <a:lnTo>
                    <a:pt x="1233" y="739"/>
                  </a:lnTo>
                  <a:lnTo>
                    <a:pt x="1233" y="746"/>
                  </a:ln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mn-lt"/>
              </a:endParaRPr>
            </a:p>
          </p:txBody>
        </p:sp>
        <p:sp>
          <p:nvSpPr>
            <p:cNvPr id="7" name="Freeform 14">
              <a:extLst>
                <a:ext uri="{FF2B5EF4-FFF2-40B4-BE49-F238E27FC236}">
                  <a16:creationId xmlns:a16="http://schemas.microsoft.com/office/drawing/2014/main" id="{4998DED5-B466-31A8-1DEB-D65E37A36A20}"/>
                </a:ext>
              </a:extLst>
            </p:cNvPr>
            <p:cNvSpPr>
              <a:spLocks noEditPoints="1"/>
            </p:cNvSpPr>
            <p:nvPr/>
          </p:nvSpPr>
          <p:spPr bwMode="auto">
            <a:xfrm>
              <a:off x="7620795" y="3103778"/>
              <a:ext cx="1526583" cy="1878137"/>
            </a:xfrm>
            <a:custGeom>
              <a:avLst/>
              <a:gdLst>
                <a:gd name="T0" fmla="*/ 1247 w 1281"/>
                <a:gd name="T1" fmla="*/ 1059 h 1576"/>
                <a:gd name="T2" fmla="*/ 1063 w 1281"/>
                <a:gd name="T3" fmla="*/ 1107 h 1576"/>
                <a:gd name="T4" fmla="*/ 1010 w 1281"/>
                <a:gd name="T5" fmla="*/ 634 h 1576"/>
                <a:gd name="T6" fmla="*/ 879 w 1281"/>
                <a:gd name="T7" fmla="*/ 801 h 1576"/>
                <a:gd name="T8" fmla="*/ 831 w 1281"/>
                <a:gd name="T9" fmla="*/ 306 h 1576"/>
                <a:gd name="T10" fmla="*/ 882 w 1281"/>
                <a:gd name="T11" fmla="*/ 296 h 1576"/>
                <a:gd name="T12" fmla="*/ 882 w 1281"/>
                <a:gd name="T13" fmla="*/ 264 h 1576"/>
                <a:gd name="T14" fmla="*/ 884 w 1281"/>
                <a:gd name="T15" fmla="*/ 245 h 1576"/>
                <a:gd name="T16" fmla="*/ 879 w 1281"/>
                <a:gd name="T17" fmla="*/ 89 h 1576"/>
                <a:gd name="T18" fmla="*/ 877 w 1281"/>
                <a:gd name="T19" fmla="*/ 143 h 1576"/>
                <a:gd name="T20" fmla="*/ 795 w 1281"/>
                <a:gd name="T21" fmla="*/ 111 h 1576"/>
                <a:gd name="T22" fmla="*/ 790 w 1281"/>
                <a:gd name="T23" fmla="*/ 145 h 1576"/>
                <a:gd name="T24" fmla="*/ 710 w 1281"/>
                <a:gd name="T25" fmla="*/ 114 h 1576"/>
                <a:gd name="T26" fmla="*/ 703 w 1281"/>
                <a:gd name="T27" fmla="*/ 89 h 1576"/>
                <a:gd name="T28" fmla="*/ 623 w 1281"/>
                <a:gd name="T29" fmla="*/ 153 h 1576"/>
                <a:gd name="T30" fmla="*/ 615 w 1281"/>
                <a:gd name="T31" fmla="*/ 153 h 1576"/>
                <a:gd name="T32" fmla="*/ 615 w 1281"/>
                <a:gd name="T33" fmla="*/ 89 h 1576"/>
                <a:gd name="T34" fmla="*/ 536 w 1281"/>
                <a:gd name="T35" fmla="*/ 153 h 1576"/>
                <a:gd name="T36" fmla="*/ 528 w 1281"/>
                <a:gd name="T37" fmla="*/ 153 h 1576"/>
                <a:gd name="T38" fmla="*/ 526 w 1281"/>
                <a:gd name="T39" fmla="*/ 0 h 1576"/>
                <a:gd name="T40" fmla="*/ 521 w 1281"/>
                <a:gd name="T41" fmla="*/ 145 h 1576"/>
                <a:gd name="T42" fmla="*/ 499 w 1281"/>
                <a:gd name="T43" fmla="*/ 189 h 1576"/>
                <a:gd name="T44" fmla="*/ 468 w 1281"/>
                <a:gd name="T45" fmla="*/ 191 h 1576"/>
                <a:gd name="T46" fmla="*/ 448 w 1281"/>
                <a:gd name="T47" fmla="*/ 191 h 1576"/>
                <a:gd name="T48" fmla="*/ 429 w 1281"/>
                <a:gd name="T49" fmla="*/ 194 h 1576"/>
                <a:gd name="T50" fmla="*/ 412 w 1281"/>
                <a:gd name="T51" fmla="*/ 196 h 1576"/>
                <a:gd name="T52" fmla="*/ 395 w 1281"/>
                <a:gd name="T53" fmla="*/ 199 h 1576"/>
                <a:gd name="T54" fmla="*/ 366 w 1281"/>
                <a:gd name="T55" fmla="*/ 206 h 1576"/>
                <a:gd name="T56" fmla="*/ 354 w 1281"/>
                <a:gd name="T57" fmla="*/ 208 h 1576"/>
                <a:gd name="T58" fmla="*/ 347 w 1281"/>
                <a:gd name="T59" fmla="*/ 213 h 1576"/>
                <a:gd name="T60" fmla="*/ 342 w 1281"/>
                <a:gd name="T61" fmla="*/ 216 h 1576"/>
                <a:gd name="T62" fmla="*/ 342 w 1281"/>
                <a:gd name="T63" fmla="*/ 216 h 1576"/>
                <a:gd name="T64" fmla="*/ 337 w 1281"/>
                <a:gd name="T65" fmla="*/ 221 h 1576"/>
                <a:gd name="T66" fmla="*/ 339 w 1281"/>
                <a:gd name="T67" fmla="*/ 228 h 1576"/>
                <a:gd name="T68" fmla="*/ 337 w 1281"/>
                <a:gd name="T69" fmla="*/ 223 h 1576"/>
                <a:gd name="T70" fmla="*/ 337 w 1281"/>
                <a:gd name="T71" fmla="*/ 228 h 1576"/>
                <a:gd name="T72" fmla="*/ 339 w 1281"/>
                <a:gd name="T73" fmla="*/ 230 h 1576"/>
                <a:gd name="T74" fmla="*/ 342 w 1281"/>
                <a:gd name="T75" fmla="*/ 233 h 1576"/>
                <a:gd name="T76" fmla="*/ 344 w 1281"/>
                <a:gd name="T77" fmla="*/ 238 h 1576"/>
                <a:gd name="T78" fmla="*/ 352 w 1281"/>
                <a:gd name="T79" fmla="*/ 240 h 1576"/>
                <a:gd name="T80" fmla="*/ 359 w 1281"/>
                <a:gd name="T81" fmla="*/ 242 h 1576"/>
                <a:gd name="T82" fmla="*/ 368 w 1281"/>
                <a:gd name="T83" fmla="*/ 245 h 1576"/>
                <a:gd name="T84" fmla="*/ 378 w 1281"/>
                <a:gd name="T85" fmla="*/ 247 h 1576"/>
                <a:gd name="T86" fmla="*/ 390 w 1281"/>
                <a:gd name="T87" fmla="*/ 250 h 1576"/>
                <a:gd name="T88" fmla="*/ 400 w 1281"/>
                <a:gd name="T89" fmla="*/ 252 h 1576"/>
                <a:gd name="T90" fmla="*/ 402 w 1281"/>
                <a:gd name="T91" fmla="*/ 310 h 1576"/>
                <a:gd name="T92" fmla="*/ 402 w 1281"/>
                <a:gd name="T93" fmla="*/ 371 h 1576"/>
                <a:gd name="T94" fmla="*/ 402 w 1281"/>
                <a:gd name="T95" fmla="*/ 400 h 1576"/>
                <a:gd name="T96" fmla="*/ 400 w 1281"/>
                <a:gd name="T97" fmla="*/ 1260 h 1576"/>
                <a:gd name="T98" fmla="*/ 90 w 1281"/>
                <a:gd name="T99" fmla="*/ 383 h 1576"/>
                <a:gd name="T100" fmla="*/ 10 w 1281"/>
                <a:gd name="T101" fmla="*/ 1224 h 1576"/>
                <a:gd name="T102" fmla="*/ 1281 w 1281"/>
                <a:gd name="T103" fmla="*/ 1576 h 1576"/>
                <a:gd name="T104" fmla="*/ 352 w 1281"/>
                <a:gd name="T105" fmla="*/ 228 h 1576"/>
                <a:gd name="T106" fmla="*/ 342 w 1281"/>
                <a:gd name="T107" fmla="*/ 225 h 1576"/>
                <a:gd name="T108" fmla="*/ 342 w 1281"/>
                <a:gd name="T109" fmla="*/ 228 h 1576"/>
                <a:gd name="T110" fmla="*/ 410 w 1281"/>
                <a:gd name="T111" fmla="*/ 199 h 1576"/>
                <a:gd name="T112" fmla="*/ 412 w 1281"/>
                <a:gd name="T113" fmla="*/ 206 h 1576"/>
                <a:gd name="T114" fmla="*/ 419 w 1281"/>
                <a:gd name="T115" fmla="*/ 211 h 1576"/>
                <a:gd name="T116" fmla="*/ 427 w 1281"/>
                <a:gd name="T117" fmla="*/ 196 h 1576"/>
                <a:gd name="T118" fmla="*/ 429 w 1281"/>
                <a:gd name="T119" fmla="*/ 204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81" h="1576">
                  <a:moveTo>
                    <a:pt x="1281" y="1017"/>
                  </a:moveTo>
                  <a:lnTo>
                    <a:pt x="1277" y="1022"/>
                  </a:lnTo>
                  <a:lnTo>
                    <a:pt x="1264" y="1032"/>
                  </a:lnTo>
                  <a:lnTo>
                    <a:pt x="1255" y="1044"/>
                  </a:lnTo>
                  <a:lnTo>
                    <a:pt x="1247" y="1059"/>
                  </a:lnTo>
                  <a:lnTo>
                    <a:pt x="1240" y="1073"/>
                  </a:lnTo>
                  <a:lnTo>
                    <a:pt x="1235" y="1090"/>
                  </a:lnTo>
                  <a:lnTo>
                    <a:pt x="1235" y="1102"/>
                  </a:lnTo>
                  <a:lnTo>
                    <a:pt x="1063" y="1102"/>
                  </a:lnTo>
                  <a:lnTo>
                    <a:pt x="1063" y="1107"/>
                  </a:lnTo>
                  <a:lnTo>
                    <a:pt x="1071" y="1107"/>
                  </a:lnTo>
                  <a:lnTo>
                    <a:pt x="1071" y="1134"/>
                  </a:lnTo>
                  <a:lnTo>
                    <a:pt x="1051" y="1134"/>
                  </a:lnTo>
                  <a:lnTo>
                    <a:pt x="1051" y="634"/>
                  </a:lnTo>
                  <a:lnTo>
                    <a:pt x="1010" y="634"/>
                  </a:lnTo>
                  <a:lnTo>
                    <a:pt x="1010" y="602"/>
                  </a:lnTo>
                  <a:lnTo>
                    <a:pt x="925" y="602"/>
                  </a:lnTo>
                  <a:lnTo>
                    <a:pt x="925" y="634"/>
                  </a:lnTo>
                  <a:lnTo>
                    <a:pt x="879" y="634"/>
                  </a:lnTo>
                  <a:lnTo>
                    <a:pt x="879" y="801"/>
                  </a:lnTo>
                  <a:lnTo>
                    <a:pt x="848" y="801"/>
                  </a:lnTo>
                  <a:lnTo>
                    <a:pt x="848" y="825"/>
                  </a:lnTo>
                  <a:lnTo>
                    <a:pt x="831" y="825"/>
                  </a:lnTo>
                  <a:lnTo>
                    <a:pt x="831" y="495"/>
                  </a:lnTo>
                  <a:lnTo>
                    <a:pt x="831" y="306"/>
                  </a:lnTo>
                  <a:lnTo>
                    <a:pt x="872" y="306"/>
                  </a:lnTo>
                  <a:lnTo>
                    <a:pt x="872" y="306"/>
                  </a:lnTo>
                  <a:lnTo>
                    <a:pt x="872" y="306"/>
                  </a:lnTo>
                  <a:lnTo>
                    <a:pt x="882" y="306"/>
                  </a:lnTo>
                  <a:lnTo>
                    <a:pt x="882" y="296"/>
                  </a:lnTo>
                  <a:lnTo>
                    <a:pt x="884" y="296"/>
                  </a:lnTo>
                  <a:lnTo>
                    <a:pt x="887" y="289"/>
                  </a:lnTo>
                  <a:lnTo>
                    <a:pt x="887" y="281"/>
                  </a:lnTo>
                  <a:lnTo>
                    <a:pt x="882" y="281"/>
                  </a:lnTo>
                  <a:lnTo>
                    <a:pt x="882" y="264"/>
                  </a:lnTo>
                  <a:lnTo>
                    <a:pt x="884" y="264"/>
                  </a:lnTo>
                  <a:lnTo>
                    <a:pt x="884" y="262"/>
                  </a:lnTo>
                  <a:lnTo>
                    <a:pt x="884" y="247"/>
                  </a:lnTo>
                  <a:lnTo>
                    <a:pt x="884" y="247"/>
                  </a:lnTo>
                  <a:lnTo>
                    <a:pt x="884" y="245"/>
                  </a:lnTo>
                  <a:lnTo>
                    <a:pt x="884" y="143"/>
                  </a:lnTo>
                  <a:lnTo>
                    <a:pt x="882" y="143"/>
                  </a:lnTo>
                  <a:lnTo>
                    <a:pt x="882" y="89"/>
                  </a:lnTo>
                  <a:lnTo>
                    <a:pt x="879" y="89"/>
                  </a:lnTo>
                  <a:lnTo>
                    <a:pt x="879" y="89"/>
                  </a:lnTo>
                  <a:lnTo>
                    <a:pt x="879" y="111"/>
                  </a:lnTo>
                  <a:lnTo>
                    <a:pt x="877" y="111"/>
                  </a:lnTo>
                  <a:lnTo>
                    <a:pt x="877" y="111"/>
                  </a:lnTo>
                  <a:lnTo>
                    <a:pt x="877" y="143"/>
                  </a:lnTo>
                  <a:lnTo>
                    <a:pt x="877" y="143"/>
                  </a:lnTo>
                  <a:lnTo>
                    <a:pt x="877" y="145"/>
                  </a:lnTo>
                  <a:lnTo>
                    <a:pt x="877" y="150"/>
                  </a:lnTo>
                  <a:lnTo>
                    <a:pt x="795" y="150"/>
                  </a:lnTo>
                  <a:lnTo>
                    <a:pt x="795" y="114"/>
                  </a:lnTo>
                  <a:lnTo>
                    <a:pt x="795" y="111"/>
                  </a:lnTo>
                  <a:lnTo>
                    <a:pt x="792" y="111"/>
                  </a:lnTo>
                  <a:lnTo>
                    <a:pt x="792" y="89"/>
                  </a:lnTo>
                  <a:lnTo>
                    <a:pt x="792" y="89"/>
                  </a:lnTo>
                  <a:lnTo>
                    <a:pt x="790" y="89"/>
                  </a:lnTo>
                  <a:lnTo>
                    <a:pt x="790" y="145"/>
                  </a:lnTo>
                  <a:lnTo>
                    <a:pt x="787" y="145"/>
                  </a:lnTo>
                  <a:lnTo>
                    <a:pt x="787" y="150"/>
                  </a:lnTo>
                  <a:lnTo>
                    <a:pt x="710" y="150"/>
                  </a:lnTo>
                  <a:lnTo>
                    <a:pt x="710" y="114"/>
                  </a:lnTo>
                  <a:lnTo>
                    <a:pt x="710" y="114"/>
                  </a:lnTo>
                  <a:lnTo>
                    <a:pt x="705" y="114"/>
                  </a:lnTo>
                  <a:lnTo>
                    <a:pt x="705" y="145"/>
                  </a:lnTo>
                  <a:lnTo>
                    <a:pt x="705" y="145"/>
                  </a:lnTo>
                  <a:lnTo>
                    <a:pt x="705" y="89"/>
                  </a:lnTo>
                  <a:lnTo>
                    <a:pt x="703" y="89"/>
                  </a:lnTo>
                  <a:lnTo>
                    <a:pt x="700" y="89"/>
                  </a:lnTo>
                  <a:lnTo>
                    <a:pt x="700" y="145"/>
                  </a:lnTo>
                  <a:lnTo>
                    <a:pt x="698" y="145"/>
                  </a:lnTo>
                  <a:lnTo>
                    <a:pt x="698" y="150"/>
                  </a:lnTo>
                  <a:lnTo>
                    <a:pt x="623" y="153"/>
                  </a:lnTo>
                  <a:lnTo>
                    <a:pt x="623" y="114"/>
                  </a:lnTo>
                  <a:lnTo>
                    <a:pt x="623" y="114"/>
                  </a:lnTo>
                  <a:lnTo>
                    <a:pt x="618" y="114"/>
                  </a:lnTo>
                  <a:lnTo>
                    <a:pt x="618" y="153"/>
                  </a:lnTo>
                  <a:lnTo>
                    <a:pt x="615" y="153"/>
                  </a:lnTo>
                  <a:lnTo>
                    <a:pt x="615" y="148"/>
                  </a:lnTo>
                  <a:lnTo>
                    <a:pt x="615" y="145"/>
                  </a:lnTo>
                  <a:lnTo>
                    <a:pt x="615" y="145"/>
                  </a:lnTo>
                  <a:lnTo>
                    <a:pt x="615" y="92"/>
                  </a:lnTo>
                  <a:lnTo>
                    <a:pt x="615" y="89"/>
                  </a:lnTo>
                  <a:lnTo>
                    <a:pt x="611" y="89"/>
                  </a:lnTo>
                  <a:lnTo>
                    <a:pt x="611" y="145"/>
                  </a:lnTo>
                  <a:lnTo>
                    <a:pt x="608" y="145"/>
                  </a:lnTo>
                  <a:lnTo>
                    <a:pt x="608" y="153"/>
                  </a:lnTo>
                  <a:lnTo>
                    <a:pt x="536" y="153"/>
                  </a:lnTo>
                  <a:lnTo>
                    <a:pt x="536" y="114"/>
                  </a:lnTo>
                  <a:lnTo>
                    <a:pt x="536" y="114"/>
                  </a:lnTo>
                  <a:lnTo>
                    <a:pt x="533" y="114"/>
                  </a:lnTo>
                  <a:lnTo>
                    <a:pt x="533" y="153"/>
                  </a:lnTo>
                  <a:lnTo>
                    <a:pt x="528" y="153"/>
                  </a:lnTo>
                  <a:lnTo>
                    <a:pt x="528" y="148"/>
                  </a:lnTo>
                  <a:lnTo>
                    <a:pt x="526" y="145"/>
                  </a:lnTo>
                  <a:lnTo>
                    <a:pt x="526" y="145"/>
                  </a:lnTo>
                  <a:lnTo>
                    <a:pt x="526" y="2"/>
                  </a:lnTo>
                  <a:lnTo>
                    <a:pt x="526" y="0"/>
                  </a:lnTo>
                  <a:lnTo>
                    <a:pt x="521" y="0"/>
                  </a:lnTo>
                  <a:lnTo>
                    <a:pt x="521" y="92"/>
                  </a:lnTo>
                  <a:lnTo>
                    <a:pt x="521" y="92"/>
                  </a:lnTo>
                  <a:lnTo>
                    <a:pt x="521" y="145"/>
                  </a:lnTo>
                  <a:lnTo>
                    <a:pt x="521" y="145"/>
                  </a:lnTo>
                  <a:lnTo>
                    <a:pt x="521" y="187"/>
                  </a:lnTo>
                  <a:lnTo>
                    <a:pt x="511" y="189"/>
                  </a:lnTo>
                  <a:lnTo>
                    <a:pt x="511" y="189"/>
                  </a:lnTo>
                  <a:lnTo>
                    <a:pt x="509" y="189"/>
                  </a:lnTo>
                  <a:lnTo>
                    <a:pt x="499" y="189"/>
                  </a:lnTo>
                  <a:lnTo>
                    <a:pt x="490" y="189"/>
                  </a:lnTo>
                  <a:lnTo>
                    <a:pt x="490" y="189"/>
                  </a:lnTo>
                  <a:lnTo>
                    <a:pt x="487" y="189"/>
                  </a:lnTo>
                  <a:lnTo>
                    <a:pt x="477" y="189"/>
                  </a:lnTo>
                  <a:lnTo>
                    <a:pt x="468" y="191"/>
                  </a:lnTo>
                  <a:lnTo>
                    <a:pt x="468" y="191"/>
                  </a:lnTo>
                  <a:lnTo>
                    <a:pt x="465" y="191"/>
                  </a:lnTo>
                  <a:lnTo>
                    <a:pt x="465" y="191"/>
                  </a:lnTo>
                  <a:lnTo>
                    <a:pt x="456" y="191"/>
                  </a:lnTo>
                  <a:lnTo>
                    <a:pt x="448" y="191"/>
                  </a:lnTo>
                  <a:lnTo>
                    <a:pt x="448" y="191"/>
                  </a:lnTo>
                  <a:lnTo>
                    <a:pt x="446" y="191"/>
                  </a:lnTo>
                  <a:lnTo>
                    <a:pt x="439" y="194"/>
                  </a:lnTo>
                  <a:lnTo>
                    <a:pt x="429" y="194"/>
                  </a:lnTo>
                  <a:lnTo>
                    <a:pt x="429" y="194"/>
                  </a:lnTo>
                  <a:lnTo>
                    <a:pt x="429" y="194"/>
                  </a:lnTo>
                  <a:lnTo>
                    <a:pt x="419" y="196"/>
                  </a:lnTo>
                  <a:lnTo>
                    <a:pt x="412" y="196"/>
                  </a:lnTo>
                  <a:lnTo>
                    <a:pt x="412" y="196"/>
                  </a:lnTo>
                  <a:lnTo>
                    <a:pt x="412" y="196"/>
                  </a:lnTo>
                  <a:lnTo>
                    <a:pt x="412" y="196"/>
                  </a:lnTo>
                  <a:lnTo>
                    <a:pt x="412" y="196"/>
                  </a:lnTo>
                  <a:lnTo>
                    <a:pt x="405" y="199"/>
                  </a:lnTo>
                  <a:lnTo>
                    <a:pt x="398" y="199"/>
                  </a:lnTo>
                  <a:lnTo>
                    <a:pt x="395" y="199"/>
                  </a:lnTo>
                  <a:lnTo>
                    <a:pt x="390" y="201"/>
                  </a:lnTo>
                  <a:lnTo>
                    <a:pt x="383" y="201"/>
                  </a:lnTo>
                  <a:lnTo>
                    <a:pt x="383" y="201"/>
                  </a:lnTo>
                  <a:lnTo>
                    <a:pt x="376" y="204"/>
                  </a:lnTo>
                  <a:lnTo>
                    <a:pt x="366" y="206"/>
                  </a:lnTo>
                  <a:lnTo>
                    <a:pt x="356" y="208"/>
                  </a:lnTo>
                  <a:lnTo>
                    <a:pt x="354" y="208"/>
                  </a:lnTo>
                  <a:lnTo>
                    <a:pt x="354" y="208"/>
                  </a:lnTo>
                  <a:lnTo>
                    <a:pt x="354" y="208"/>
                  </a:lnTo>
                  <a:lnTo>
                    <a:pt x="354" y="208"/>
                  </a:lnTo>
                  <a:lnTo>
                    <a:pt x="354" y="208"/>
                  </a:lnTo>
                  <a:lnTo>
                    <a:pt x="349" y="211"/>
                  </a:lnTo>
                  <a:lnTo>
                    <a:pt x="349" y="211"/>
                  </a:lnTo>
                  <a:lnTo>
                    <a:pt x="347" y="213"/>
                  </a:lnTo>
                  <a:lnTo>
                    <a:pt x="347" y="213"/>
                  </a:lnTo>
                  <a:lnTo>
                    <a:pt x="347" y="213"/>
                  </a:lnTo>
                  <a:lnTo>
                    <a:pt x="344" y="213"/>
                  </a:lnTo>
                  <a:lnTo>
                    <a:pt x="342" y="216"/>
                  </a:lnTo>
                  <a:lnTo>
                    <a:pt x="342" y="216"/>
                  </a:lnTo>
                  <a:lnTo>
                    <a:pt x="342" y="216"/>
                  </a:lnTo>
                  <a:lnTo>
                    <a:pt x="339" y="218"/>
                  </a:lnTo>
                  <a:lnTo>
                    <a:pt x="339" y="218"/>
                  </a:lnTo>
                  <a:lnTo>
                    <a:pt x="339" y="218"/>
                  </a:lnTo>
                  <a:lnTo>
                    <a:pt x="342" y="216"/>
                  </a:lnTo>
                  <a:lnTo>
                    <a:pt x="342" y="216"/>
                  </a:lnTo>
                  <a:lnTo>
                    <a:pt x="342" y="216"/>
                  </a:lnTo>
                  <a:lnTo>
                    <a:pt x="339" y="218"/>
                  </a:lnTo>
                  <a:lnTo>
                    <a:pt x="339" y="218"/>
                  </a:lnTo>
                  <a:lnTo>
                    <a:pt x="337" y="221"/>
                  </a:lnTo>
                  <a:lnTo>
                    <a:pt x="337" y="221"/>
                  </a:lnTo>
                  <a:lnTo>
                    <a:pt x="337" y="223"/>
                  </a:lnTo>
                  <a:lnTo>
                    <a:pt x="337" y="223"/>
                  </a:lnTo>
                  <a:lnTo>
                    <a:pt x="337" y="225"/>
                  </a:lnTo>
                  <a:lnTo>
                    <a:pt x="337" y="225"/>
                  </a:lnTo>
                  <a:lnTo>
                    <a:pt x="339" y="228"/>
                  </a:lnTo>
                  <a:lnTo>
                    <a:pt x="337" y="225"/>
                  </a:lnTo>
                  <a:lnTo>
                    <a:pt x="337" y="225"/>
                  </a:lnTo>
                  <a:lnTo>
                    <a:pt x="337" y="223"/>
                  </a:lnTo>
                  <a:lnTo>
                    <a:pt x="337" y="223"/>
                  </a:lnTo>
                  <a:lnTo>
                    <a:pt x="337" y="223"/>
                  </a:lnTo>
                  <a:lnTo>
                    <a:pt x="337" y="223"/>
                  </a:lnTo>
                  <a:lnTo>
                    <a:pt x="337" y="223"/>
                  </a:lnTo>
                  <a:lnTo>
                    <a:pt x="337" y="225"/>
                  </a:lnTo>
                  <a:lnTo>
                    <a:pt x="337" y="225"/>
                  </a:lnTo>
                  <a:lnTo>
                    <a:pt x="337" y="228"/>
                  </a:lnTo>
                  <a:lnTo>
                    <a:pt x="337" y="228"/>
                  </a:lnTo>
                  <a:lnTo>
                    <a:pt x="337" y="228"/>
                  </a:lnTo>
                  <a:lnTo>
                    <a:pt x="337" y="228"/>
                  </a:lnTo>
                  <a:lnTo>
                    <a:pt x="337" y="230"/>
                  </a:lnTo>
                  <a:lnTo>
                    <a:pt x="339" y="230"/>
                  </a:lnTo>
                  <a:lnTo>
                    <a:pt x="339" y="233"/>
                  </a:lnTo>
                  <a:lnTo>
                    <a:pt x="339" y="233"/>
                  </a:lnTo>
                  <a:lnTo>
                    <a:pt x="339" y="233"/>
                  </a:lnTo>
                  <a:lnTo>
                    <a:pt x="339" y="233"/>
                  </a:lnTo>
                  <a:lnTo>
                    <a:pt x="342" y="233"/>
                  </a:lnTo>
                  <a:lnTo>
                    <a:pt x="342" y="235"/>
                  </a:lnTo>
                  <a:lnTo>
                    <a:pt x="342" y="235"/>
                  </a:lnTo>
                  <a:lnTo>
                    <a:pt x="344" y="238"/>
                  </a:lnTo>
                  <a:lnTo>
                    <a:pt x="344" y="238"/>
                  </a:lnTo>
                  <a:lnTo>
                    <a:pt x="344" y="238"/>
                  </a:lnTo>
                  <a:lnTo>
                    <a:pt x="347" y="238"/>
                  </a:lnTo>
                  <a:lnTo>
                    <a:pt x="347" y="238"/>
                  </a:lnTo>
                  <a:lnTo>
                    <a:pt x="349" y="238"/>
                  </a:lnTo>
                  <a:lnTo>
                    <a:pt x="352" y="240"/>
                  </a:lnTo>
                  <a:lnTo>
                    <a:pt x="352" y="240"/>
                  </a:lnTo>
                  <a:lnTo>
                    <a:pt x="352" y="240"/>
                  </a:lnTo>
                  <a:lnTo>
                    <a:pt x="352" y="240"/>
                  </a:lnTo>
                  <a:lnTo>
                    <a:pt x="352" y="240"/>
                  </a:lnTo>
                  <a:lnTo>
                    <a:pt x="356" y="242"/>
                  </a:lnTo>
                  <a:lnTo>
                    <a:pt x="359" y="242"/>
                  </a:lnTo>
                  <a:lnTo>
                    <a:pt x="359" y="242"/>
                  </a:lnTo>
                  <a:lnTo>
                    <a:pt x="359" y="242"/>
                  </a:lnTo>
                  <a:lnTo>
                    <a:pt x="359" y="242"/>
                  </a:lnTo>
                  <a:lnTo>
                    <a:pt x="364" y="245"/>
                  </a:lnTo>
                  <a:lnTo>
                    <a:pt x="368" y="245"/>
                  </a:lnTo>
                  <a:lnTo>
                    <a:pt x="368" y="245"/>
                  </a:lnTo>
                  <a:lnTo>
                    <a:pt x="368" y="245"/>
                  </a:lnTo>
                  <a:lnTo>
                    <a:pt x="368" y="245"/>
                  </a:lnTo>
                  <a:lnTo>
                    <a:pt x="373" y="247"/>
                  </a:lnTo>
                  <a:lnTo>
                    <a:pt x="378" y="247"/>
                  </a:lnTo>
                  <a:lnTo>
                    <a:pt x="378" y="247"/>
                  </a:lnTo>
                  <a:lnTo>
                    <a:pt x="381" y="247"/>
                  </a:lnTo>
                  <a:lnTo>
                    <a:pt x="381" y="247"/>
                  </a:lnTo>
                  <a:lnTo>
                    <a:pt x="385" y="250"/>
                  </a:lnTo>
                  <a:lnTo>
                    <a:pt x="390" y="250"/>
                  </a:lnTo>
                  <a:lnTo>
                    <a:pt x="390" y="250"/>
                  </a:lnTo>
                  <a:lnTo>
                    <a:pt x="393" y="250"/>
                  </a:lnTo>
                  <a:lnTo>
                    <a:pt x="393" y="250"/>
                  </a:lnTo>
                  <a:lnTo>
                    <a:pt x="398" y="252"/>
                  </a:lnTo>
                  <a:lnTo>
                    <a:pt x="400" y="252"/>
                  </a:lnTo>
                  <a:lnTo>
                    <a:pt x="460" y="262"/>
                  </a:lnTo>
                  <a:lnTo>
                    <a:pt x="460" y="301"/>
                  </a:lnTo>
                  <a:lnTo>
                    <a:pt x="436" y="303"/>
                  </a:lnTo>
                  <a:lnTo>
                    <a:pt x="417" y="308"/>
                  </a:lnTo>
                  <a:lnTo>
                    <a:pt x="402" y="310"/>
                  </a:lnTo>
                  <a:lnTo>
                    <a:pt x="398" y="315"/>
                  </a:lnTo>
                  <a:lnTo>
                    <a:pt x="398" y="337"/>
                  </a:lnTo>
                  <a:lnTo>
                    <a:pt x="402" y="342"/>
                  </a:lnTo>
                  <a:lnTo>
                    <a:pt x="402" y="342"/>
                  </a:lnTo>
                  <a:lnTo>
                    <a:pt x="402" y="371"/>
                  </a:lnTo>
                  <a:lnTo>
                    <a:pt x="398" y="374"/>
                  </a:lnTo>
                  <a:lnTo>
                    <a:pt x="398" y="376"/>
                  </a:lnTo>
                  <a:lnTo>
                    <a:pt x="402" y="381"/>
                  </a:lnTo>
                  <a:lnTo>
                    <a:pt x="402" y="381"/>
                  </a:lnTo>
                  <a:lnTo>
                    <a:pt x="402" y="400"/>
                  </a:lnTo>
                  <a:lnTo>
                    <a:pt x="398" y="403"/>
                  </a:lnTo>
                  <a:lnTo>
                    <a:pt x="398" y="412"/>
                  </a:lnTo>
                  <a:lnTo>
                    <a:pt x="402" y="417"/>
                  </a:lnTo>
                  <a:lnTo>
                    <a:pt x="402" y="417"/>
                  </a:lnTo>
                  <a:lnTo>
                    <a:pt x="400" y="1260"/>
                  </a:lnTo>
                  <a:lnTo>
                    <a:pt x="378" y="1260"/>
                  </a:lnTo>
                  <a:lnTo>
                    <a:pt x="376" y="415"/>
                  </a:lnTo>
                  <a:lnTo>
                    <a:pt x="315" y="415"/>
                  </a:lnTo>
                  <a:lnTo>
                    <a:pt x="315" y="383"/>
                  </a:lnTo>
                  <a:lnTo>
                    <a:pt x="90" y="383"/>
                  </a:lnTo>
                  <a:lnTo>
                    <a:pt x="75" y="415"/>
                  </a:lnTo>
                  <a:lnTo>
                    <a:pt x="42" y="415"/>
                  </a:lnTo>
                  <a:lnTo>
                    <a:pt x="17" y="473"/>
                  </a:lnTo>
                  <a:lnTo>
                    <a:pt x="17" y="1224"/>
                  </a:lnTo>
                  <a:lnTo>
                    <a:pt x="10" y="1224"/>
                  </a:lnTo>
                  <a:lnTo>
                    <a:pt x="10" y="1221"/>
                  </a:lnTo>
                  <a:lnTo>
                    <a:pt x="5" y="1219"/>
                  </a:lnTo>
                  <a:lnTo>
                    <a:pt x="0" y="1219"/>
                  </a:lnTo>
                  <a:lnTo>
                    <a:pt x="0" y="1576"/>
                  </a:lnTo>
                  <a:lnTo>
                    <a:pt x="1281" y="1576"/>
                  </a:lnTo>
                  <a:lnTo>
                    <a:pt x="1281" y="1017"/>
                  </a:lnTo>
                  <a:close/>
                  <a:moveTo>
                    <a:pt x="342" y="225"/>
                  </a:moveTo>
                  <a:lnTo>
                    <a:pt x="344" y="225"/>
                  </a:lnTo>
                  <a:lnTo>
                    <a:pt x="344" y="225"/>
                  </a:lnTo>
                  <a:lnTo>
                    <a:pt x="352" y="228"/>
                  </a:lnTo>
                  <a:lnTo>
                    <a:pt x="344" y="225"/>
                  </a:lnTo>
                  <a:lnTo>
                    <a:pt x="344" y="225"/>
                  </a:lnTo>
                  <a:lnTo>
                    <a:pt x="342" y="225"/>
                  </a:lnTo>
                  <a:lnTo>
                    <a:pt x="342" y="223"/>
                  </a:lnTo>
                  <a:lnTo>
                    <a:pt x="342" y="225"/>
                  </a:lnTo>
                  <a:close/>
                  <a:moveTo>
                    <a:pt x="342" y="228"/>
                  </a:moveTo>
                  <a:lnTo>
                    <a:pt x="342" y="228"/>
                  </a:lnTo>
                  <a:lnTo>
                    <a:pt x="339" y="228"/>
                  </a:lnTo>
                  <a:lnTo>
                    <a:pt x="342" y="228"/>
                  </a:lnTo>
                  <a:lnTo>
                    <a:pt x="342" y="228"/>
                  </a:lnTo>
                  <a:lnTo>
                    <a:pt x="361" y="233"/>
                  </a:lnTo>
                  <a:lnTo>
                    <a:pt x="342" y="228"/>
                  </a:lnTo>
                  <a:close/>
                  <a:moveTo>
                    <a:pt x="410" y="199"/>
                  </a:moveTo>
                  <a:lnTo>
                    <a:pt x="410" y="201"/>
                  </a:lnTo>
                  <a:lnTo>
                    <a:pt x="410" y="199"/>
                  </a:lnTo>
                  <a:lnTo>
                    <a:pt x="410" y="199"/>
                  </a:lnTo>
                  <a:lnTo>
                    <a:pt x="410" y="199"/>
                  </a:lnTo>
                  <a:close/>
                  <a:moveTo>
                    <a:pt x="414" y="208"/>
                  </a:moveTo>
                  <a:lnTo>
                    <a:pt x="412" y="206"/>
                  </a:lnTo>
                  <a:lnTo>
                    <a:pt x="412" y="206"/>
                  </a:lnTo>
                  <a:lnTo>
                    <a:pt x="412" y="206"/>
                  </a:lnTo>
                  <a:lnTo>
                    <a:pt x="412" y="206"/>
                  </a:lnTo>
                  <a:lnTo>
                    <a:pt x="412" y="206"/>
                  </a:lnTo>
                  <a:lnTo>
                    <a:pt x="414" y="208"/>
                  </a:lnTo>
                  <a:lnTo>
                    <a:pt x="419" y="211"/>
                  </a:lnTo>
                  <a:lnTo>
                    <a:pt x="414" y="208"/>
                  </a:lnTo>
                  <a:close/>
                  <a:moveTo>
                    <a:pt x="427" y="199"/>
                  </a:moveTo>
                  <a:lnTo>
                    <a:pt x="427" y="196"/>
                  </a:lnTo>
                  <a:lnTo>
                    <a:pt x="429" y="196"/>
                  </a:lnTo>
                  <a:lnTo>
                    <a:pt x="427" y="196"/>
                  </a:lnTo>
                  <a:lnTo>
                    <a:pt x="427" y="199"/>
                  </a:lnTo>
                  <a:close/>
                  <a:moveTo>
                    <a:pt x="429" y="206"/>
                  </a:moveTo>
                  <a:lnTo>
                    <a:pt x="429" y="204"/>
                  </a:lnTo>
                  <a:lnTo>
                    <a:pt x="429" y="204"/>
                  </a:lnTo>
                  <a:lnTo>
                    <a:pt x="429" y="204"/>
                  </a:lnTo>
                  <a:lnTo>
                    <a:pt x="429" y="206"/>
                  </a:lnTo>
                  <a:lnTo>
                    <a:pt x="431" y="206"/>
                  </a:lnTo>
                  <a:lnTo>
                    <a:pt x="429" y="206"/>
                  </a:ln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mn-lt"/>
              </a:endParaRPr>
            </a:p>
          </p:txBody>
        </p:sp>
        <p:sp>
          <p:nvSpPr>
            <p:cNvPr id="8" name="Freeform 15">
              <a:extLst>
                <a:ext uri="{FF2B5EF4-FFF2-40B4-BE49-F238E27FC236}">
                  <a16:creationId xmlns:a16="http://schemas.microsoft.com/office/drawing/2014/main" id="{181E3551-4AAD-3C7D-40EA-56EA83E9F283}"/>
                </a:ext>
              </a:extLst>
            </p:cNvPr>
            <p:cNvSpPr>
              <a:spLocks/>
            </p:cNvSpPr>
            <p:nvPr/>
          </p:nvSpPr>
          <p:spPr bwMode="auto">
            <a:xfrm>
              <a:off x="6097788" y="3560204"/>
              <a:ext cx="1523007" cy="1421711"/>
            </a:xfrm>
            <a:custGeom>
              <a:avLst/>
              <a:gdLst>
                <a:gd name="T0" fmla="*/ 1278 w 1278"/>
                <a:gd name="T1" fmla="*/ 836 h 1193"/>
                <a:gd name="T2" fmla="*/ 1271 w 1278"/>
                <a:gd name="T3" fmla="*/ 819 h 1193"/>
                <a:gd name="T4" fmla="*/ 1252 w 1278"/>
                <a:gd name="T5" fmla="*/ 821 h 1193"/>
                <a:gd name="T6" fmla="*/ 1242 w 1278"/>
                <a:gd name="T7" fmla="*/ 807 h 1193"/>
                <a:gd name="T8" fmla="*/ 1206 w 1278"/>
                <a:gd name="T9" fmla="*/ 700 h 1193"/>
                <a:gd name="T10" fmla="*/ 1167 w 1278"/>
                <a:gd name="T11" fmla="*/ 693 h 1193"/>
                <a:gd name="T12" fmla="*/ 1126 w 1278"/>
                <a:gd name="T13" fmla="*/ 651 h 1193"/>
                <a:gd name="T14" fmla="*/ 1075 w 1278"/>
                <a:gd name="T15" fmla="*/ 598 h 1193"/>
                <a:gd name="T16" fmla="*/ 1068 w 1278"/>
                <a:gd name="T17" fmla="*/ 586 h 1193"/>
                <a:gd name="T18" fmla="*/ 1053 w 1278"/>
                <a:gd name="T19" fmla="*/ 566 h 1193"/>
                <a:gd name="T20" fmla="*/ 1048 w 1278"/>
                <a:gd name="T21" fmla="*/ 581 h 1193"/>
                <a:gd name="T22" fmla="*/ 1034 w 1278"/>
                <a:gd name="T23" fmla="*/ 593 h 1193"/>
                <a:gd name="T24" fmla="*/ 1034 w 1278"/>
                <a:gd name="T25" fmla="*/ 625 h 1193"/>
                <a:gd name="T26" fmla="*/ 956 w 1278"/>
                <a:gd name="T27" fmla="*/ 685 h 1193"/>
                <a:gd name="T28" fmla="*/ 925 w 1278"/>
                <a:gd name="T29" fmla="*/ 695 h 1193"/>
                <a:gd name="T30" fmla="*/ 884 w 1278"/>
                <a:gd name="T31" fmla="*/ 824 h 1193"/>
                <a:gd name="T32" fmla="*/ 864 w 1278"/>
                <a:gd name="T33" fmla="*/ 807 h 1193"/>
                <a:gd name="T34" fmla="*/ 850 w 1278"/>
                <a:gd name="T35" fmla="*/ 838 h 1193"/>
                <a:gd name="T36" fmla="*/ 833 w 1278"/>
                <a:gd name="T37" fmla="*/ 819 h 1193"/>
                <a:gd name="T38" fmla="*/ 814 w 1278"/>
                <a:gd name="T39" fmla="*/ 841 h 1193"/>
                <a:gd name="T40" fmla="*/ 751 w 1278"/>
                <a:gd name="T41" fmla="*/ 32 h 1193"/>
                <a:gd name="T42" fmla="*/ 445 w 1278"/>
                <a:gd name="T43" fmla="*/ 855 h 1193"/>
                <a:gd name="T44" fmla="*/ 431 w 1278"/>
                <a:gd name="T45" fmla="*/ 739 h 1193"/>
                <a:gd name="T46" fmla="*/ 404 w 1278"/>
                <a:gd name="T47" fmla="*/ 756 h 1193"/>
                <a:gd name="T48" fmla="*/ 378 w 1278"/>
                <a:gd name="T49" fmla="*/ 561 h 1193"/>
                <a:gd name="T50" fmla="*/ 375 w 1278"/>
                <a:gd name="T51" fmla="*/ 547 h 1193"/>
                <a:gd name="T52" fmla="*/ 368 w 1278"/>
                <a:gd name="T53" fmla="*/ 569 h 1193"/>
                <a:gd name="T54" fmla="*/ 351 w 1278"/>
                <a:gd name="T55" fmla="*/ 479 h 1193"/>
                <a:gd name="T56" fmla="*/ 341 w 1278"/>
                <a:gd name="T57" fmla="*/ 348 h 1193"/>
                <a:gd name="T58" fmla="*/ 324 w 1278"/>
                <a:gd name="T59" fmla="*/ 372 h 1193"/>
                <a:gd name="T60" fmla="*/ 312 w 1278"/>
                <a:gd name="T61" fmla="*/ 479 h 1193"/>
                <a:gd name="T62" fmla="*/ 295 w 1278"/>
                <a:gd name="T63" fmla="*/ 561 h 1193"/>
                <a:gd name="T64" fmla="*/ 290 w 1278"/>
                <a:gd name="T65" fmla="*/ 547 h 1193"/>
                <a:gd name="T66" fmla="*/ 288 w 1278"/>
                <a:gd name="T67" fmla="*/ 569 h 1193"/>
                <a:gd name="T68" fmla="*/ 269 w 1278"/>
                <a:gd name="T69" fmla="*/ 693 h 1193"/>
                <a:gd name="T70" fmla="*/ 269 w 1278"/>
                <a:gd name="T71" fmla="*/ 695 h 1193"/>
                <a:gd name="T72" fmla="*/ 261 w 1278"/>
                <a:gd name="T73" fmla="*/ 758 h 1193"/>
                <a:gd name="T74" fmla="*/ 244 w 1278"/>
                <a:gd name="T75" fmla="*/ 712 h 1193"/>
                <a:gd name="T76" fmla="*/ 232 w 1278"/>
                <a:gd name="T77" fmla="*/ 574 h 1193"/>
                <a:gd name="T78" fmla="*/ 208 w 1278"/>
                <a:gd name="T79" fmla="*/ 710 h 1193"/>
                <a:gd name="T80" fmla="*/ 194 w 1278"/>
                <a:gd name="T81" fmla="*/ 748 h 1193"/>
                <a:gd name="T82" fmla="*/ 174 w 1278"/>
                <a:gd name="T83" fmla="*/ 688 h 1193"/>
                <a:gd name="T84" fmla="*/ 172 w 1278"/>
                <a:gd name="T85" fmla="*/ 685 h 1193"/>
                <a:gd name="T86" fmla="*/ 169 w 1278"/>
                <a:gd name="T87" fmla="*/ 615 h 1193"/>
                <a:gd name="T88" fmla="*/ 167 w 1278"/>
                <a:gd name="T89" fmla="*/ 610 h 1193"/>
                <a:gd name="T90" fmla="*/ 157 w 1278"/>
                <a:gd name="T91" fmla="*/ 557 h 1193"/>
                <a:gd name="T92" fmla="*/ 148 w 1278"/>
                <a:gd name="T93" fmla="*/ 547 h 1193"/>
                <a:gd name="T94" fmla="*/ 123 w 1278"/>
                <a:gd name="T95" fmla="*/ 479 h 1193"/>
                <a:gd name="T96" fmla="*/ 123 w 1278"/>
                <a:gd name="T97" fmla="*/ 464 h 1193"/>
                <a:gd name="T98" fmla="*/ 121 w 1278"/>
                <a:gd name="T99" fmla="*/ 304 h 1193"/>
                <a:gd name="T100" fmla="*/ 97 w 1278"/>
                <a:gd name="T101" fmla="*/ 464 h 1193"/>
                <a:gd name="T102" fmla="*/ 94 w 1278"/>
                <a:gd name="T103" fmla="*/ 476 h 1193"/>
                <a:gd name="T104" fmla="*/ 70 w 1278"/>
                <a:gd name="T105" fmla="*/ 554 h 1193"/>
                <a:gd name="T106" fmla="*/ 60 w 1278"/>
                <a:gd name="T107" fmla="*/ 549 h 1193"/>
                <a:gd name="T108" fmla="*/ 48 w 1278"/>
                <a:gd name="T109" fmla="*/ 610 h 1193"/>
                <a:gd name="T110" fmla="*/ 41 w 1278"/>
                <a:gd name="T111" fmla="*/ 746 h 1193"/>
                <a:gd name="T112" fmla="*/ 17 w 1278"/>
                <a:gd name="T113" fmla="*/ 739 h 1193"/>
                <a:gd name="T114" fmla="*/ 7 w 1278"/>
                <a:gd name="T115" fmla="*/ 848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78" h="1193">
                  <a:moveTo>
                    <a:pt x="12" y="306"/>
                  </a:moveTo>
                  <a:lnTo>
                    <a:pt x="0" y="304"/>
                  </a:lnTo>
                  <a:lnTo>
                    <a:pt x="0" y="1193"/>
                  </a:lnTo>
                  <a:lnTo>
                    <a:pt x="1278" y="1193"/>
                  </a:lnTo>
                  <a:lnTo>
                    <a:pt x="1278" y="836"/>
                  </a:lnTo>
                  <a:lnTo>
                    <a:pt x="1274" y="836"/>
                  </a:lnTo>
                  <a:lnTo>
                    <a:pt x="1274" y="819"/>
                  </a:lnTo>
                  <a:lnTo>
                    <a:pt x="1271" y="819"/>
                  </a:lnTo>
                  <a:lnTo>
                    <a:pt x="1271" y="819"/>
                  </a:lnTo>
                  <a:lnTo>
                    <a:pt x="1271" y="819"/>
                  </a:lnTo>
                  <a:lnTo>
                    <a:pt x="1269" y="819"/>
                  </a:lnTo>
                  <a:lnTo>
                    <a:pt x="1269" y="836"/>
                  </a:lnTo>
                  <a:lnTo>
                    <a:pt x="1257" y="836"/>
                  </a:lnTo>
                  <a:lnTo>
                    <a:pt x="1257" y="824"/>
                  </a:lnTo>
                  <a:lnTo>
                    <a:pt x="1252" y="821"/>
                  </a:lnTo>
                  <a:lnTo>
                    <a:pt x="1245" y="821"/>
                  </a:lnTo>
                  <a:lnTo>
                    <a:pt x="1245" y="807"/>
                  </a:lnTo>
                  <a:lnTo>
                    <a:pt x="1242" y="807"/>
                  </a:lnTo>
                  <a:lnTo>
                    <a:pt x="1242" y="807"/>
                  </a:lnTo>
                  <a:lnTo>
                    <a:pt x="1242" y="807"/>
                  </a:lnTo>
                  <a:lnTo>
                    <a:pt x="1240" y="807"/>
                  </a:lnTo>
                  <a:lnTo>
                    <a:pt x="1240" y="821"/>
                  </a:lnTo>
                  <a:lnTo>
                    <a:pt x="1220" y="821"/>
                  </a:lnTo>
                  <a:lnTo>
                    <a:pt x="1223" y="702"/>
                  </a:lnTo>
                  <a:lnTo>
                    <a:pt x="1206" y="700"/>
                  </a:lnTo>
                  <a:lnTo>
                    <a:pt x="1182" y="700"/>
                  </a:lnTo>
                  <a:lnTo>
                    <a:pt x="1174" y="695"/>
                  </a:lnTo>
                  <a:lnTo>
                    <a:pt x="1174" y="695"/>
                  </a:lnTo>
                  <a:lnTo>
                    <a:pt x="1172" y="695"/>
                  </a:lnTo>
                  <a:lnTo>
                    <a:pt x="1167" y="693"/>
                  </a:lnTo>
                  <a:lnTo>
                    <a:pt x="1167" y="688"/>
                  </a:lnTo>
                  <a:lnTo>
                    <a:pt x="1155" y="685"/>
                  </a:lnTo>
                  <a:lnTo>
                    <a:pt x="1150" y="685"/>
                  </a:lnTo>
                  <a:lnTo>
                    <a:pt x="1140" y="668"/>
                  </a:lnTo>
                  <a:lnTo>
                    <a:pt x="1126" y="651"/>
                  </a:lnTo>
                  <a:lnTo>
                    <a:pt x="1111" y="639"/>
                  </a:lnTo>
                  <a:lnTo>
                    <a:pt x="1092" y="629"/>
                  </a:lnTo>
                  <a:lnTo>
                    <a:pt x="1073" y="625"/>
                  </a:lnTo>
                  <a:lnTo>
                    <a:pt x="1073" y="598"/>
                  </a:lnTo>
                  <a:lnTo>
                    <a:pt x="1075" y="598"/>
                  </a:lnTo>
                  <a:lnTo>
                    <a:pt x="1075" y="595"/>
                  </a:lnTo>
                  <a:lnTo>
                    <a:pt x="1075" y="593"/>
                  </a:lnTo>
                  <a:lnTo>
                    <a:pt x="1073" y="593"/>
                  </a:lnTo>
                  <a:lnTo>
                    <a:pt x="1070" y="588"/>
                  </a:lnTo>
                  <a:lnTo>
                    <a:pt x="1068" y="586"/>
                  </a:lnTo>
                  <a:lnTo>
                    <a:pt x="1063" y="583"/>
                  </a:lnTo>
                  <a:lnTo>
                    <a:pt x="1061" y="581"/>
                  </a:lnTo>
                  <a:lnTo>
                    <a:pt x="1056" y="581"/>
                  </a:lnTo>
                  <a:lnTo>
                    <a:pt x="1056" y="566"/>
                  </a:lnTo>
                  <a:lnTo>
                    <a:pt x="1053" y="566"/>
                  </a:lnTo>
                  <a:lnTo>
                    <a:pt x="1053" y="564"/>
                  </a:lnTo>
                  <a:lnTo>
                    <a:pt x="1053" y="566"/>
                  </a:lnTo>
                  <a:lnTo>
                    <a:pt x="1048" y="566"/>
                  </a:lnTo>
                  <a:lnTo>
                    <a:pt x="1048" y="581"/>
                  </a:lnTo>
                  <a:lnTo>
                    <a:pt x="1048" y="581"/>
                  </a:lnTo>
                  <a:lnTo>
                    <a:pt x="1046" y="581"/>
                  </a:lnTo>
                  <a:lnTo>
                    <a:pt x="1041" y="583"/>
                  </a:lnTo>
                  <a:lnTo>
                    <a:pt x="1039" y="586"/>
                  </a:lnTo>
                  <a:lnTo>
                    <a:pt x="1036" y="588"/>
                  </a:lnTo>
                  <a:lnTo>
                    <a:pt x="1034" y="593"/>
                  </a:lnTo>
                  <a:lnTo>
                    <a:pt x="1031" y="593"/>
                  </a:lnTo>
                  <a:lnTo>
                    <a:pt x="1031" y="595"/>
                  </a:lnTo>
                  <a:lnTo>
                    <a:pt x="1031" y="598"/>
                  </a:lnTo>
                  <a:lnTo>
                    <a:pt x="1034" y="598"/>
                  </a:lnTo>
                  <a:lnTo>
                    <a:pt x="1034" y="625"/>
                  </a:lnTo>
                  <a:lnTo>
                    <a:pt x="1014" y="629"/>
                  </a:lnTo>
                  <a:lnTo>
                    <a:pt x="995" y="639"/>
                  </a:lnTo>
                  <a:lnTo>
                    <a:pt x="978" y="651"/>
                  </a:lnTo>
                  <a:lnTo>
                    <a:pt x="964" y="668"/>
                  </a:lnTo>
                  <a:lnTo>
                    <a:pt x="956" y="685"/>
                  </a:lnTo>
                  <a:lnTo>
                    <a:pt x="949" y="685"/>
                  </a:lnTo>
                  <a:lnTo>
                    <a:pt x="937" y="688"/>
                  </a:lnTo>
                  <a:lnTo>
                    <a:pt x="937" y="693"/>
                  </a:lnTo>
                  <a:lnTo>
                    <a:pt x="935" y="695"/>
                  </a:lnTo>
                  <a:lnTo>
                    <a:pt x="925" y="695"/>
                  </a:lnTo>
                  <a:lnTo>
                    <a:pt x="925" y="697"/>
                  </a:lnTo>
                  <a:lnTo>
                    <a:pt x="922" y="700"/>
                  </a:lnTo>
                  <a:lnTo>
                    <a:pt x="896" y="700"/>
                  </a:lnTo>
                  <a:lnTo>
                    <a:pt x="881" y="702"/>
                  </a:lnTo>
                  <a:lnTo>
                    <a:pt x="884" y="824"/>
                  </a:lnTo>
                  <a:lnTo>
                    <a:pt x="867" y="824"/>
                  </a:lnTo>
                  <a:lnTo>
                    <a:pt x="867" y="807"/>
                  </a:lnTo>
                  <a:lnTo>
                    <a:pt x="864" y="807"/>
                  </a:lnTo>
                  <a:lnTo>
                    <a:pt x="864" y="807"/>
                  </a:lnTo>
                  <a:lnTo>
                    <a:pt x="864" y="807"/>
                  </a:lnTo>
                  <a:lnTo>
                    <a:pt x="862" y="807"/>
                  </a:lnTo>
                  <a:lnTo>
                    <a:pt x="862" y="824"/>
                  </a:lnTo>
                  <a:lnTo>
                    <a:pt x="855" y="824"/>
                  </a:lnTo>
                  <a:lnTo>
                    <a:pt x="850" y="826"/>
                  </a:lnTo>
                  <a:lnTo>
                    <a:pt x="850" y="838"/>
                  </a:lnTo>
                  <a:lnTo>
                    <a:pt x="850" y="838"/>
                  </a:lnTo>
                  <a:lnTo>
                    <a:pt x="835" y="838"/>
                  </a:lnTo>
                  <a:lnTo>
                    <a:pt x="833" y="819"/>
                  </a:lnTo>
                  <a:lnTo>
                    <a:pt x="833" y="819"/>
                  </a:lnTo>
                  <a:lnTo>
                    <a:pt x="833" y="819"/>
                  </a:lnTo>
                  <a:lnTo>
                    <a:pt x="830" y="819"/>
                  </a:lnTo>
                  <a:lnTo>
                    <a:pt x="828" y="819"/>
                  </a:lnTo>
                  <a:lnTo>
                    <a:pt x="828" y="838"/>
                  </a:lnTo>
                  <a:lnTo>
                    <a:pt x="818" y="838"/>
                  </a:lnTo>
                  <a:lnTo>
                    <a:pt x="814" y="841"/>
                  </a:lnTo>
                  <a:lnTo>
                    <a:pt x="814" y="841"/>
                  </a:lnTo>
                  <a:lnTo>
                    <a:pt x="809" y="841"/>
                  </a:lnTo>
                  <a:lnTo>
                    <a:pt x="811" y="90"/>
                  </a:lnTo>
                  <a:lnTo>
                    <a:pt x="782" y="32"/>
                  </a:lnTo>
                  <a:lnTo>
                    <a:pt x="751" y="32"/>
                  </a:lnTo>
                  <a:lnTo>
                    <a:pt x="734" y="0"/>
                  </a:lnTo>
                  <a:lnTo>
                    <a:pt x="508" y="0"/>
                  </a:lnTo>
                  <a:lnTo>
                    <a:pt x="508" y="32"/>
                  </a:lnTo>
                  <a:lnTo>
                    <a:pt x="448" y="32"/>
                  </a:lnTo>
                  <a:lnTo>
                    <a:pt x="445" y="855"/>
                  </a:lnTo>
                  <a:lnTo>
                    <a:pt x="438" y="848"/>
                  </a:lnTo>
                  <a:lnTo>
                    <a:pt x="438" y="836"/>
                  </a:lnTo>
                  <a:lnTo>
                    <a:pt x="436" y="746"/>
                  </a:lnTo>
                  <a:lnTo>
                    <a:pt x="436" y="739"/>
                  </a:lnTo>
                  <a:lnTo>
                    <a:pt x="431" y="739"/>
                  </a:lnTo>
                  <a:lnTo>
                    <a:pt x="429" y="739"/>
                  </a:lnTo>
                  <a:lnTo>
                    <a:pt x="429" y="746"/>
                  </a:lnTo>
                  <a:lnTo>
                    <a:pt x="429" y="758"/>
                  </a:lnTo>
                  <a:lnTo>
                    <a:pt x="404" y="758"/>
                  </a:lnTo>
                  <a:lnTo>
                    <a:pt x="404" y="756"/>
                  </a:lnTo>
                  <a:lnTo>
                    <a:pt x="399" y="746"/>
                  </a:lnTo>
                  <a:lnTo>
                    <a:pt x="399" y="693"/>
                  </a:lnTo>
                  <a:lnTo>
                    <a:pt x="392" y="676"/>
                  </a:lnTo>
                  <a:lnTo>
                    <a:pt x="392" y="622"/>
                  </a:lnTo>
                  <a:lnTo>
                    <a:pt x="378" y="561"/>
                  </a:lnTo>
                  <a:lnTo>
                    <a:pt x="380" y="561"/>
                  </a:lnTo>
                  <a:lnTo>
                    <a:pt x="380" y="547"/>
                  </a:lnTo>
                  <a:lnTo>
                    <a:pt x="375" y="547"/>
                  </a:lnTo>
                  <a:lnTo>
                    <a:pt x="375" y="547"/>
                  </a:lnTo>
                  <a:lnTo>
                    <a:pt x="375" y="547"/>
                  </a:lnTo>
                  <a:lnTo>
                    <a:pt x="368" y="547"/>
                  </a:lnTo>
                  <a:lnTo>
                    <a:pt x="368" y="554"/>
                  </a:lnTo>
                  <a:lnTo>
                    <a:pt x="366" y="554"/>
                  </a:lnTo>
                  <a:lnTo>
                    <a:pt x="366" y="569"/>
                  </a:lnTo>
                  <a:lnTo>
                    <a:pt x="368" y="569"/>
                  </a:lnTo>
                  <a:lnTo>
                    <a:pt x="358" y="610"/>
                  </a:lnTo>
                  <a:lnTo>
                    <a:pt x="346" y="481"/>
                  </a:lnTo>
                  <a:lnTo>
                    <a:pt x="351" y="481"/>
                  </a:lnTo>
                  <a:lnTo>
                    <a:pt x="351" y="479"/>
                  </a:lnTo>
                  <a:lnTo>
                    <a:pt x="351" y="479"/>
                  </a:lnTo>
                  <a:lnTo>
                    <a:pt x="351" y="469"/>
                  </a:lnTo>
                  <a:lnTo>
                    <a:pt x="344" y="469"/>
                  </a:lnTo>
                  <a:lnTo>
                    <a:pt x="337" y="372"/>
                  </a:lnTo>
                  <a:lnTo>
                    <a:pt x="341" y="372"/>
                  </a:lnTo>
                  <a:lnTo>
                    <a:pt x="341" y="348"/>
                  </a:lnTo>
                  <a:lnTo>
                    <a:pt x="341" y="309"/>
                  </a:lnTo>
                  <a:lnTo>
                    <a:pt x="320" y="309"/>
                  </a:lnTo>
                  <a:lnTo>
                    <a:pt x="320" y="348"/>
                  </a:lnTo>
                  <a:lnTo>
                    <a:pt x="320" y="372"/>
                  </a:lnTo>
                  <a:lnTo>
                    <a:pt x="324" y="372"/>
                  </a:lnTo>
                  <a:lnTo>
                    <a:pt x="324" y="374"/>
                  </a:lnTo>
                  <a:lnTo>
                    <a:pt x="317" y="469"/>
                  </a:lnTo>
                  <a:lnTo>
                    <a:pt x="312" y="469"/>
                  </a:lnTo>
                  <a:lnTo>
                    <a:pt x="312" y="472"/>
                  </a:lnTo>
                  <a:lnTo>
                    <a:pt x="312" y="479"/>
                  </a:lnTo>
                  <a:lnTo>
                    <a:pt x="312" y="481"/>
                  </a:lnTo>
                  <a:lnTo>
                    <a:pt x="317" y="481"/>
                  </a:lnTo>
                  <a:lnTo>
                    <a:pt x="305" y="610"/>
                  </a:lnTo>
                  <a:lnTo>
                    <a:pt x="295" y="566"/>
                  </a:lnTo>
                  <a:lnTo>
                    <a:pt x="295" y="561"/>
                  </a:lnTo>
                  <a:lnTo>
                    <a:pt x="298" y="561"/>
                  </a:lnTo>
                  <a:lnTo>
                    <a:pt x="298" y="547"/>
                  </a:lnTo>
                  <a:lnTo>
                    <a:pt x="290" y="547"/>
                  </a:lnTo>
                  <a:lnTo>
                    <a:pt x="290" y="547"/>
                  </a:lnTo>
                  <a:lnTo>
                    <a:pt x="290" y="547"/>
                  </a:lnTo>
                  <a:lnTo>
                    <a:pt x="286" y="547"/>
                  </a:lnTo>
                  <a:lnTo>
                    <a:pt x="286" y="554"/>
                  </a:lnTo>
                  <a:lnTo>
                    <a:pt x="286" y="554"/>
                  </a:lnTo>
                  <a:lnTo>
                    <a:pt x="286" y="569"/>
                  </a:lnTo>
                  <a:lnTo>
                    <a:pt x="288" y="569"/>
                  </a:lnTo>
                  <a:lnTo>
                    <a:pt x="276" y="622"/>
                  </a:lnTo>
                  <a:lnTo>
                    <a:pt x="276" y="622"/>
                  </a:lnTo>
                  <a:lnTo>
                    <a:pt x="274" y="627"/>
                  </a:lnTo>
                  <a:lnTo>
                    <a:pt x="274" y="676"/>
                  </a:lnTo>
                  <a:lnTo>
                    <a:pt x="269" y="693"/>
                  </a:lnTo>
                  <a:lnTo>
                    <a:pt x="269" y="693"/>
                  </a:lnTo>
                  <a:lnTo>
                    <a:pt x="269" y="693"/>
                  </a:lnTo>
                  <a:lnTo>
                    <a:pt x="269" y="695"/>
                  </a:lnTo>
                  <a:lnTo>
                    <a:pt x="269" y="695"/>
                  </a:lnTo>
                  <a:lnTo>
                    <a:pt x="269" y="695"/>
                  </a:lnTo>
                  <a:lnTo>
                    <a:pt x="269" y="695"/>
                  </a:lnTo>
                  <a:lnTo>
                    <a:pt x="269" y="746"/>
                  </a:lnTo>
                  <a:lnTo>
                    <a:pt x="261" y="756"/>
                  </a:lnTo>
                  <a:lnTo>
                    <a:pt x="261" y="756"/>
                  </a:lnTo>
                  <a:lnTo>
                    <a:pt x="261" y="758"/>
                  </a:lnTo>
                  <a:lnTo>
                    <a:pt x="261" y="758"/>
                  </a:lnTo>
                  <a:lnTo>
                    <a:pt x="252" y="758"/>
                  </a:lnTo>
                  <a:lnTo>
                    <a:pt x="252" y="748"/>
                  </a:lnTo>
                  <a:lnTo>
                    <a:pt x="244" y="748"/>
                  </a:lnTo>
                  <a:lnTo>
                    <a:pt x="244" y="712"/>
                  </a:lnTo>
                  <a:lnTo>
                    <a:pt x="244" y="710"/>
                  </a:lnTo>
                  <a:lnTo>
                    <a:pt x="240" y="710"/>
                  </a:lnTo>
                  <a:lnTo>
                    <a:pt x="225" y="574"/>
                  </a:lnTo>
                  <a:lnTo>
                    <a:pt x="225" y="574"/>
                  </a:lnTo>
                  <a:lnTo>
                    <a:pt x="232" y="574"/>
                  </a:lnTo>
                  <a:lnTo>
                    <a:pt x="232" y="537"/>
                  </a:lnTo>
                  <a:lnTo>
                    <a:pt x="215" y="537"/>
                  </a:lnTo>
                  <a:lnTo>
                    <a:pt x="215" y="574"/>
                  </a:lnTo>
                  <a:lnTo>
                    <a:pt x="220" y="574"/>
                  </a:lnTo>
                  <a:lnTo>
                    <a:pt x="208" y="710"/>
                  </a:lnTo>
                  <a:lnTo>
                    <a:pt x="208" y="710"/>
                  </a:lnTo>
                  <a:lnTo>
                    <a:pt x="208" y="710"/>
                  </a:lnTo>
                  <a:lnTo>
                    <a:pt x="201" y="710"/>
                  </a:lnTo>
                  <a:lnTo>
                    <a:pt x="201" y="748"/>
                  </a:lnTo>
                  <a:lnTo>
                    <a:pt x="194" y="748"/>
                  </a:lnTo>
                  <a:lnTo>
                    <a:pt x="194" y="758"/>
                  </a:lnTo>
                  <a:lnTo>
                    <a:pt x="179" y="758"/>
                  </a:lnTo>
                  <a:lnTo>
                    <a:pt x="179" y="758"/>
                  </a:lnTo>
                  <a:lnTo>
                    <a:pt x="174" y="746"/>
                  </a:lnTo>
                  <a:lnTo>
                    <a:pt x="174" y="688"/>
                  </a:lnTo>
                  <a:lnTo>
                    <a:pt x="174" y="688"/>
                  </a:lnTo>
                  <a:lnTo>
                    <a:pt x="174" y="688"/>
                  </a:lnTo>
                  <a:lnTo>
                    <a:pt x="172" y="688"/>
                  </a:lnTo>
                  <a:lnTo>
                    <a:pt x="172" y="685"/>
                  </a:lnTo>
                  <a:lnTo>
                    <a:pt x="172" y="685"/>
                  </a:lnTo>
                  <a:lnTo>
                    <a:pt x="172" y="685"/>
                  </a:lnTo>
                  <a:lnTo>
                    <a:pt x="169" y="683"/>
                  </a:lnTo>
                  <a:lnTo>
                    <a:pt x="169" y="617"/>
                  </a:lnTo>
                  <a:lnTo>
                    <a:pt x="169" y="617"/>
                  </a:lnTo>
                  <a:lnTo>
                    <a:pt x="169" y="615"/>
                  </a:lnTo>
                  <a:lnTo>
                    <a:pt x="167" y="615"/>
                  </a:lnTo>
                  <a:lnTo>
                    <a:pt x="167" y="615"/>
                  </a:lnTo>
                  <a:lnTo>
                    <a:pt x="167" y="610"/>
                  </a:lnTo>
                  <a:lnTo>
                    <a:pt x="167" y="610"/>
                  </a:lnTo>
                  <a:lnTo>
                    <a:pt x="167" y="610"/>
                  </a:lnTo>
                  <a:lnTo>
                    <a:pt x="165" y="610"/>
                  </a:lnTo>
                  <a:lnTo>
                    <a:pt x="165" y="610"/>
                  </a:lnTo>
                  <a:lnTo>
                    <a:pt x="155" y="569"/>
                  </a:lnTo>
                  <a:lnTo>
                    <a:pt x="157" y="569"/>
                  </a:lnTo>
                  <a:lnTo>
                    <a:pt x="157" y="557"/>
                  </a:lnTo>
                  <a:lnTo>
                    <a:pt x="155" y="557"/>
                  </a:lnTo>
                  <a:lnTo>
                    <a:pt x="155" y="547"/>
                  </a:lnTo>
                  <a:lnTo>
                    <a:pt x="148" y="547"/>
                  </a:lnTo>
                  <a:lnTo>
                    <a:pt x="148" y="547"/>
                  </a:lnTo>
                  <a:lnTo>
                    <a:pt x="148" y="547"/>
                  </a:lnTo>
                  <a:lnTo>
                    <a:pt x="143" y="547"/>
                  </a:lnTo>
                  <a:lnTo>
                    <a:pt x="143" y="561"/>
                  </a:lnTo>
                  <a:lnTo>
                    <a:pt x="145" y="561"/>
                  </a:lnTo>
                  <a:lnTo>
                    <a:pt x="136" y="603"/>
                  </a:lnTo>
                  <a:lnTo>
                    <a:pt x="123" y="479"/>
                  </a:lnTo>
                  <a:lnTo>
                    <a:pt x="131" y="476"/>
                  </a:lnTo>
                  <a:lnTo>
                    <a:pt x="131" y="476"/>
                  </a:lnTo>
                  <a:lnTo>
                    <a:pt x="131" y="467"/>
                  </a:lnTo>
                  <a:lnTo>
                    <a:pt x="128" y="464"/>
                  </a:lnTo>
                  <a:lnTo>
                    <a:pt x="123" y="464"/>
                  </a:lnTo>
                  <a:lnTo>
                    <a:pt x="116" y="370"/>
                  </a:lnTo>
                  <a:lnTo>
                    <a:pt x="116" y="370"/>
                  </a:lnTo>
                  <a:lnTo>
                    <a:pt x="121" y="370"/>
                  </a:lnTo>
                  <a:lnTo>
                    <a:pt x="121" y="343"/>
                  </a:lnTo>
                  <a:lnTo>
                    <a:pt x="121" y="304"/>
                  </a:lnTo>
                  <a:lnTo>
                    <a:pt x="99" y="304"/>
                  </a:lnTo>
                  <a:lnTo>
                    <a:pt x="99" y="343"/>
                  </a:lnTo>
                  <a:lnTo>
                    <a:pt x="99" y="370"/>
                  </a:lnTo>
                  <a:lnTo>
                    <a:pt x="104" y="370"/>
                  </a:lnTo>
                  <a:lnTo>
                    <a:pt x="97" y="464"/>
                  </a:lnTo>
                  <a:lnTo>
                    <a:pt x="90" y="464"/>
                  </a:lnTo>
                  <a:lnTo>
                    <a:pt x="90" y="474"/>
                  </a:lnTo>
                  <a:lnTo>
                    <a:pt x="90" y="474"/>
                  </a:lnTo>
                  <a:lnTo>
                    <a:pt x="90" y="476"/>
                  </a:lnTo>
                  <a:lnTo>
                    <a:pt x="94" y="476"/>
                  </a:lnTo>
                  <a:lnTo>
                    <a:pt x="82" y="603"/>
                  </a:lnTo>
                  <a:lnTo>
                    <a:pt x="75" y="569"/>
                  </a:lnTo>
                  <a:lnTo>
                    <a:pt x="75" y="569"/>
                  </a:lnTo>
                  <a:lnTo>
                    <a:pt x="75" y="554"/>
                  </a:lnTo>
                  <a:lnTo>
                    <a:pt x="70" y="554"/>
                  </a:lnTo>
                  <a:lnTo>
                    <a:pt x="70" y="549"/>
                  </a:lnTo>
                  <a:lnTo>
                    <a:pt x="65" y="549"/>
                  </a:lnTo>
                  <a:lnTo>
                    <a:pt x="65" y="547"/>
                  </a:lnTo>
                  <a:lnTo>
                    <a:pt x="65" y="549"/>
                  </a:lnTo>
                  <a:lnTo>
                    <a:pt x="60" y="549"/>
                  </a:lnTo>
                  <a:lnTo>
                    <a:pt x="60" y="561"/>
                  </a:lnTo>
                  <a:lnTo>
                    <a:pt x="63" y="561"/>
                  </a:lnTo>
                  <a:lnTo>
                    <a:pt x="51" y="610"/>
                  </a:lnTo>
                  <a:lnTo>
                    <a:pt x="51" y="610"/>
                  </a:lnTo>
                  <a:lnTo>
                    <a:pt x="48" y="610"/>
                  </a:lnTo>
                  <a:lnTo>
                    <a:pt x="46" y="610"/>
                  </a:lnTo>
                  <a:lnTo>
                    <a:pt x="46" y="683"/>
                  </a:lnTo>
                  <a:lnTo>
                    <a:pt x="41" y="685"/>
                  </a:lnTo>
                  <a:lnTo>
                    <a:pt x="41" y="700"/>
                  </a:lnTo>
                  <a:lnTo>
                    <a:pt x="41" y="746"/>
                  </a:lnTo>
                  <a:lnTo>
                    <a:pt x="34" y="756"/>
                  </a:lnTo>
                  <a:lnTo>
                    <a:pt x="34" y="758"/>
                  </a:lnTo>
                  <a:lnTo>
                    <a:pt x="19" y="758"/>
                  </a:lnTo>
                  <a:lnTo>
                    <a:pt x="17" y="746"/>
                  </a:lnTo>
                  <a:lnTo>
                    <a:pt x="17" y="739"/>
                  </a:lnTo>
                  <a:lnTo>
                    <a:pt x="17" y="739"/>
                  </a:lnTo>
                  <a:lnTo>
                    <a:pt x="12" y="739"/>
                  </a:lnTo>
                  <a:lnTo>
                    <a:pt x="12" y="746"/>
                  </a:lnTo>
                  <a:lnTo>
                    <a:pt x="7" y="836"/>
                  </a:lnTo>
                  <a:lnTo>
                    <a:pt x="7" y="848"/>
                  </a:lnTo>
                  <a:lnTo>
                    <a:pt x="5" y="851"/>
                  </a:lnTo>
                  <a:lnTo>
                    <a:pt x="10" y="365"/>
                  </a:lnTo>
                  <a:lnTo>
                    <a:pt x="12" y="306"/>
                  </a:ln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mn-lt"/>
              </a:endParaRPr>
            </a:p>
          </p:txBody>
        </p:sp>
        <p:sp>
          <p:nvSpPr>
            <p:cNvPr id="9" name="Freeform 16">
              <a:extLst>
                <a:ext uri="{FF2B5EF4-FFF2-40B4-BE49-F238E27FC236}">
                  <a16:creationId xmlns:a16="http://schemas.microsoft.com/office/drawing/2014/main" id="{BEBA16D3-89F4-84EE-53BD-B866DC8913E3}"/>
                </a:ext>
              </a:extLst>
            </p:cNvPr>
            <p:cNvSpPr>
              <a:spLocks/>
            </p:cNvSpPr>
            <p:nvPr/>
          </p:nvSpPr>
          <p:spPr bwMode="auto">
            <a:xfrm>
              <a:off x="4577162" y="3286108"/>
              <a:ext cx="1520624" cy="1695806"/>
            </a:xfrm>
            <a:custGeom>
              <a:avLst/>
              <a:gdLst>
                <a:gd name="T0" fmla="*/ 1242 w 1276"/>
                <a:gd name="T1" fmla="*/ 529 h 1423"/>
                <a:gd name="T2" fmla="*/ 1225 w 1276"/>
                <a:gd name="T3" fmla="*/ 527 h 1423"/>
                <a:gd name="T4" fmla="*/ 1196 w 1276"/>
                <a:gd name="T5" fmla="*/ 505 h 1423"/>
                <a:gd name="T6" fmla="*/ 1172 w 1276"/>
                <a:gd name="T7" fmla="*/ 483 h 1423"/>
                <a:gd name="T8" fmla="*/ 1148 w 1276"/>
                <a:gd name="T9" fmla="*/ 461 h 1423"/>
                <a:gd name="T10" fmla="*/ 1126 w 1276"/>
                <a:gd name="T11" fmla="*/ 439 h 1423"/>
                <a:gd name="T12" fmla="*/ 1043 w 1276"/>
                <a:gd name="T13" fmla="*/ 434 h 1423"/>
                <a:gd name="T14" fmla="*/ 1005 w 1276"/>
                <a:gd name="T15" fmla="*/ 447 h 1423"/>
                <a:gd name="T16" fmla="*/ 985 w 1276"/>
                <a:gd name="T17" fmla="*/ 461 h 1423"/>
                <a:gd name="T18" fmla="*/ 981 w 1276"/>
                <a:gd name="T19" fmla="*/ 481 h 1423"/>
                <a:gd name="T20" fmla="*/ 959 w 1276"/>
                <a:gd name="T21" fmla="*/ 495 h 1423"/>
                <a:gd name="T22" fmla="*/ 939 w 1276"/>
                <a:gd name="T23" fmla="*/ 505 h 1423"/>
                <a:gd name="T24" fmla="*/ 937 w 1276"/>
                <a:gd name="T25" fmla="*/ 524 h 1423"/>
                <a:gd name="T26" fmla="*/ 913 w 1276"/>
                <a:gd name="T27" fmla="*/ 529 h 1423"/>
                <a:gd name="T28" fmla="*/ 840 w 1276"/>
                <a:gd name="T29" fmla="*/ 534 h 1423"/>
                <a:gd name="T30" fmla="*/ 840 w 1276"/>
                <a:gd name="T31" fmla="*/ 595 h 1423"/>
                <a:gd name="T32" fmla="*/ 765 w 1276"/>
                <a:gd name="T33" fmla="*/ 876 h 1423"/>
                <a:gd name="T34" fmla="*/ 763 w 1276"/>
                <a:gd name="T35" fmla="*/ 544 h 1423"/>
                <a:gd name="T36" fmla="*/ 690 w 1276"/>
                <a:gd name="T37" fmla="*/ 539 h 1423"/>
                <a:gd name="T38" fmla="*/ 668 w 1276"/>
                <a:gd name="T39" fmla="*/ 534 h 1423"/>
                <a:gd name="T40" fmla="*/ 661 w 1276"/>
                <a:gd name="T41" fmla="*/ 515 h 1423"/>
                <a:gd name="T42" fmla="*/ 646 w 1276"/>
                <a:gd name="T43" fmla="*/ 502 h 1423"/>
                <a:gd name="T44" fmla="*/ 625 w 1276"/>
                <a:gd name="T45" fmla="*/ 490 h 1423"/>
                <a:gd name="T46" fmla="*/ 617 w 1276"/>
                <a:gd name="T47" fmla="*/ 471 h 1423"/>
                <a:gd name="T48" fmla="*/ 600 w 1276"/>
                <a:gd name="T49" fmla="*/ 456 h 1423"/>
                <a:gd name="T50" fmla="*/ 559 w 1276"/>
                <a:gd name="T51" fmla="*/ 444 h 1423"/>
                <a:gd name="T52" fmla="*/ 482 w 1276"/>
                <a:gd name="T53" fmla="*/ 449 h 1423"/>
                <a:gd name="T54" fmla="*/ 460 w 1276"/>
                <a:gd name="T55" fmla="*/ 471 h 1423"/>
                <a:gd name="T56" fmla="*/ 436 w 1276"/>
                <a:gd name="T57" fmla="*/ 493 h 1423"/>
                <a:gd name="T58" fmla="*/ 411 w 1276"/>
                <a:gd name="T59" fmla="*/ 512 h 1423"/>
                <a:gd name="T60" fmla="*/ 385 w 1276"/>
                <a:gd name="T61" fmla="*/ 534 h 1423"/>
                <a:gd name="T62" fmla="*/ 382 w 1276"/>
                <a:gd name="T63" fmla="*/ 536 h 1423"/>
                <a:gd name="T64" fmla="*/ 322 w 1276"/>
                <a:gd name="T65" fmla="*/ 328 h 1423"/>
                <a:gd name="T66" fmla="*/ 264 w 1276"/>
                <a:gd name="T67" fmla="*/ 274 h 1423"/>
                <a:gd name="T68" fmla="*/ 201 w 1276"/>
                <a:gd name="T69" fmla="*/ 233 h 1423"/>
                <a:gd name="T70" fmla="*/ 179 w 1276"/>
                <a:gd name="T71" fmla="*/ 328 h 1423"/>
                <a:gd name="T72" fmla="*/ 181 w 1276"/>
                <a:gd name="T73" fmla="*/ 255 h 1423"/>
                <a:gd name="T74" fmla="*/ 179 w 1276"/>
                <a:gd name="T75" fmla="*/ 252 h 1423"/>
                <a:gd name="T76" fmla="*/ 181 w 1276"/>
                <a:gd name="T77" fmla="*/ 213 h 1423"/>
                <a:gd name="T78" fmla="*/ 179 w 1276"/>
                <a:gd name="T79" fmla="*/ 213 h 1423"/>
                <a:gd name="T80" fmla="*/ 181 w 1276"/>
                <a:gd name="T81" fmla="*/ 174 h 1423"/>
                <a:gd name="T82" fmla="*/ 179 w 1276"/>
                <a:gd name="T83" fmla="*/ 172 h 1423"/>
                <a:gd name="T84" fmla="*/ 116 w 1276"/>
                <a:gd name="T85" fmla="*/ 109 h 1423"/>
                <a:gd name="T86" fmla="*/ 29 w 1276"/>
                <a:gd name="T87" fmla="*/ 104 h 1423"/>
                <a:gd name="T88" fmla="*/ 29 w 1276"/>
                <a:gd name="T89" fmla="*/ 31 h 1423"/>
                <a:gd name="T90" fmla="*/ 29 w 1276"/>
                <a:gd name="T91" fmla="*/ 9 h 1423"/>
                <a:gd name="T92" fmla="*/ 29 w 1276"/>
                <a:gd name="T93" fmla="*/ 0 h 1423"/>
                <a:gd name="T94" fmla="*/ 0 w 1276"/>
                <a:gd name="T95" fmla="*/ 1423 h 1423"/>
                <a:gd name="T96" fmla="*/ 1276 w 1276"/>
                <a:gd name="T97" fmla="*/ 534 h 1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76" h="1423">
                  <a:moveTo>
                    <a:pt x="1276" y="534"/>
                  </a:moveTo>
                  <a:lnTo>
                    <a:pt x="1242" y="529"/>
                  </a:lnTo>
                  <a:lnTo>
                    <a:pt x="1223" y="532"/>
                  </a:lnTo>
                  <a:lnTo>
                    <a:pt x="1225" y="527"/>
                  </a:lnTo>
                  <a:lnTo>
                    <a:pt x="1196" y="524"/>
                  </a:lnTo>
                  <a:lnTo>
                    <a:pt x="1196" y="505"/>
                  </a:lnTo>
                  <a:lnTo>
                    <a:pt x="1172" y="502"/>
                  </a:lnTo>
                  <a:lnTo>
                    <a:pt x="1172" y="483"/>
                  </a:lnTo>
                  <a:lnTo>
                    <a:pt x="1148" y="481"/>
                  </a:lnTo>
                  <a:lnTo>
                    <a:pt x="1148" y="461"/>
                  </a:lnTo>
                  <a:lnTo>
                    <a:pt x="1123" y="459"/>
                  </a:lnTo>
                  <a:lnTo>
                    <a:pt x="1126" y="439"/>
                  </a:lnTo>
                  <a:lnTo>
                    <a:pt x="1094" y="434"/>
                  </a:lnTo>
                  <a:lnTo>
                    <a:pt x="1043" y="434"/>
                  </a:lnTo>
                  <a:lnTo>
                    <a:pt x="1007" y="439"/>
                  </a:lnTo>
                  <a:lnTo>
                    <a:pt x="1005" y="447"/>
                  </a:lnTo>
                  <a:lnTo>
                    <a:pt x="1005" y="459"/>
                  </a:lnTo>
                  <a:lnTo>
                    <a:pt x="985" y="461"/>
                  </a:lnTo>
                  <a:lnTo>
                    <a:pt x="983" y="471"/>
                  </a:lnTo>
                  <a:lnTo>
                    <a:pt x="981" y="481"/>
                  </a:lnTo>
                  <a:lnTo>
                    <a:pt x="964" y="483"/>
                  </a:lnTo>
                  <a:lnTo>
                    <a:pt x="959" y="495"/>
                  </a:lnTo>
                  <a:lnTo>
                    <a:pt x="959" y="502"/>
                  </a:lnTo>
                  <a:lnTo>
                    <a:pt x="939" y="505"/>
                  </a:lnTo>
                  <a:lnTo>
                    <a:pt x="937" y="517"/>
                  </a:lnTo>
                  <a:lnTo>
                    <a:pt x="937" y="524"/>
                  </a:lnTo>
                  <a:lnTo>
                    <a:pt x="915" y="527"/>
                  </a:lnTo>
                  <a:lnTo>
                    <a:pt x="913" y="529"/>
                  </a:lnTo>
                  <a:lnTo>
                    <a:pt x="893" y="527"/>
                  </a:lnTo>
                  <a:lnTo>
                    <a:pt x="840" y="534"/>
                  </a:lnTo>
                  <a:lnTo>
                    <a:pt x="840" y="595"/>
                  </a:lnTo>
                  <a:lnTo>
                    <a:pt x="840" y="595"/>
                  </a:lnTo>
                  <a:lnTo>
                    <a:pt x="840" y="876"/>
                  </a:lnTo>
                  <a:lnTo>
                    <a:pt x="765" y="876"/>
                  </a:lnTo>
                  <a:lnTo>
                    <a:pt x="763" y="600"/>
                  </a:lnTo>
                  <a:lnTo>
                    <a:pt x="763" y="544"/>
                  </a:lnTo>
                  <a:lnTo>
                    <a:pt x="707" y="536"/>
                  </a:lnTo>
                  <a:lnTo>
                    <a:pt x="690" y="539"/>
                  </a:lnTo>
                  <a:lnTo>
                    <a:pt x="688" y="536"/>
                  </a:lnTo>
                  <a:lnTo>
                    <a:pt x="668" y="534"/>
                  </a:lnTo>
                  <a:lnTo>
                    <a:pt x="668" y="527"/>
                  </a:lnTo>
                  <a:lnTo>
                    <a:pt x="661" y="515"/>
                  </a:lnTo>
                  <a:lnTo>
                    <a:pt x="646" y="512"/>
                  </a:lnTo>
                  <a:lnTo>
                    <a:pt x="646" y="502"/>
                  </a:lnTo>
                  <a:lnTo>
                    <a:pt x="639" y="493"/>
                  </a:lnTo>
                  <a:lnTo>
                    <a:pt x="625" y="490"/>
                  </a:lnTo>
                  <a:lnTo>
                    <a:pt x="625" y="481"/>
                  </a:lnTo>
                  <a:lnTo>
                    <a:pt x="617" y="471"/>
                  </a:lnTo>
                  <a:lnTo>
                    <a:pt x="603" y="468"/>
                  </a:lnTo>
                  <a:lnTo>
                    <a:pt x="600" y="456"/>
                  </a:lnTo>
                  <a:lnTo>
                    <a:pt x="598" y="449"/>
                  </a:lnTo>
                  <a:lnTo>
                    <a:pt x="559" y="444"/>
                  </a:lnTo>
                  <a:lnTo>
                    <a:pt x="511" y="444"/>
                  </a:lnTo>
                  <a:lnTo>
                    <a:pt x="482" y="449"/>
                  </a:lnTo>
                  <a:lnTo>
                    <a:pt x="482" y="466"/>
                  </a:lnTo>
                  <a:lnTo>
                    <a:pt x="460" y="471"/>
                  </a:lnTo>
                  <a:lnTo>
                    <a:pt x="460" y="488"/>
                  </a:lnTo>
                  <a:lnTo>
                    <a:pt x="436" y="493"/>
                  </a:lnTo>
                  <a:lnTo>
                    <a:pt x="436" y="510"/>
                  </a:lnTo>
                  <a:lnTo>
                    <a:pt x="411" y="512"/>
                  </a:lnTo>
                  <a:lnTo>
                    <a:pt x="411" y="532"/>
                  </a:lnTo>
                  <a:lnTo>
                    <a:pt x="385" y="534"/>
                  </a:lnTo>
                  <a:lnTo>
                    <a:pt x="385" y="536"/>
                  </a:lnTo>
                  <a:lnTo>
                    <a:pt x="382" y="536"/>
                  </a:lnTo>
                  <a:lnTo>
                    <a:pt x="382" y="328"/>
                  </a:lnTo>
                  <a:lnTo>
                    <a:pt x="322" y="328"/>
                  </a:lnTo>
                  <a:lnTo>
                    <a:pt x="322" y="274"/>
                  </a:lnTo>
                  <a:lnTo>
                    <a:pt x="264" y="274"/>
                  </a:lnTo>
                  <a:lnTo>
                    <a:pt x="264" y="233"/>
                  </a:lnTo>
                  <a:lnTo>
                    <a:pt x="201" y="233"/>
                  </a:lnTo>
                  <a:lnTo>
                    <a:pt x="201" y="328"/>
                  </a:lnTo>
                  <a:lnTo>
                    <a:pt x="179" y="328"/>
                  </a:lnTo>
                  <a:lnTo>
                    <a:pt x="179" y="257"/>
                  </a:lnTo>
                  <a:lnTo>
                    <a:pt x="181" y="255"/>
                  </a:lnTo>
                  <a:lnTo>
                    <a:pt x="181" y="252"/>
                  </a:lnTo>
                  <a:lnTo>
                    <a:pt x="179" y="252"/>
                  </a:lnTo>
                  <a:lnTo>
                    <a:pt x="179" y="218"/>
                  </a:lnTo>
                  <a:lnTo>
                    <a:pt x="181" y="213"/>
                  </a:lnTo>
                  <a:lnTo>
                    <a:pt x="181" y="213"/>
                  </a:lnTo>
                  <a:lnTo>
                    <a:pt x="179" y="213"/>
                  </a:lnTo>
                  <a:lnTo>
                    <a:pt x="179" y="177"/>
                  </a:lnTo>
                  <a:lnTo>
                    <a:pt x="181" y="174"/>
                  </a:lnTo>
                  <a:lnTo>
                    <a:pt x="181" y="172"/>
                  </a:lnTo>
                  <a:lnTo>
                    <a:pt x="179" y="172"/>
                  </a:lnTo>
                  <a:lnTo>
                    <a:pt x="179" y="114"/>
                  </a:lnTo>
                  <a:lnTo>
                    <a:pt x="116" y="109"/>
                  </a:lnTo>
                  <a:lnTo>
                    <a:pt x="43" y="104"/>
                  </a:lnTo>
                  <a:lnTo>
                    <a:pt x="29" y="104"/>
                  </a:lnTo>
                  <a:lnTo>
                    <a:pt x="29" y="51"/>
                  </a:lnTo>
                  <a:lnTo>
                    <a:pt x="29" y="31"/>
                  </a:lnTo>
                  <a:lnTo>
                    <a:pt x="29" y="26"/>
                  </a:lnTo>
                  <a:lnTo>
                    <a:pt x="29" y="9"/>
                  </a:lnTo>
                  <a:lnTo>
                    <a:pt x="29" y="4"/>
                  </a:lnTo>
                  <a:lnTo>
                    <a:pt x="29" y="0"/>
                  </a:lnTo>
                  <a:lnTo>
                    <a:pt x="0" y="0"/>
                  </a:lnTo>
                  <a:lnTo>
                    <a:pt x="0" y="1423"/>
                  </a:lnTo>
                  <a:lnTo>
                    <a:pt x="1276" y="1423"/>
                  </a:lnTo>
                  <a:lnTo>
                    <a:pt x="1276" y="534"/>
                  </a:ln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mn-lt"/>
              </a:endParaRPr>
            </a:p>
          </p:txBody>
        </p:sp>
        <p:sp>
          <p:nvSpPr>
            <p:cNvPr id="10" name="Freeform 17">
              <a:extLst>
                <a:ext uri="{FF2B5EF4-FFF2-40B4-BE49-F238E27FC236}">
                  <a16:creationId xmlns:a16="http://schemas.microsoft.com/office/drawing/2014/main" id="{2AD132FA-F67C-AE5D-45F7-659C6CDBDE99}"/>
                </a:ext>
              </a:extLst>
            </p:cNvPr>
            <p:cNvSpPr>
              <a:spLocks/>
            </p:cNvSpPr>
            <p:nvPr/>
          </p:nvSpPr>
          <p:spPr bwMode="auto">
            <a:xfrm>
              <a:off x="3050582" y="2923828"/>
              <a:ext cx="1526583" cy="2058086"/>
            </a:xfrm>
            <a:custGeom>
              <a:avLst/>
              <a:gdLst>
                <a:gd name="T0" fmla="*/ 1281 w 1281"/>
                <a:gd name="T1" fmla="*/ 1727 h 1727"/>
                <a:gd name="T2" fmla="*/ 1194 w 1281"/>
                <a:gd name="T3" fmla="*/ 304 h 1727"/>
                <a:gd name="T4" fmla="*/ 1194 w 1281"/>
                <a:gd name="T5" fmla="*/ 284 h 1727"/>
                <a:gd name="T6" fmla="*/ 1194 w 1281"/>
                <a:gd name="T7" fmla="*/ 265 h 1727"/>
                <a:gd name="T8" fmla="*/ 1080 w 1281"/>
                <a:gd name="T9" fmla="*/ 126 h 1727"/>
                <a:gd name="T10" fmla="*/ 1073 w 1281"/>
                <a:gd name="T11" fmla="*/ 80 h 1727"/>
                <a:gd name="T12" fmla="*/ 1063 w 1281"/>
                <a:gd name="T13" fmla="*/ 92 h 1727"/>
                <a:gd name="T14" fmla="*/ 1063 w 1281"/>
                <a:gd name="T15" fmla="*/ 12 h 1727"/>
                <a:gd name="T16" fmla="*/ 1061 w 1281"/>
                <a:gd name="T17" fmla="*/ 0 h 1727"/>
                <a:gd name="T18" fmla="*/ 1053 w 1281"/>
                <a:gd name="T19" fmla="*/ 92 h 1727"/>
                <a:gd name="T20" fmla="*/ 1053 w 1281"/>
                <a:gd name="T21" fmla="*/ 12 h 1727"/>
                <a:gd name="T22" fmla="*/ 1048 w 1281"/>
                <a:gd name="T23" fmla="*/ 0 h 1727"/>
                <a:gd name="T24" fmla="*/ 1041 w 1281"/>
                <a:gd name="T25" fmla="*/ 92 h 1727"/>
                <a:gd name="T26" fmla="*/ 1041 w 1281"/>
                <a:gd name="T27" fmla="*/ 12 h 1727"/>
                <a:gd name="T28" fmla="*/ 1039 w 1281"/>
                <a:gd name="T29" fmla="*/ 0 h 1727"/>
                <a:gd name="T30" fmla="*/ 1031 w 1281"/>
                <a:gd name="T31" fmla="*/ 92 h 1727"/>
                <a:gd name="T32" fmla="*/ 1031 w 1281"/>
                <a:gd name="T33" fmla="*/ 12 h 1727"/>
                <a:gd name="T34" fmla="*/ 1027 w 1281"/>
                <a:gd name="T35" fmla="*/ 0 h 1727"/>
                <a:gd name="T36" fmla="*/ 1019 w 1281"/>
                <a:gd name="T37" fmla="*/ 92 h 1727"/>
                <a:gd name="T38" fmla="*/ 1019 w 1281"/>
                <a:gd name="T39" fmla="*/ 12 h 1727"/>
                <a:gd name="T40" fmla="*/ 1017 w 1281"/>
                <a:gd name="T41" fmla="*/ 0 h 1727"/>
                <a:gd name="T42" fmla="*/ 1010 w 1281"/>
                <a:gd name="T43" fmla="*/ 92 h 1727"/>
                <a:gd name="T44" fmla="*/ 1000 w 1281"/>
                <a:gd name="T45" fmla="*/ 80 h 1727"/>
                <a:gd name="T46" fmla="*/ 1000 w 1281"/>
                <a:gd name="T47" fmla="*/ 257 h 1727"/>
                <a:gd name="T48" fmla="*/ 1000 w 1281"/>
                <a:gd name="T49" fmla="*/ 282 h 1727"/>
                <a:gd name="T50" fmla="*/ 971 w 1281"/>
                <a:gd name="T51" fmla="*/ 304 h 1727"/>
                <a:gd name="T52" fmla="*/ 971 w 1281"/>
                <a:gd name="T53" fmla="*/ 313 h 1727"/>
                <a:gd name="T54" fmla="*/ 971 w 1281"/>
                <a:gd name="T55" fmla="*/ 335 h 1727"/>
                <a:gd name="T56" fmla="*/ 971 w 1281"/>
                <a:gd name="T57" fmla="*/ 403 h 1727"/>
                <a:gd name="T58" fmla="*/ 968 w 1281"/>
                <a:gd name="T59" fmla="*/ 413 h 1727"/>
                <a:gd name="T60" fmla="*/ 932 w 1281"/>
                <a:gd name="T61" fmla="*/ 738 h 1727"/>
                <a:gd name="T62" fmla="*/ 814 w 1281"/>
                <a:gd name="T63" fmla="*/ 515 h 1727"/>
                <a:gd name="T64" fmla="*/ 746 w 1281"/>
                <a:gd name="T65" fmla="*/ 386 h 1727"/>
                <a:gd name="T66" fmla="*/ 719 w 1281"/>
                <a:gd name="T67" fmla="*/ 515 h 1727"/>
                <a:gd name="T68" fmla="*/ 608 w 1281"/>
                <a:gd name="T69" fmla="*/ 386 h 1727"/>
                <a:gd name="T70" fmla="*/ 557 w 1281"/>
                <a:gd name="T71" fmla="*/ 515 h 1727"/>
                <a:gd name="T72" fmla="*/ 513 w 1281"/>
                <a:gd name="T73" fmla="*/ 1195 h 1727"/>
                <a:gd name="T74" fmla="*/ 458 w 1281"/>
                <a:gd name="T75" fmla="*/ 1200 h 1727"/>
                <a:gd name="T76" fmla="*/ 431 w 1281"/>
                <a:gd name="T77" fmla="*/ 1202 h 1727"/>
                <a:gd name="T78" fmla="*/ 412 w 1281"/>
                <a:gd name="T79" fmla="*/ 1180 h 1727"/>
                <a:gd name="T80" fmla="*/ 370 w 1281"/>
                <a:gd name="T81" fmla="*/ 1207 h 1727"/>
                <a:gd name="T82" fmla="*/ 370 w 1281"/>
                <a:gd name="T83" fmla="*/ 1210 h 1727"/>
                <a:gd name="T84" fmla="*/ 370 w 1281"/>
                <a:gd name="T85" fmla="*/ 1200 h 1727"/>
                <a:gd name="T86" fmla="*/ 322 w 1281"/>
                <a:gd name="T87" fmla="*/ 1188 h 1727"/>
                <a:gd name="T88" fmla="*/ 312 w 1281"/>
                <a:gd name="T89" fmla="*/ 1202 h 1727"/>
                <a:gd name="T90" fmla="*/ 269 w 1281"/>
                <a:gd name="T91" fmla="*/ 1197 h 1727"/>
                <a:gd name="T92" fmla="*/ 140 w 1281"/>
                <a:gd name="T93" fmla="*/ 1193 h 1727"/>
                <a:gd name="T94" fmla="*/ 0 w 1281"/>
                <a:gd name="T95" fmla="*/ 1210 h 1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81" h="1727">
                  <a:moveTo>
                    <a:pt x="0" y="1727"/>
                  </a:moveTo>
                  <a:lnTo>
                    <a:pt x="1281" y="1727"/>
                  </a:lnTo>
                  <a:lnTo>
                    <a:pt x="1281" y="304"/>
                  </a:lnTo>
                  <a:lnTo>
                    <a:pt x="1194" y="304"/>
                  </a:lnTo>
                  <a:lnTo>
                    <a:pt x="1194" y="291"/>
                  </a:lnTo>
                  <a:lnTo>
                    <a:pt x="1194" y="284"/>
                  </a:lnTo>
                  <a:lnTo>
                    <a:pt x="1194" y="267"/>
                  </a:lnTo>
                  <a:lnTo>
                    <a:pt x="1194" y="265"/>
                  </a:lnTo>
                  <a:lnTo>
                    <a:pt x="1080" y="265"/>
                  </a:lnTo>
                  <a:lnTo>
                    <a:pt x="1080" y="126"/>
                  </a:lnTo>
                  <a:lnTo>
                    <a:pt x="1080" y="80"/>
                  </a:lnTo>
                  <a:lnTo>
                    <a:pt x="1073" y="80"/>
                  </a:lnTo>
                  <a:lnTo>
                    <a:pt x="1073" y="92"/>
                  </a:lnTo>
                  <a:lnTo>
                    <a:pt x="1063" y="92"/>
                  </a:lnTo>
                  <a:lnTo>
                    <a:pt x="1063" y="12"/>
                  </a:lnTo>
                  <a:lnTo>
                    <a:pt x="1063" y="12"/>
                  </a:lnTo>
                  <a:lnTo>
                    <a:pt x="1063" y="0"/>
                  </a:lnTo>
                  <a:lnTo>
                    <a:pt x="1061" y="0"/>
                  </a:lnTo>
                  <a:lnTo>
                    <a:pt x="1061" y="92"/>
                  </a:lnTo>
                  <a:lnTo>
                    <a:pt x="1053" y="92"/>
                  </a:lnTo>
                  <a:lnTo>
                    <a:pt x="1053" y="12"/>
                  </a:lnTo>
                  <a:lnTo>
                    <a:pt x="1053" y="12"/>
                  </a:lnTo>
                  <a:lnTo>
                    <a:pt x="1053" y="0"/>
                  </a:lnTo>
                  <a:lnTo>
                    <a:pt x="1048" y="0"/>
                  </a:lnTo>
                  <a:lnTo>
                    <a:pt x="1048" y="92"/>
                  </a:lnTo>
                  <a:lnTo>
                    <a:pt x="1041" y="92"/>
                  </a:lnTo>
                  <a:lnTo>
                    <a:pt x="1041" y="12"/>
                  </a:lnTo>
                  <a:lnTo>
                    <a:pt x="1041" y="12"/>
                  </a:lnTo>
                  <a:lnTo>
                    <a:pt x="1041" y="0"/>
                  </a:lnTo>
                  <a:lnTo>
                    <a:pt x="1039" y="0"/>
                  </a:lnTo>
                  <a:lnTo>
                    <a:pt x="1039" y="92"/>
                  </a:lnTo>
                  <a:lnTo>
                    <a:pt x="1031" y="92"/>
                  </a:lnTo>
                  <a:lnTo>
                    <a:pt x="1031" y="12"/>
                  </a:lnTo>
                  <a:lnTo>
                    <a:pt x="1031" y="12"/>
                  </a:lnTo>
                  <a:lnTo>
                    <a:pt x="1029" y="0"/>
                  </a:lnTo>
                  <a:lnTo>
                    <a:pt x="1027" y="0"/>
                  </a:lnTo>
                  <a:lnTo>
                    <a:pt x="1027" y="92"/>
                  </a:lnTo>
                  <a:lnTo>
                    <a:pt x="1019" y="92"/>
                  </a:lnTo>
                  <a:lnTo>
                    <a:pt x="1019" y="12"/>
                  </a:lnTo>
                  <a:lnTo>
                    <a:pt x="1019" y="12"/>
                  </a:lnTo>
                  <a:lnTo>
                    <a:pt x="1019" y="0"/>
                  </a:lnTo>
                  <a:lnTo>
                    <a:pt x="1017" y="0"/>
                  </a:lnTo>
                  <a:lnTo>
                    <a:pt x="1017" y="92"/>
                  </a:lnTo>
                  <a:lnTo>
                    <a:pt x="1010" y="92"/>
                  </a:lnTo>
                  <a:lnTo>
                    <a:pt x="1007" y="80"/>
                  </a:lnTo>
                  <a:lnTo>
                    <a:pt x="1000" y="80"/>
                  </a:lnTo>
                  <a:lnTo>
                    <a:pt x="1000" y="253"/>
                  </a:lnTo>
                  <a:lnTo>
                    <a:pt x="1000" y="257"/>
                  </a:lnTo>
                  <a:lnTo>
                    <a:pt x="1000" y="274"/>
                  </a:lnTo>
                  <a:lnTo>
                    <a:pt x="1000" y="282"/>
                  </a:lnTo>
                  <a:lnTo>
                    <a:pt x="1000" y="304"/>
                  </a:lnTo>
                  <a:lnTo>
                    <a:pt x="971" y="304"/>
                  </a:lnTo>
                  <a:lnTo>
                    <a:pt x="971" y="308"/>
                  </a:lnTo>
                  <a:lnTo>
                    <a:pt x="971" y="313"/>
                  </a:lnTo>
                  <a:lnTo>
                    <a:pt x="971" y="333"/>
                  </a:lnTo>
                  <a:lnTo>
                    <a:pt x="971" y="335"/>
                  </a:lnTo>
                  <a:lnTo>
                    <a:pt x="971" y="355"/>
                  </a:lnTo>
                  <a:lnTo>
                    <a:pt x="971" y="403"/>
                  </a:lnTo>
                  <a:lnTo>
                    <a:pt x="968" y="403"/>
                  </a:lnTo>
                  <a:lnTo>
                    <a:pt x="968" y="413"/>
                  </a:lnTo>
                  <a:lnTo>
                    <a:pt x="932" y="413"/>
                  </a:lnTo>
                  <a:lnTo>
                    <a:pt x="932" y="738"/>
                  </a:lnTo>
                  <a:lnTo>
                    <a:pt x="814" y="738"/>
                  </a:lnTo>
                  <a:lnTo>
                    <a:pt x="814" y="515"/>
                  </a:lnTo>
                  <a:lnTo>
                    <a:pt x="746" y="515"/>
                  </a:lnTo>
                  <a:lnTo>
                    <a:pt x="746" y="386"/>
                  </a:lnTo>
                  <a:lnTo>
                    <a:pt x="719" y="386"/>
                  </a:lnTo>
                  <a:lnTo>
                    <a:pt x="719" y="515"/>
                  </a:lnTo>
                  <a:lnTo>
                    <a:pt x="608" y="515"/>
                  </a:lnTo>
                  <a:lnTo>
                    <a:pt x="608" y="386"/>
                  </a:lnTo>
                  <a:lnTo>
                    <a:pt x="557" y="386"/>
                  </a:lnTo>
                  <a:lnTo>
                    <a:pt x="557" y="515"/>
                  </a:lnTo>
                  <a:lnTo>
                    <a:pt x="513" y="515"/>
                  </a:lnTo>
                  <a:lnTo>
                    <a:pt x="513" y="1195"/>
                  </a:lnTo>
                  <a:lnTo>
                    <a:pt x="475" y="1197"/>
                  </a:lnTo>
                  <a:lnTo>
                    <a:pt x="458" y="1200"/>
                  </a:lnTo>
                  <a:lnTo>
                    <a:pt x="433" y="1202"/>
                  </a:lnTo>
                  <a:lnTo>
                    <a:pt x="431" y="1202"/>
                  </a:lnTo>
                  <a:lnTo>
                    <a:pt x="421" y="1188"/>
                  </a:lnTo>
                  <a:lnTo>
                    <a:pt x="412" y="1180"/>
                  </a:lnTo>
                  <a:lnTo>
                    <a:pt x="373" y="1200"/>
                  </a:lnTo>
                  <a:lnTo>
                    <a:pt x="370" y="1207"/>
                  </a:lnTo>
                  <a:lnTo>
                    <a:pt x="370" y="1210"/>
                  </a:lnTo>
                  <a:lnTo>
                    <a:pt x="370" y="1210"/>
                  </a:lnTo>
                  <a:lnTo>
                    <a:pt x="370" y="1207"/>
                  </a:lnTo>
                  <a:lnTo>
                    <a:pt x="370" y="1200"/>
                  </a:lnTo>
                  <a:lnTo>
                    <a:pt x="332" y="1180"/>
                  </a:lnTo>
                  <a:lnTo>
                    <a:pt x="322" y="1188"/>
                  </a:lnTo>
                  <a:lnTo>
                    <a:pt x="312" y="1202"/>
                  </a:lnTo>
                  <a:lnTo>
                    <a:pt x="312" y="1202"/>
                  </a:lnTo>
                  <a:lnTo>
                    <a:pt x="288" y="1200"/>
                  </a:lnTo>
                  <a:lnTo>
                    <a:pt x="269" y="1197"/>
                  </a:lnTo>
                  <a:lnTo>
                    <a:pt x="160" y="1193"/>
                  </a:lnTo>
                  <a:lnTo>
                    <a:pt x="140" y="1193"/>
                  </a:lnTo>
                  <a:lnTo>
                    <a:pt x="22" y="1205"/>
                  </a:lnTo>
                  <a:lnTo>
                    <a:pt x="0" y="1210"/>
                  </a:lnTo>
                  <a:lnTo>
                    <a:pt x="0" y="1727"/>
                  </a:ln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mn-lt"/>
              </a:endParaRPr>
            </a:p>
          </p:txBody>
        </p:sp>
        <p:sp>
          <p:nvSpPr>
            <p:cNvPr id="11" name="Freeform 18">
              <a:extLst>
                <a:ext uri="{FF2B5EF4-FFF2-40B4-BE49-F238E27FC236}">
                  <a16:creationId xmlns:a16="http://schemas.microsoft.com/office/drawing/2014/main" id="{2E5A891F-7F50-7EF3-37EA-85847FBE54E9}"/>
                </a:ext>
              </a:extLst>
            </p:cNvPr>
            <p:cNvSpPr>
              <a:spLocks noEditPoints="1"/>
            </p:cNvSpPr>
            <p:nvPr/>
          </p:nvSpPr>
          <p:spPr bwMode="auto">
            <a:xfrm>
              <a:off x="1526381" y="2990564"/>
              <a:ext cx="1524200" cy="1991350"/>
            </a:xfrm>
            <a:custGeom>
              <a:avLst/>
              <a:gdLst>
                <a:gd name="T0" fmla="*/ 933 w 1279"/>
                <a:gd name="T1" fmla="*/ 988 h 1671"/>
                <a:gd name="T2" fmla="*/ 712 w 1279"/>
                <a:gd name="T3" fmla="*/ 933 h 1671"/>
                <a:gd name="T4" fmla="*/ 577 w 1279"/>
                <a:gd name="T5" fmla="*/ 1207 h 1671"/>
                <a:gd name="T6" fmla="*/ 303 w 1279"/>
                <a:gd name="T7" fmla="*/ 1336 h 1671"/>
                <a:gd name="T8" fmla="*/ 230 w 1279"/>
                <a:gd name="T9" fmla="*/ 517 h 1671"/>
                <a:gd name="T10" fmla="*/ 194 w 1279"/>
                <a:gd name="T11" fmla="*/ 505 h 1671"/>
                <a:gd name="T12" fmla="*/ 240 w 1279"/>
                <a:gd name="T13" fmla="*/ 498 h 1671"/>
                <a:gd name="T14" fmla="*/ 211 w 1279"/>
                <a:gd name="T15" fmla="*/ 486 h 1671"/>
                <a:gd name="T16" fmla="*/ 194 w 1279"/>
                <a:gd name="T17" fmla="*/ 481 h 1671"/>
                <a:gd name="T18" fmla="*/ 192 w 1279"/>
                <a:gd name="T19" fmla="*/ 432 h 1671"/>
                <a:gd name="T20" fmla="*/ 182 w 1279"/>
                <a:gd name="T21" fmla="*/ 427 h 1671"/>
                <a:gd name="T22" fmla="*/ 204 w 1279"/>
                <a:gd name="T23" fmla="*/ 425 h 1671"/>
                <a:gd name="T24" fmla="*/ 218 w 1279"/>
                <a:gd name="T25" fmla="*/ 425 h 1671"/>
                <a:gd name="T26" fmla="*/ 233 w 1279"/>
                <a:gd name="T27" fmla="*/ 418 h 1671"/>
                <a:gd name="T28" fmla="*/ 235 w 1279"/>
                <a:gd name="T29" fmla="*/ 410 h 1671"/>
                <a:gd name="T30" fmla="*/ 189 w 1279"/>
                <a:gd name="T31" fmla="*/ 398 h 1671"/>
                <a:gd name="T32" fmla="*/ 172 w 1279"/>
                <a:gd name="T33" fmla="*/ 379 h 1671"/>
                <a:gd name="T34" fmla="*/ 168 w 1279"/>
                <a:gd name="T35" fmla="*/ 245 h 1671"/>
                <a:gd name="T36" fmla="*/ 163 w 1279"/>
                <a:gd name="T37" fmla="*/ 146 h 1671"/>
                <a:gd name="T38" fmla="*/ 158 w 1279"/>
                <a:gd name="T39" fmla="*/ 63 h 1671"/>
                <a:gd name="T40" fmla="*/ 155 w 1279"/>
                <a:gd name="T41" fmla="*/ 0 h 1671"/>
                <a:gd name="T42" fmla="*/ 153 w 1279"/>
                <a:gd name="T43" fmla="*/ 0 h 1671"/>
                <a:gd name="T44" fmla="*/ 151 w 1279"/>
                <a:gd name="T45" fmla="*/ 65 h 1671"/>
                <a:gd name="T46" fmla="*/ 148 w 1279"/>
                <a:gd name="T47" fmla="*/ 146 h 1671"/>
                <a:gd name="T48" fmla="*/ 146 w 1279"/>
                <a:gd name="T49" fmla="*/ 374 h 1671"/>
                <a:gd name="T50" fmla="*/ 138 w 1279"/>
                <a:gd name="T51" fmla="*/ 386 h 1671"/>
                <a:gd name="T52" fmla="*/ 117 w 1279"/>
                <a:gd name="T53" fmla="*/ 401 h 1671"/>
                <a:gd name="T54" fmla="*/ 80 w 1279"/>
                <a:gd name="T55" fmla="*/ 418 h 1671"/>
                <a:gd name="T56" fmla="*/ 95 w 1279"/>
                <a:gd name="T57" fmla="*/ 425 h 1671"/>
                <a:gd name="T58" fmla="*/ 112 w 1279"/>
                <a:gd name="T59" fmla="*/ 427 h 1671"/>
                <a:gd name="T60" fmla="*/ 129 w 1279"/>
                <a:gd name="T61" fmla="*/ 427 h 1671"/>
                <a:gd name="T62" fmla="*/ 119 w 1279"/>
                <a:gd name="T63" fmla="*/ 439 h 1671"/>
                <a:gd name="T64" fmla="*/ 121 w 1279"/>
                <a:gd name="T65" fmla="*/ 481 h 1671"/>
                <a:gd name="T66" fmla="*/ 100 w 1279"/>
                <a:gd name="T67" fmla="*/ 486 h 1671"/>
                <a:gd name="T68" fmla="*/ 75 w 1279"/>
                <a:gd name="T69" fmla="*/ 498 h 1671"/>
                <a:gd name="T70" fmla="*/ 121 w 1279"/>
                <a:gd name="T71" fmla="*/ 507 h 1671"/>
                <a:gd name="T72" fmla="*/ 85 w 1279"/>
                <a:gd name="T73" fmla="*/ 520 h 1671"/>
                <a:gd name="T74" fmla="*/ 27 w 1279"/>
                <a:gd name="T75" fmla="*/ 1333 h 1671"/>
                <a:gd name="T76" fmla="*/ 126 w 1279"/>
                <a:gd name="T77" fmla="*/ 498 h 1671"/>
                <a:gd name="T78" fmla="*/ 121 w 1279"/>
                <a:gd name="T79" fmla="*/ 498 h 1671"/>
                <a:gd name="T80" fmla="*/ 121 w 1279"/>
                <a:gd name="T81" fmla="*/ 568 h 1671"/>
                <a:gd name="T82" fmla="*/ 119 w 1279"/>
                <a:gd name="T83" fmla="*/ 656 h 1671"/>
                <a:gd name="T84" fmla="*/ 138 w 1279"/>
                <a:gd name="T85" fmla="*/ 799 h 1671"/>
                <a:gd name="T86" fmla="*/ 124 w 1279"/>
                <a:gd name="T87" fmla="*/ 814 h 1671"/>
                <a:gd name="T88" fmla="*/ 119 w 1279"/>
                <a:gd name="T89" fmla="*/ 937 h 1671"/>
                <a:gd name="T90" fmla="*/ 141 w 1279"/>
                <a:gd name="T91" fmla="*/ 1071 h 1671"/>
                <a:gd name="T92" fmla="*/ 121 w 1279"/>
                <a:gd name="T93" fmla="*/ 1188 h 1671"/>
                <a:gd name="T94" fmla="*/ 129 w 1279"/>
                <a:gd name="T95" fmla="*/ 1185 h 1671"/>
                <a:gd name="T96" fmla="*/ 182 w 1279"/>
                <a:gd name="T97" fmla="*/ 656 h 1671"/>
                <a:gd name="T98" fmla="*/ 189 w 1279"/>
                <a:gd name="T99" fmla="*/ 799 h 1671"/>
                <a:gd name="T100" fmla="*/ 199 w 1279"/>
                <a:gd name="T101" fmla="*/ 937 h 1671"/>
                <a:gd name="T102" fmla="*/ 199 w 1279"/>
                <a:gd name="T103" fmla="*/ 957 h 1671"/>
                <a:gd name="T104" fmla="*/ 184 w 1279"/>
                <a:gd name="T105" fmla="*/ 1185 h 1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79" h="1671">
                  <a:moveTo>
                    <a:pt x="1279" y="1154"/>
                  </a:moveTo>
                  <a:lnTo>
                    <a:pt x="1182" y="1178"/>
                  </a:lnTo>
                  <a:lnTo>
                    <a:pt x="1100" y="1212"/>
                  </a:lnTo>
                  <a:lnTo>
                    <a:pt x="1063" y="1212"/>
                  </a:lnTo>
                  <a:lnTo>
                    <a:pt x="1063" y="988"/>
                  </a:lnTo>
                  <a:lnTo>
                    <a:pt x="933" y="988"/>
                  </a:lnTo>
                  <a:lnTo>
                    <a:pt x="933" y="933"/>
                  </a:lnTo>
                  <a:lnTo>
                    <a:pt x="894" y="933"/>
                  </a:lnTo>
                  <a:lnTo>
                    <a:pt x="894" y="877"/>
                  </a:lnTo>
                  <a:lnTo>
                    <a:pt x="783" y="877"/>
                  </a:lnTo>
                  <a:lnTo>
                    <a:pt x="783" y="933"/>
                  </a:lnTo>
                  <a:lnTo>
                    <a:pt x="712" y="933"/>
                  </a:lnTo>
                  <a:lnTo>
                    <a:pt x="712" y="988"/>
                  </a:lnTo>
                  <a:lnTo>
                    <a:pt x="671" y="988"/>
                  </a:lnTo>
                  <a:lnTo>
                    <a:pt x="671" y="1183"/>
                  </a:lnTo>
                  <a:lnTo>
                    <a:pt x="659" y="1180"/>
                  </a:lnTo>
                  <a:lnTo>
                    <a:pt x="618" y="1188"/>
                  </a:lnTo>
                  <a:lnTo>
                    <a:pt x="577" y="1207"/>
                  </a:lnTo>
                  <a:lnTo>
                    <a:pt x="543" y="1236"/>
                  </a:lnTo>
                  <a:lnTo>
                    <a:pt x="519" y="1275"/>
                  </a:lnTo>
                  <a:lnTo>
                    <a:pt x="506" y="1309"/>
                  </a:lnTo>
                  <a:lnTo>
                    <a:pt x="315" y="1309"/>
                  </a:lnTo>
                  <a:lnTo>
                    <a:pt x="303" y="1314"/>
                  </a:lnTo>
                  <a:lnTo>
                    <a:pt x="303" y="1336"/>
                  </a:lnTo>
                  <a:lnTo>
                    <a:pt x="247" y="1333"/>
                  </a:lnTo>
                  <a:lnTo>
                    <a:pt x="243" y="520"/>
                  </a:lnTo>
                  <a:lnTo>
                    <a:pt x="243" y="520"/>
                  </a:lnTo>
                  <a:lnTo>
                    <a:pt x="240" y="520"/>
                  </a:lnTo>
                  <a:lnTo>
                    <a:pt x="235" y="517"/>
                  </a:lnTo>
                  <a:lnTo>
                    <a:pt x="230" y="517"/>
                  </a:lnTo>
                  <a:lnTo>
                    <a:pt x="230" y="517"/>
                  </a:lnTo>
                  <a:lnTo>
                    <a:pt x="230" y="510"/>
                  </a:lnTo>
                  <a:lnTo>
                    <a:pt x="228" y="507"/>
                  </a:lnTo>
                  <a:lnTo>
                    <a:pt x="221" y="507"/>
                  </a:lnTo>
                  <a:lnTo>
                    <a:pt x="209" y="507"/>
                  </a:lnTo>
                  <a:lnTo>
                    <a:pt x="194" y="505"/>
                  </a:lnTo>
                  <a:lnTo>
                    <a:pt x="184" y="505"/>
                  </a:lnTo>
                  <a:lnTo>
                    <a:pt x="184" y="500"/>
                  </a:lnTo>
                  <a:lnTo>
                    <a:pt x="192" y="500"/>
                  </a:lnTo>
                  <a:lnTo>
                    <a:pt x="211" y="500"/>
                  </a:lnTo>
                  <a:lnTo>
                    <a:pt x="228" y="498"/>
                  </a:lnTo>
                  <a:lnTo>
                    <a:pt x="240" y="498"/>
                  </a:lnTo>
                  <a:lnTo>
                    <a:pt x="247" y="495"/>
                  </a:lnTo>
                  <a:lnTo>
                    <a:pt x="247" y="493"/>
                  </a:lnTo>
                  <a:lnTo>
                    <a:pt x="247" y="490"/>
                  </a:lnTo>
                  <a:lnTo>
                    <a:pt x="240" y="488"/>
                  </a:lnTo>
                  <a:lnTo>
                    <a:pt x="228" y="486"/>
                  </a:lnTo>
                  <a:lnTo>
                    <a:pt x="211" y="486"/>
                  </a:lnTo>
                  <a:lnTo>
                    <a:pt x="189" y="486"/>
                  </a:lnTo>
                  <a:lnTo>
                    <a:pt x="184" y="486"/>
                  </a:lnTo>
                  <a:lnTo>
                    <a:pt x="184" y="483"/>
                  </a:lnTo>
                  <a:lnTo>
                    <a:pt x="187" y="483"/>
                  </a:lnTo>
                  <a:lnTo>
                    <a:pt x="192" y="481"/>
                  </a:lnTo>
                  <a:lnTo>
                    <a:pt x="194" y="481"/>
                  </a:lnTo>
                  <a:lnTo>
                    <a:pt x="194" y="478"/>
                  </a:lnTo>
                  <a:lnTo>
                    <a:pt x="194" y="469"/>
                  </a:lnTo>
                  <a:lnTo>
                    <a:pt x="192" y="459"/>
                  </a:lnTo>
                  <a:lnTo>
                    <a:pt x="192" y="449"/>
                  </a:lnTo>
                  <a:lnTo>
                    <a:pt x="192" y="439"/>
                  </a:lnTo>
                  <a:lnTo>
                    <a:pt x="192" y="432"/>
                  </a:lnTo>
                  <a:lnTo>
                    <a:pt x="192" y="430"/>
                  </a:lnTo>
                  <a:lnTo>
                    <a:pt x="192" y="430"/>
                  </a:lnTo>
                  <a:lnTo>
                    <a:pt x="189" y="427"/>
                  </a:lnTo>
                  <a:lnTo>
                    <a:pt x="184" y="427"/>
                  </a:lnTo>
                  <a:lnTo>
                    <a:pt x="182" y="427"/>
                  </a:lnTo>
                  <a:lnTo>
                    <a:pt x="182" y="427"/>
                  </a:lnTo>
                  <a:lnTo>
                    <a:pt x="184" y="427"/>
                  </a:lnTo>
                  <a:lnTo>
                    <a:pt x="189" y="427"/>
                  </a:lnTo>
                  <a:lnTo>
                    <a:pt x="189" y="427"/>
                  </a:lnTo>
                  <a:lnTo>
                    <a:pt x="199" y="427"/>
                  </a:lnTo>
                  <a:lnTo>
                    <a:pt x="204" y="425"/>
                  </a:lnTo>
                  <a:lnTo>
                    <a:pt x="204" y="425"/>
                  </a:lnTo>
                  <a:lnTo>
                    <a:pt x="204" y="425"/>
                  </a:lnTo>
                  <a:lnTo>
                    <a:pt x="209" y="425"/>
                  </a:lnTo>
                  <a:lnTo>
                    <a:pt x="214" y="425"/>
                  </a:lnTo>
                  <a:lnTo>
                    <a:pt x="214" y="425"/>
                  </a:lnTo>
                  <a:lnTo>
                    <a:pt x="214" y="425"/>
                  </a:lnTo>
                  <a:lnTo>
                    <a:pt x="218" y="425"/>
                  </a:lnTo>
                  <a:lnTo>
                    <a:pt x="221" y="422"/>
                  </a:lnTo>
                  <a:lnTo>
                    <a:pt x="221" y="422"/>
                  </a:lnTo>
                  <a:lnTo>
                    <a:pt x="221" y="422"/>
                  </a:lnTo>
                  <a:lnTo>
                    <a:pt x="221" y="422"/>
                  </a:lnTo>
                  <a:lnTo>
                    <a:pt x="230" y="418"/>
                  </a:lnTo>
                  <a:lnTo>
                    <a:pt x="233" y="418"/>
                  </a:lnTo>
                  <a:lnTo>
                    <a:pt x="233" y="418"/>
                  </a:lnTo>
                  <a:lnTo>
                    <a:pt x="235" y="415"/>
                  </a:lnTo>
                  <a:lnTo>
                    <a:pt x="235" y="413"/>
                  </a:lnTo>
                  <a:lnTo>
                    <a:pt x="235" y="413"/>
                  </a:lnTo>
                  <a:lnTo>
                    <a:pt x="235" y="410"/>
                  </a:lnTo>
                  <a:lnTo>
                    <a:pt x="235" y="410"/>
                  </a:lnTo>
                  <a:lnTo>
                    <a:pt x="221" y="403"/>
                  </a:lnTo>
                  <a:lnTo>
                    <a:pt x="218" y="403"/>
                  </a:lnTo>
                  <a:lnTo>
                    <a:pt x="209" y="401"/>
                  </a:lnTo>
                  <a:lnTo>
                    <a:pt x="197" y="401"/>
                  </a:lnTo>
                  <a:lnTo>
                    <a:pt x="194" y="401"/>
                  </a:lnTo>
                  <a:lnTo>
                    <a:pt x="189" y="398"/>
                  </a:lnTo>
                  <a:lnTo>
                    <a:pt x="187" y="396"/>
                  </a:lnTo>
                  <a:lnTo>
                    <a:pt x="182" y="393"/>
                  </a:lnTo>
                  <a:lnTo>
                    <a:pt x="180" y="391"/>
                  </a:lnTo>
                  <a:lnTo>
                    <a:pt x="177" y="386"/>
                  </a:lnTo>
                  <a:lnTo>
                    <a:pt x="175" y="381"/>
                  </a:lnTo>
                  <a:lnTo>
                    <a:pt x="172" y="379"/>
                  </a:lnTo>
                  <a:lnTo>
                    <a:pt x="170" y="374"/>
                  </a:lnTo>
                  <a:lnTo>
                    <a:pt x="170" y="374"/>
                  </a:lnTo>
                  <a:lnTo>
                    <a:pt x="168" y="374"/>
                  </a:lnTo>
                  <a:lnTo>
                    <a:pt x="168" y="374"/>
                  </a:lnTo>
                  <a:lnTo>
                    <a:pt x="168" y="245"/>
                  </a:lnTo>
                  <a:lnTo>
                    <a:pt x="168" y="245"/>
                  </a:lnTo>
                  <a:lnTo>
                    <a:pt x="165" y="243"/>
                  </a:lnTo>
                  <a:lnTo>
                    <a:pt x="165" y="243"/>
                  </a:lnTo>
                  <a:lnTo>
                    <a:pt x="163" y="243"/>
                  </a:lnTo>
                  <a:lnTo>
                    <a:pt x="163" y="146"/>
                  </a:lnTo>
                  <a:lnTo>
                    <a:pt x="163" y="146"/>
                  </a:lnTo>
                  <a:lnTo>
                    <a:pt x="163" y="146"/>
                  </a:lnTo>
                  <a:lnTo>
                    <a:pt x="160" y="146"/>
                  </a:lnTo>
                  <a:lnTo>
                    <a:pt x="160" y="146"/>
                  </a:lnTo>
                  <a:lnTo>
                    <a:pt x="160" y="65"/>
                  </a:lnTo>
                  <a:lnTo>
                    <a:pt x="160" y="63"/>
                  </a:lnTo>
                  <a:lnTo>
                    <a:pt x="158" y="63"/>
                  </a:lnTo>
                  <a:lnTo>
                    <a:pt x="158" y="63"/>
                  </a:lnTo>
                  <a:lnTo>
                    <a:pt x="158" y="63"/>
                  </a:lnTo>
                  <a:lnTo>
                    <a:pt x="158" y="0"/>
                  </a:lnTo>
                  <a:lnTo>
                    <a:pt x="158" y="0"/>
                  </a:lnTo>
                  <a:lnTo>
                    <a:pt x="155" y="0"/>
                  </a:lnTo>
                  <a:lnTo>
                    <a:pt x="155" y="0"/>
                  </a:lnTo>
                  <a:lnTo>
                    <a:pt x="155" y="0"/>
                  </a:lnTo>
                  <a:lnTo>
                    <a:pt x="155" y="0"/>
                  </a:lnTo>
                  <a:lnTo>
                    <a:pt x="155" y="0"/>
                  </a:lnTo>
                  <a:lnTo>
                    <a:pt x="155" y="0"/>
                  </a:lnTo>
                  <a:lnTo>
                    <a:pt x="153" y="0"/>
                  </a:lnTo>
                  <a:lnTo>
                    <a:pt x="153" y="0"/>
                  </a:lnTo>
                  <a:lnTo>
                    <a:pt x="153" y="0"/>
                  </a:lnTo>
                  <a:lnTo>
                    <a:pt x="153" y="2"/>
                  </a:lnTo>
                  <a:lnTo>
                    <a:pt x="153" y="2"/>
                  </a:lnTo>
                  <a:lnTo>
                    <a:pt x="153" y="63"/>
                  </a:lnTo>
                  <a:lnTo>
                    <a:pt x="153" y="63"/>
                  </a:lnTo>
                  <a:lnTo>
                    <a:pt x="153" y="63"/>
                  </a:lnTo>
                  <a:lnTo>
                    <a:pt x="151" y="65"/>
                  </a:lnTo>
                  <a:lnTo>
                    <a:pt x="151" y="65"/>
                  </a:lnTo>
                  <a:lnTo>
                    <a:pt x="151" y="65"/>
                  </a:lnTo>
                  <a:lnTo>
                    <a:pt x="151" y="146"/>
                  </a:lnTo>
                  <a:lnTo>
                    <a:pt x="151" y="146"/>
                  </a:lnTo>
                  <a:lnTo>
                    <a:pt x="151" y="146"/>
                  </a:lnTo>
                  <a:lnTo>
                    <a:pt x="148" y="146"/>
                  </a:lnTo>
                  <a:lnTo>
                    <a:pt x="148" y="146"/>
                  </a:lnTo>
                  <a:lnTo>
                    <a:pt x="148" y="243"/>
                  </a:lnTo>
                  <a:lnTo>
                    <a:pt x="148" y="243"/>
                  </a:lnTo>
                  <a:lnTo>
                    <a:pt x="146" y="245"/>
                  </a:lnTo>
                  <a:lnTo>
                    <a:pt x="146" y="245"/>
                  </a:lnTo>
                  <a:lnTo>
                    <a:pt x="146" y="374"/>
                  </a:lnTo>
                  <a:lnTo>
                    <a:pt x="146" y="374"/>
                  </a:lnTo>
                  <a:lnTo>
                    <a:pt x="143" y="374"/>
                  </a:lnTo>
                  <a:lnTo>
                    <a:pt x="143" y="374"/>
                  </a:lnTo>
                  <a:lnTo>
                    <a:pt x="141" y="379"/>
                  </a:lnTo>
                  <a:lnTo>
                    <a:pt x="141" y="384"/>
                  </a:lnTo>
                  <a:lnTo>
                    <a:pt x="138" y="386"/>
                  </a:lnTo>
                  <a:lnTo>
                    <a:pt x="136" y="391"/>
                  </a:lnTo>
                  <a:lnTo>
                    <a:pt x="131" y="393"/>
                  </a:lnTo>
                  <a:lnTo>
                    <a:pt x="129" y="396"/>
                  </a:lnTo>
                  <a:lnTo>
                    <a:pt x="124" y="398"/>
                  </a:lnTo>
                  <a:lnTo>
                    <a:pt x="121" y="401"/>
                  </a:lnTo>
                  <a:lnTo>
                    <a:pt x="117" y="401"/>
                  </a:lnTo>
                  <a:lnTo>
                    <a:pt x="105" y="403"/>
                  </a:lnTo>
                  <a:lnTo>
                    <a:pt x="97" y="403"/>
                  </a:lnTo>
                  <a:lnTo>
                    <a:pt x="92" y="405"/>
                  </a:lnTo>
                  <a:lnTo>
                    <a:pt x="80" y="413"/>
                  </a:lnTo>
                  <a:lnTo>
                    <a:pt x="80" y="413"/>
                  </a:lnTo>
                  <a:lnTo>
                    <a:pt x="80" y="418"/>
                  </a:lnTo>
                  <a:lnTo>
                    <a:pt x="80" y="418"/>
                  </a:lnTo>
                  <a:lnTo>
                    <a:pt x="80" y="420"/>
                  </a:lnTo>
                  <a:lnTo>
                    <a:pt x="85" y="420"/>
                  </a:lnTo>
                  <a:lnTo>
                    <a:pt x="95" y="425"/>
                  </a:lnTo>
                  <a:lnTo>
                    <a:pt x="95" y="425"/>
                  </a:lnTo>
                  <a:lnTo>
                    <a:pt x="95" y="425"/>
                  </a:lnTo>
                  <a:lnTo>
                    <a:pt x="100" y="425"/>
                  </a:lnTo>
                  <a:lnTo>
                    <a:pt x="100" y="425"/>
                  </a:lnTo>
                  <a:lnTo>
                    <a:pt x="102" y="425"/>
                  </a:lnTo>
                  <a:lnTo>
                    <a:pt x="102" y="425"/>
                  </a:lnTo>
                  <a:lnTo>
                    <a:pt x="107" y="427"/>
                  </a:lnTo>
                  <a:lnTo>
                    <a:pt x="112" y="427"/>
                  </a:lnTo>
                  <a:lnTo>
                    <a:pt x="112" y="427"/>
                  </a:lnTo>
                  <a:lnTo>
                    <a:pt x="119" y="427"/>
                  </a:lnTo>
                  <a:lnTo>
                    <a:pt x="124" y="427"/>
                  </a:lnTo>
                  <a:lnTo>
                    <a:pt x="124" y="427"/>
                  </a:lnTo>
                  <a:lnTo>
                    <a:pt x="124" y="427"/>
                  </a:lnTo>
                  <a:lnTo>
                    <a:pt x="129" y="427"/>
                  </a:lnTo>
                  <a:lnTo>
                    <a:pt x="129" y="427"/>
                  </a:lnTo>
                  <a:lnTo>
                    <a:pt x="126" y="430"/>
                  </a:lnTo>
                  <a:lnTo>
                    <a:pt x="121" y="430"/>
                  </a:lnTo>
                  <a:lnTo>
                    <a:pt x="119" y="430"/>
                  </a:lnTo>
                  <a:lnTo>
                    <a:pt x="119" y="432"/>
                  </a:lnTo>
                  <a:lnTo>
                    <a:pt x="119" y="439"/>
                  </a:lnTo>
                  <a:lnTo>
                    <a:pt x="119" y="449"/>
                  </a:lnTo>
                  <a:lnTo>
                    <a:pt x="119" y="459"/>
                  </a:lnTo>
                  <a:lnTo>
                    <a:pt x="119" y="469"/>
                  </a:lnTo>
                  <a:lnTo>
                    <a:pt x="119" y="478"/>
                  </a:lnTo>
                  <a:lnTo>
                    <a:pt x="119" y="481"/>
                  </a:lnTo>
                  <a:lnTo>
                    <a:pt x="121" y="481"/>
                  </a:lnTo>
                  <a:lnTo>
                    <a:pt x="124" y="483"/>
                  </a:lnTo>
                  <a:lnTo>
                    <a:pt x="129" y="483"/>
                  </a:lnTo>
                  <a:lnTo>
                    <a:pt x="131" y="483"/>
                  </a:lnTo>
                  <a:lnTo>
                    <a:pt x="131" y="486"/>
                  </a:lnTo>
                  <a:lnTo>
                    <a:pt x="119" y="486"/>
                  </a:lnTo>
                  <a:lnTo>
                    <a:pt x="100" y="486"/>
                  </a:lnTo>
                  <a:lnTo>
                    <a:pt x="83" y="488"/>
                  </a:lnTo>
                  <a:lnTo>
                    <a:pt x="73" y="490"/>
                  </a:lnTo>
                  <a:lnTo>
                    <a:pt x="66" y="490"/>
                  </a:lnTo>
                  <a:lnTo>
                    <a:pt x="66" y="495"/>
                  </a:lnTo>
                  <a:lnTo>
                    <a:pt x="68" y="498"/>
                  </a:lnTo>
                  <a:lnTo>
                    <a:pt x="75" y="498"/>
                  </a:lnTo>
                  <a:lnTo>
                    <a:pt x="88" y="500"/>
                  </a:lnTo>
                  <a:lnTo>
                    <a:pt x="105" y="500"/>
                  </a:lnTo>
                  <a:lnTo>
                    <a:pt x="124" y="500"/>
                  </a:lnTo>
                  <a:lnTo>
                    <a:pt x="131" y="500"/>
                  </a:lnTo>
                  <a:lnTo>
                    <a:pt x="131" y="505"/>
                  </a:lnTo>
                  <a:lnTo>
                    <a:pt x="121" y="507"/>
                  </a:lnTo>
                  <a:lnTo>
                    <a:pt x="107" y="507"/>
                  </a:lnTo>
                  <a:lnTo>
                    <a:pt x="95" y="507"/>
                  </a:lnTo>
                  <a:lnTo>
                    <a:pt x="88" y="510"/>
                  </a:lnTo>
                  <a:lnTo>
                    <a:pt x="88" y="510"/>
                  </a:lnTo>
                  <a:lnTo>
                    <a:pt x="88" y="520"/>
                  </a:lnTo>
                  <a:lnTo>
                    <a:pt x="85" y="520"/>
                  </a:lnTo>
                  <a:lnTo>
                    <a:pt x="80" y="520"/>
                  </a:lnTo>
                  <a:lnTo>
                    <a:pt x="75" y="520"/>
                  </a:lnTo>
                  <a:lnTo>
                    <a:pt x="73" y="520"/>
                  </a:lnTo>
                  <a:lnTo>
                    <a:pt x="73" y="520"/>
                  </a:lnTo>
                  <a:lnTo>
                    <a:pt x="78" y="1331"/>
                  </a:lnTo>
                  <a:lnTo>
                    <a:pt x="27" y="1333"/>
                  </a:lnTo>
                  <a:lnTo>
                    <a:pt x="27" y="1350"/>
                  </a:lnTo>
                  <a:lnTo>
                    <a:pt x="0" y="1353"/>
                  </a:lnTo>
                  <a:lnTo>
                    <a:pt x="0" y="1671"/>
                  </a:lnTo>
                  <a:lnTo>
                    <a:pt x="1279" y="1671"/>
                  </a:lnTo>
                  <a:lnTo>
                    <a:pt x="1279" y="1154"/>
                  </a:lnTo>
                  <a:close/>
                  <a:moveTo>
                    <a:pt x="126" y="498"/>
                  </a:moveTo>
                  <a:lnTo>
                    <a:pt x="124" y="498"/>
                  </a:lnTo>
                  <a:lnTo>
                    <a:pt x="121" y="498"/>
                  </a:lnTo>
                  <a:lnTo>
                    <a:pt x="119" y="498"/>
                  </a:lnTo>
                  <a:lnTo>
                    <a:pt x="117" y="498"/>
                  </a:lnTo>
                  <a:lnTo>
                    <a:pt x="119" y="498"/>
                  </a:lnTo>
                  <a:lnTo>
                    <a:pt x="121" y="498"/>
                  </a:lnTo>
                  <a:lnTo>
                    <a:pt x="124" y="498"/>
                  </a:lnTo>
                  <a:lnTo>
                    <a:pt x="126" y="498"/>
                  </a:lnTo>
                  <a:lnTo>
                    <a:pt x="131" y="498"/>
                  </a:lnTo>
                  <a:lnTo>
                    <a:pt x="126" y="498"/>
                  </a:lnTo>
                  <a:close/>
                  <a:moveTo>
                    <a:pt x="117" y="568"/>
                  </a:moveTo>
                  <a:lnTo>
                    <a:pt x="121" y="568"/>
                  </a:lnTo>
                  <a:lnTo>
                    <a:pt x="131" y="568"/>
                  </a:lnTo>
                  <a:lnTo>
                    <a:pt x="138" y="568"/>
                  </a:lnTo>
                  <a:lnTo>
                    <a:pt x="138" y="656"/>
                  </a:lnTo>
                  <a:lnTo>
                    <a:pt x="134" y="656"/>
                  </a:lnTo>
                  <a:lnTo>
                    <a:pt x="124" y="656"/>
                  </a:lnTo>
                  <a:lnTo>
                    <a:pt x="119" y="656"/>
                  </a:lnTo>
                  <a:lnTo>
                    <a:pt x="117" y="568"/>
                  </a:lnTo>
                  <a:close/>
                  <a:moveTo>
                    <a:pt x="119" y="673"/>
                  </a:moveTo>
                  <a:lnTo>
                    <a:pt x="126" y="673"/>
                  </a:lnTo>
                  <a:lnTo>
                    <a:pt x="136" y="673"/>
                  </a:lnTo>
                  <a:lnTo>
                    <a:pt x="138" y="673"/>
                  </a:lnTo>
                  <a:lnTo>
                    <a:pt x="138" y="799"/>
                  </a:lnTo>
                  <a:lnTo>
                    <a:pt x="136" y="799"/>
                  </a:lnTo>
                  <a:lnTo>
                    <a:pt x="126" y="799"/>
                  </a:lnTo>
                  <a:lnTo>
                    <a:pt x="119" y="799"/>
                  </a:lnTo>
                  <a:lnTo>
                    <a:pt x="119" y="673"/>
                  </a:lnTo>
                  <a:close/>
                  <a:moveTo>
                    <a:pt x="119" y="814"/>
                  </a:moveTo>
                  <a:lnTo>
                    <a:pt x="124" y="814"/>
                  </a:lnTo>
                  <a:lnTo>
                    <a:pt x="136" y="814"/>
                  </a:lnTo>
                  <a:lnTo>
                    <a:pt x="141" y="814"/>
                  </a:lnTo>
                  <a:lnTo>
                    <a:pt x="141" y="937"/>
                  </a:lnTo>
                  <a:lnTo>
                    <a:pt x="136" y="937"/>
                  </a:lnTo>
                  <a:lnTo>
                    <a:pt x="129" y="937"/>
                  </a:lnTo>
                  <a:lnTo>
                    <a:pt x="119" y="937"/>
                  </a:lnTo>
                  <a:lnTo>
                    <a:pt x="119" y="814"/>
                  </a:lnTo>
                  <a:close/>
                  <a:moveTo>
                    <a:pt x="119" y="957"/>
                  </a:moveTo>
                  <a:lnTo>
                    <a:pt x="126" y="957"/>
                  </a:lnTo>
                  <a:lnTo>
                    <a:pt x="136" y="957"/>
                  </a:lnTo>
                  <a:lnTo>
                    <a:pt x="141" y="957"/>
                  </a:lnTo>
                  <a:lnTo>
                    <a:pt x="141" y="1071"/>
                  </a:lnTo>
                  <a:lnTo>
                    <a:pt x="138" y="1071"/>
                  </a:lnTo>
                  <a:lnTo>
                    <a:pt x="129" y="1071"/>
                  </a:lnTo>
                  <a:lnTo>
                    <a:pt x="121" y="1073"/>
                  </a:lnTo>
                  <a:lnTo>
                    <a:pt x="119" y="957"/>
                  </a:lnTo>
                  <a:close/>
                  <a:moveTo>
                    <a:pt x="129" y="1185"/>
                  </a:moveTo>
                  <a:lnTo>
                    <a:pt x="121" y="1188"/>
                  </a:lnTo>
                  <a:lnTo>
                    <a:pt x="121" y="1095"/>
                  </a:lnTo>
                  <a:lnTo>
                    <a:pt x="126" y="1095"/>
                  </a:lnTo>
                  <a:lnTo>
                    <a:pt x="136" y="1095"/>
                  </a:lnTo>
                  <a:lnTo>
                    <a:pt x="141" y="1095"/>
                  </a:lnTo>
                  <a:lnTo>
                    <a:pt x="141" y="1185"/>
                  </a:lnTo>
                  <a:lnTo>
                    <a:pt x="129" y="1185"/>
                  </a:lnTo>
                  <a:close/>
                  <a:moveTo>
                    <a:pt x="182" y="568"/>
                  </a:moveTo>
                  <a:lnTo>
                    <a:pt x="189" y="568"/>
                  </a:lnTo>
                  <a:lnTo>
                    <a:pt x="197" y="568"/>
                  </a:lnTo>
                  <a:lnTo>
                    <a:pt x="197" y="656"/>
                  </a:lnTo>
                  <a:lnTo>
                    <a:pt x="194" y="656"/>
                  </a:lnTo>
                  <a:lnTo>
                    <a:pt x="182" y="656"/>
                  </a:lnTo>
                  <a:lnTo>
                    <a:pt x="182" y="568"/>
                  </a:lnTo>
                  <a:close/>
                  <a:moveTo>
                    <a:pt x="182" y="673"/>
                  </a:moveTo>
                  <a:lnTo>
                    <a:pt x="189" y="673"/>
                  </a:lnTo>
                  <a:lnTo>
                    <a:pt x="197" y="673"/>
                  </a:lnTo>
                  <a:lnTo>
                    <a:pt x="199" y="799"/>
                  </a:lnTo>
                  <a:lnTo>
                    <a:pt x="189" y="799"/>
                  </a:lnTo>
                  <a:lnTo>
                    <a:pt x="182" y="799"/>
                  </a:lnTo>
                  <a:lnTo>
                    <a:pt x="182" y="673"/>
                  </a:lnTo>
                  <a:close/>
                  <a:moveTo>
                    <a:pt x="182" y="814"/>
                  </a:moveTo>
                  <a:lnTo>
                    <a:pt x="194" y="814"/>
                  </a:lnTo>
                  <a:lnTo>
                    <a:pt x="199" y="814"/>
                  </a:lnTo>
                  <a:lnTo>
                    <a:pt x="199" y="937"/>
                  </a:lnTo>
                  <a:lnTo>
                    <a:pt x="192" y="937"/>
                  </a:lnTo>
                  <a:lnTo>
                    <a:pt x="184" y="937"/>
                  </a:lnTo>
                  <a:lnTo>
                    <a:pt x="182" y="814"/>
                  </a:lnTo>
                  <a:close/>
                  <a:moveTo>
                    <a:pt x="184" y="957"/>
                  </a:moveTo>
                  <a:lnTo>
                    <a:pt x="194" y="957"/>
                  </a:lnTo>
                  <a:lnTo>
                    <a:pt x="199" y="957"/>
                  </a:lnTo>
                  <a:lnTo>
                    <a:pt x="199" y="1071"/>
                  </a:lnTo>
                  <a:lnTo>
                    <a:pt x="192" y="1071"/>
                  </a:lnTo>
                  <a:lnTo>
                    <a:pt x="184" y="1071"/>
                  </a:lnTo>
                  <a:lnTo>
                    <a:pt x="184" y="957"/>
                  </a:lnTo>
                  <a:close/>
                  <a:moveTo>
                    <a:pt x="199" y="1188"/>
                  </a:moveTo>
                  <a:lnTo>
                    <a:pt x="184" y="1185"/>
                  </a:lnTo>
                  <a:lnTo>
                    <a:pt x="184" y="1098"/>
                  </a:lnTo>
                  <a:lnTo>
                    <a:pt x="197" y="1098"/>
                  </a:lnTo>
                  <a:lnTo>
                    <a:pt x="199" y="1098"/>
                  </a:lnTo>
                  <a:lnTo>
                    <a:pt x="201" y="1188"/>
                  </a:lnTo>
                  <a:lnTo>
                    <a:pt x="199" y="1188"/>
                  </a:lnTo>
                  <a:close/>
                </a:path>
              </a:pathLst>
            </a:custGeom>
            <a:grpFill/>
            <a:ln>
              <a:noFill/>
            </a:ln>
          </p:spPr>
          <p:txBody>
            <a:bodyPr lIns="68580" tIns="34290" rIns="68580" bIns="34290"/>
            <a:lstStyle/>
            <a:p>
              <a:pPr eaLnBrk="1" fontAlgn="auto" hangingPunct="1">
                <a:spcBef>
                  <a:spcPts val="0"/>
                </a:spcBef>
                <a:spcAft>
                  <a:spcPts val="0"/>
                </a:spcAft>
                <a:defRPr/>
              </a:pPr>
              <a:endParaRPr lang="id-ID" sz="1350">
                <a:latin typeface="+mn-lt"/>
              </a:endParaRPr>
            </a:p>
          </p:txBody>
        </p:sp>
        <p:sp>
          <p:nvSpPr>
            <p:cNvPr id="12" name="Rectangle 11">
              <a:extLst>
                <a:ext uri="{FF2B5EF4-FFF2-40B4-BE49-F238E27FC236}">
                  <a16:creationId xmlns:a16="http://schemas.microsoft.com/office/drawing/2014/main" id="{44904A16-50F1-34E3-4F42-59951B69133B}"/>
                </a:ext>
              </a:extLst>
            </p:cNvPr>
            <p:cNvSpPr/>
            <p:nvPr/>
          </p:nvSpPr>
          <p:spPr>
            <a:xfrm>
              <a:off x="1524000" y="4981914"/>
              <a:ext cx="9144000" cy="140446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d-ID" sz="1350"/>
            </a:p>
          </p:txBody>
        </p:sp>
      </p:grpSp>
      <p:cxnSp>
        <p:nvCxnSpPr>
          <p:cNvPr id="29" name="Straight Connector 12">
            <a:extLst>
              <a:ext uri="{FF2B5EF4-FFF2-40B4-BE49-F238E27FC236}">
                <a16:creationId xmlns:a16="http://schemas.microsoft.com/office/drawing/2014/main" id="{A698608E-6D88-9EC2-40B1-1084BE59B677}"/>
              </a:ext>
            </a:extLst>
          </p:cNvPr>
          <p:cNvCxnSpPr/>
          <p:nvPr/>
        </p:nvCxnSpPr>
        <p:spPr>
          <a:xfrm>
            <a:off x="5183188" y="5468938"/>
            <a:ext cx="0" cy="1014412"/>
          </a:xfrm>
          <a:prstGeom prst="line">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sp>
        <p:nvSpPr>
          <p:cNvPr id="31" name="TextBox 14">
            <a:extLst>
              <a:ext uri="{FF2B5EF4-FFF2-40B4-BE49-F238E27FC236}">
                <a16:creationId xmlns:a16="http://schemas.microsoft.com/office/drawing/2014/main" id="{E0DA8136-6070-1F2E-E1D5-608FFA033901}"/>
              </a:ext>
            </a:extLst>
          </p:cNvPr>
          <p:cNvSpPr txBox="1"/>
          <p:nvPr/>
        </p:nvSpPr>
        <p:spPr>
          <a:xfrm>
            <a:off x="6038850" y="5716588"/>
            <a:ext cx="3240088" cy="276225"/>
          </a:xfrm>
          <a:prstGeom prst="rect">
            <a:avLst/>
          </a:prstGeom>
          <a:noFill/>
        </p:spPr>
        <p:txBody>
          <a:bodyPr>
            <a:spAutoFit/>
          </a:bodyPr>
          <a:lstStyle/>
          <a:p>
            <a:pPr eaLnBrk="1" fontAlgn="auto" hangingPunct="1">
              <a:spcBef>
                <a:spcPts val="0"/>
              </a:spcBef>
              <a:spcAft>
                <a:spcPts val="0"/>
              </a:spcAft>
              <a:defRPr/>
            </a:pPr>
            <a:r>
              <a:rPr lang="tr-TR" sz="1200">
                <a:solidFill>
                  <a:schemeClr val="bg2">
                    <a:lumMod val="10000"/>
                  </a:schemeClr>
                </a:solidFill>
                <a:latin typeface="Open Sans" pitchFamily="34" charset="0"/>
                <a:ea typeface="Open Sans" pitchFamily="34" charset="0"/>
                <a:cs typeface="Open Sans" pitchFamily="34" charset="0"/>
              </a:rPr>
              <a:t>vizyon</a:t>
            </a:r>
            <a:r>
              <a:rPr lang="id-ID" sz="1200">
                <a:solidFill>
                  <a:schemeClr val="bg2">
                    <a:lumMod val="10000"/>
                  </a:schemeClr>
                </a:solidFill>
                <a:latin typeface="Open Sans" pitchFamily="34" charset="0"/>
                <a:ea typeface="Open Sans" pitchFamily="34" charset="0"/>
                <a:cs typeface="Open Sans" pitchFamily="34" charset="0"/>
              </a:rPr>
              <a:t>@</a:t>
            </a:r>
            <a:r>
              <a:rPr lang="tr-TR" sz="1200" err="1">
                <a:solidFill>
                  <a:schemeClr val="bg2">
                    <a:lumMod val="10000"/>
                  </a:schemeClr>
                </a:solidFill>
                <a:latin typeface="Open Sans" pitchFamily="34" charset="0"/>
                <a:ea typeface="Open Sans" pitchFamily="34" charset="0"/>
                <a:cs typeface="Open Sans" pitchFamily="34" charset="0"/>
              </a:rPr>
              <a:t>vizyongd</a:t>
            </a:r>
            <a:r>
              <a:rPr lang="id-ID" sz="1200">
                <a:solidFill>
                  <a:schemeClr val="bg2">
                    <a:lumMod val="10000"/>
                  </a:schemeClr>
                </a:solidFill>
                <a:latin typeface="Open Sans" pitchFamily="34" charset="0"/>
                <a:ea typeface="Open Sans" pitchFamily="34" charset="0"/>
                <a:cs typeface="Open Sans" pitchFamily="34" charset="0"/>
              </a:rPr>
              <a:t>.com</a:t>
            </a:r>
          </a:p>
        </p:txBody>
      </p:sp>
      <p:sp>
        <p:nvSpPr>
          <p:cNvPr id="32" name="TextBox 15">
            <a:extLst>
              <a:ext uri="{FF2B5EF4-FFF2-40B4-BE49-F238E27FC236}">
                <a16:creationId xmlns:a16="http://schemas.microsoft.com/office/drawing/2014/main" id="{B2D25E8F-85B1-C722-B83C-B404E56D7A50}"/>
              </a:ext>
            </a:extLst>
          </p:cNvPr>
          <p:cNvSpPr txBox="1"/>
          <p:nvPr/>
        </p:nvSpPr>
        <p:spPr>
          <a:xfrm>
            <a:off x="6038850" y="6316663"/>
            <a:ext cx="2892425" cy="276225"/>
          </a:xfrm>
          <a:prstGeom prst="rect">
            <a:avLst/>
          </a:prstGeom>
          <a:noFill/>
        </p:spPr>
        <p:txBody>
          <a:bodyPr>
            <a:spAutoFit/>
          </a:bodyPr>
          <a:lstStyle/>
          <a:p>
            <a:pPr eaLnBrk="1" fontAlgn="auto" hangingPunct="1">
              <a:spcBef>
                <a:spcPts val="0"/>
              </a:spcBef>
              <a:spcAft>
                <a:spcPts val="0"/>
              </a:spcAft>
              <a:defRPr/>
            </a:pPr>
            <a:r>
              <a:rPr lang="tr-TR" sz="1200">
                <a:solidFill>
                  <a:schemeClr val="bg2">
                    <a:lumMod val="10000"/>
                  </a:schemeClr>
                </a:solidFill>
                <a:latin typeface="Open Sans" pitchFamily="34" charset="0"/>
                <a:ea typeface="Open Sans" pitchFamily="34" charset="0"/>
                <a:cs typeface="Open Sans" pitchFamily="34" charset="0"/>
              </a:rPr>
              <a:t>(</a:t>
            </a:r>
            <a:r>
              <a:rPr lang="de-DE" sz="1200">
                <a:solidFill>
                  <a:schemeClr val="bg2">
                    <a:lumMod val="10000"/>
                  </a:schemeClr>
                </a:solidFill>
                <a:latin typeface="Open Sans" pitchFamily="34" charset="0"/>
                <a:ea typeface="Open Sans" pitchFamily="34" charset="0"/>
                <a:cs typeface="Open Sans" pitchFamily="34" charset="0"/>
              </a:rPr>
              <a:t>0216</a:t>
            </a:r>
            <a:r>
              <a:rPr lang="tr-TR" sz="1200">
                <a:solidFill>
                  <a:schemeClr val="bg2">
                    <a:lumMod val="10000"/>
                  </a:schemeClr>
                </a:solidFill>
                <a:latin typeface="Open Sans" pitchFamily="34" charset="0"/>
                <a:ea typeface="Open Sans" pitchFamily="34" charset="0"/>
                <a:cs typeface="Open Sans" pitchFamily="34" charset="0"/>
              </a:rPr>
              <a:t>)</a:t>
            </a:r>
            <a:r>
              <a:rPr lang="de-DE" sz="1200">
                <a:solidFill>
                  <a:schemeClr val="bg2">
                    <a:lumMod val="10000"/>
                  </a:schemeClr>
                </a:solidFill>
                <a:latin typeface="Open Sans" pitchFamily="34" charset="0"/>
                <a:ea typeface="Open Sans" pitchFamily="34" charset="0"/>
                <a:cs typeface="Open Sans" pitchFamily="34" charset="0"/>
              </a:rPr>
              <a:t> 445 93 03</a:t>
            </a:r>
            <a:endParaRPr lang="id-ID" sz="1200">
              <a:solidFill>
                <a:schemeClr val="bg2">
                  <a:lumMod val="10000"/>
                </a:schemeClr>
              </a:solidFill>
              <a:latin typeface="Open Sans" pitchFamily="34" charset="0"/>
              <a:ea typeface="Open Sans" pitchFamily="34" charset="0"/>
              <a:cs typeface="Open Sans" pitchFamily="34" charset="0"/>
            </a:endParaRPr>
          </a:p>
        </p:txBody>
      </p:sp>
      <p:sp>
        <p:nvSpPr>
          <p:cNvPr id="34" name="TextBox 17">
            <a:extLst>
              <a:ext uri="{FF2B5EF4-FFF2-40B4-BE49-F238E27FC236}">
                <a16:creationId xmlns:a16="http://schemas.microsoft.com/office/drawing/2014/main" id="{0C32CE4F-24B1-01C4-2A0D-E462A76C9F68}"/>
              </a:ext>
            </a:extLst>
          </p:cNvPr>
          <p:cNvSpPr txBox="1"/>
          <p:nvPr/>
        </p:nvSpPr>
        <p:spPr>
          <a:xfrm>
            <a:off x="933450" y="5322888"/>
            <a:ext cx="4179888" cy="708025"/>
          </a:xfrm>
          <a:prstGeom prst="rect">
            <a:avLst/>
          </a:prstGeom>
          <a:noFill/>
        </p:spPr>
        <p:txBody>
          <a:bodyPr>
            <a:spAutoFit/>
          </a:bodyPr>
          <a:lstStyle/>
          <a:p>
            <a:pPr eaLnBrk="1" fontAlgn="auto" hangingPunct="1">
              <a:spcBef>
                <a:spcPts val="0"/>
              </a:spcBef>
              <a:spcAft>
                <a:spcPts val="0"/>
              </a:spcAft>
              <a:defRPr/>
            </a:pPr>
            <a:r>
              <a:rPr lang="tr-TR" sz="4000" b="1">
                <a:solidFill>
                  <a:schemeClr val="bg2">
                    <a:lumMod val="10000"/>
                  </a:schemeClr>
                </a:solidFill>
                <a:latin typeface="Open Sans" pitchFamily="34" charset="0"/>
                <a:ea typeface="Open Sans" pitchFamily="34" charset="0"/>
                <a:cs typeface="Open Sans" pitchFamily="34" charset="0"/>
              </a:rPr>
              <a:t>vizyongd.com</a:t>
            </a:r>
            <a:endParaRPr lang="en-US" sz="4000" b="1">
              <a:solidFill>
                <a:schemeClr val="bg2">
                  <a:lumMod val="10000"/>
                </a:schemeClr>
              </a:solidFill>
              <a:latin typeface="Open Sans" pitchFamily="34" charset="0"/>
              <a:ea typeface="Open Sans" pitchFamily="34" charset="0"/>
              <a:cs typeface="Open Sans" pitchFamily="34" charset="0"/>
            </a:endParaRPr>
          </a:p>
        </p:txBody>
      </p:sp>
      <p:grpSp>
        <p:nvGrpSpPr>
          <p:cNvPr id="44041" name="Grup 44">
            <a:extLst>
              <a:ext uri="{FF2B5EF4-FFF2-40B4-BE49-F238E27FC236}">
                <a16:creationId xmlns:a16="http://schemas.microsoft.com/office/drawing/2014/main" id="{FD4390AD-80F1-93DB-1BF9-5C3BD66D3036}"/>
              </a:ext>
            </a:extLst>
          </p:cNvPr>
          <p:cNvGrpSpPr>
            <a:grpSpLocks/>
          </p:cNvGrpSpPr>
          <p:nvPr/>
        </p:nvGrpSpPr>
        <p:grpSpPr bwMode="auto">
          <a:xfrm>
            <a:off x="5762625" y="5788025"/>
            <a:ext cx="223838" cy="141288"/>
            <a:chOff x="5682010" y="5792554"/>
            <a:chExt cx="304839" cy="191785"/>
          </a:xfrm>
        </p:grpSpPr>
        <p:sp>
          <p:nvSpPr>
            <p:cNvPr id="35" name="Freeform 108">
              <a:extLst>
                <a:ext uri="{FF2B5EF4-FFF2-40B4-BE49-F238E27FC236}">
                  <a16:creationId xmlns:a16="http://schemas.microsoft.com/office/drawing/2014/main" id="{5ADE48FD-3AA7-C8F0-C222-8B456A4CBD98}"/>
                </a:ext>
              </a:extLst>
            </p:cNvPr>
            <p:cNvSpPr>
              <a:spLocks/>
            </p:cNvSpPr>
            <p:nvPr/>
          </p:nvSpPr>
          <p:spPr bwMode="auto">
            <a:xfrm>
              <a:off x="5699306" y="5792554"/>
              <a:ext cx="272409" cy="120673"/>
            </a:xfrm>
            <a:custGeom>
              <a:avLst/>
              <a:gdLst>
                <a:gd name="T0" fmla="*/ 135 w 135"/>
                <a:gd name="T1" fmla="*/ 0 h 60"/>
                <a:gd name="T2" fmla="*/ 132 w 135"/>
                <a:gd name="T3" fmla="*/ 0 h 60"/>
                <a:gd name="T4" fmla="*/ 0 w 135"/>
                <a:gd name="T5" fmla="*/ 0 h 60"/>
                <a:gd name="T6" fmla="*/ 0 w 135"/>
                <a:gd name="T7" fmla="*/ 0 h 60"/>
                <a:gd name="T8" fmla="*/ 66 w 135"/>
                <a:gd name="T9" fmla="*/ 60 h 60"/>
                <a:gd name="T10" fmla="*/ 135 w 135"/>
                <a:gd name="T11" fmla="*/ 0 h 60"/>
              </a:gdLst>
              <a:ahLst/>
              <a:cxnLst>
                <a:cxn ang="0">
                  <a:pos x="T0" y="T1"/>
                </a:cxn>
                <a:cxn ang="0">
                  <a:pos x="T2" y="T3"/>
                </a:cxn>
                <a:cxn ang="0">
                  <a:pos x="T4" y="T5"/>
                </a:cxn>
                <a:cxn ang="0">
                  <a:pos x="T6" y="T7"/>
                </a:cxn>
                <a:cxn ang="0">
                  <a:pos x="T8" y="T9"/>
                </a:cxn>
                <a:cxn ang="0">
                  <a:pos x="T10" y="T11"/>
                </a:cxn>
              </a:cxnLst>
              <a:rect l="0" t="0" r="r" b="b"/>
              <a:pathLst>
                <a:path w="135" h="60">
                  <a:moveTo>
                    <a:pt x="135" y="0"/>
                  </a:moveTo>
                  <a:lnTo>
                    <a:pt x="132" y="0"/>
                  </a:lnTo>
                  <a:lnTo>
                    <a:pt x="0" y="0"/>
                  </a:lnTo>
                  <a:lnTo>
                    <a:pt x="0" y="0"/>
                  </a:lnTo>
                  <a:lnTo>
                    <a:pt x="66" y="60"/>
                  </a:lnTo>
                  <a:lnTo>
                    <a:pt x="135" y="0"/>
                  </a:lnTo>
                  <a:close/>
                </a:path>
              </a:pathLst>
            </a:custGeom>
            <a:solidFill>
              <a:schemeClr val="tx1">
                <a:lumMod val="95000"/>
                <a:lumOff val="5000"/>
              </a:schemeClr>
            </a:solid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36" name="Freeform 109">
              <a:extLst>
                <a:ext uri="{FF2B5EF4-FFF2-40B4-BE49-F238E27FC236}">
                  <a16:creationId xmlns:a16="http://schemas.microsoft.com/office/drawing/2014/main" id="{F571C44F-2B27-2C60-4BF4-87D2509AA3C1}"/>
                </a:ext>
              </a:extLst>
            </p:cNvPr>
            <p:cNvSpPr>
              <a:spLocks/>
            </p:cNvSpPr>
            <p:nvPr/>
          </p:nvSpPr>
          <p:spPr bwMode="auto">
            <a:xfrm>
              <a:off x="5891722" y="5807639"/>
              <a:ext cx="95127" cy="165925"/>
            </a:xfrm>
            <a:custGeom>
              <a:avLst/>
              <a:gdLst>
                <a:gd name="T0" fmla="*/ 20 w 20"/>
                <a:gd name="T1" fmla="*/ 0 h 35"/>
                <a:gd name="T2" fmla="*/ 0 w 20"/>
                <a:gd name="T3" fmla="*/ 17 h 35"/>
                <a:gd name="T4" fmla="*/ 19 w 20"/>
                <a:gd name="T5" fmla="*/ 35 h 35"/>
                <a:gd name="T6" fmla="*/ 20 w 20"/>
                <a:gd name="T7" fmla="*/ 33 h 35"/>
                <a:gd name="T8" fmla="*/ 20 w 20"/>
                <a:gd name="T9" fmla="*/ 1 h 35"/>
                <a:gd name="T10" fmla="*/ 20 w 20"/>
                <a:gd name="T11" fmla="*/ 0 h 35"/>
              </a:gdLst>
              <a:ahLst/>
              <a:cxnLst>
                <a:cxn ang="0">
                  <a:pos x="T0" y="T1"/>
                </a:cxn>
                <a:cxn ang="0">
                  <a:pos x="T2" y="T3"/>
                </a:cxn>
                <a:cxn ang="0">
                  <a:pos x="T4" y="T5"/>
                </a:cxn>
                <a:cxn ang="0">
                  <a:pos x="T6" y="T7"/>
                </a:cxn>
                <a:cxn ang="0">
                  <a:pos x="T8" y="T9"/>
                </a:cxn>
                <a:cxn ang="0">
                  <a:pos x="T10" y="T11"/>
                </a:cxn>
              </a:cxnLst>
              <a:rect l="0" t="0" r="r" b="b"/>
              <a:pathLst>
                <a:path w="20" h="35">
                  <a:moveTo>
                    <a:pt x="20" y="0"/>
                  </a:moveTo>
                  <a:cubicBezTo>
                    <a:pt x="0" y="17"/>
                    <a:pt x="0" y="17"/>
                    <a:pt x="0" y="17"/>
                  </a:cubicBezTo>
                  <a:cubicBezTo>
                    <a:pt x="19" y="35"/>
                    <a:pt x="19" y="35"/>
                    <a:pt x="19" y="35"/>
                  </a:cubicBezTo>
                  <a:cubicBezTo>
                    <a:pt x="20" y="34"/>
                    <a:pt x="20" y="34"/>
                    <a:pt x="20" y="33"/>
                  </a:cubicBezTo>
                  <a:cubicBezTo>
                    <a:pt x="20" y="1"/>
                    <a:pt x="20" y="1"/>
                    <a:pt x="20" y="1"/>
                  </a:cubicBezTo>
                  <a:cubicBezTo>
                    <a:pt x="20" y="1"/>
                    <a:pt x="20" y="0"/>
                    <a:pt x="20" y="0"/>
                  </a:cubicBezTo>
                  <a:close/>
                </a:path>
              </a:pathLst>
            </a:custGeom>
            <a:solidFill>
              <a:schemeClr val="tx1">
                <a:lumMod val="95000"/>
                <a:lumOff val="5000"/>
              </a:schemeClr>
            </a:solid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37" name="Freeform 110">
              <a:extLst>
                <a:ext uri="{FF2B5EF4-FFF2-40B4-BE49-F238E27FC236}">
                  <a16:creationId xmlns:a16="http://schemas.microsoft.com/office/drawing/2014/main" id="{2E3A39F9-589F-F555-9617-C966F5297383}"/>
                </a:ext>
              </a:extLst>
            </p:cNvPr>
            <p:cNvSpPr>
              <a:spLocks/>
            </p:cNvSpPr>
            <p:nvPr/>
          </p:nvSpPr>
          <p:spPr bwMode="auto">
            <a:xfrm>
              <a:off x="5682010" y="5803329"/>
              <a:ext cx="95127" cy="170235"/>
            </a:xfrm>
            <a:custGeom>
              <a:avLst/>
              <a:gdLst>
                <a:gd name="T0" fmla="*/ 0 w 20"/>
                <a:gd name="T1" fmla="*/ 0 h 36"/>
                <a:gd name="T2" fmla="*/ 0 w 20"/>
                <a:gd name="T3" fmla="*/ 2 h 36"/>
                <a:gd name="T4" fmla="*/ 0 w 20"/>
                <a:gd name="T5" fmla="*/ 34 h 36"/>
                <a:gd name="T6" fmla="*/ 0 w 20"/>
                <a:gd name="T7" fmla="*/ 36 h 36"/>
                <a:gd name="T8" fmla="*/ 20 w 20"/>
                <a:gd name="T9" fmla="*/ 18 h 36"/>
                <a:gd name="T10" fmla="*/ 0 w 20"/>
                <a:gd name="T11" fmla="*/ 0 h 36"/>
              </a:gdLst>
              <a:ahLst/>
              <a:cxnLst>
                <a:cxn ang="0">
                  <a:pos x="T0" y="T1"/>
                </a:cxn>
                <a:cxn ang="0">
                  <a:pos x="T2" y="T3"/>
                </a:cxn>
                <a:cxn ang="0">
                  <a:pos x="T4" y="T5"/>
                </a:cxn>
                <a:cxn ang="0">
                  <a:pos x="T6" y="T7"/>
                </a:cxn>
                <a:cxn ang="0">
                  <a:pos x="T8" y="T9"/>
                </a:cxn>
                <a:cxn ang="0">
                  <a:pos x="T10" y="T11"/>
                </a:cxn>
              </a:cxnLst>
              <a:rect l="0" t="0" r="r" b="b"/>
              <a:pathLst>
                <a:path w="20" h="36">
                  <a:moveTo>
                    <a:pt x="0" y="0"/>
                  </a:moveTo>
                  <a:cubicBezTo>
                    <a:pt x="0" y="1"/>
                    <a:pt x="0" y="1"/>
                    <a:pt x="0" y="2"/>
                  </a:cubicBezTo>
                  <a:cubicBezTo>
                    <a:pt x="0" y="34"/>
                    <a:pt x="0" y="34"/>
                    <a:pt x="0" y="34"/>
                  </a:cubicBezTo>
                  <a:cubicBezTo>
                    <a:pt x="0" y="35"/>
                    <a:pt x="0" y="35"/>
                    <a:pt x="0" y="36"/>
                  </a:cubicBezTo>
                  <a:cubicBezTo>
                    <a:pt x="20" y="18"/>
                    <a:pt x="20" y="18"/>
                    <a:pt x="20" y="18"/>
                  </a:cubicBezTo>
                  <a:lnTo>
                    <a:pt x="0" y="0"/>
                  </a:lnTo>
                  <a:close/>
                </a:path>
              </a:pathLst>
            </a:custGeom>
            <a:solidFill>
              <a:schemeClr val="tx1">
                <a:lumMod val="95000"/>
                <a:lumOff val="5000"/>
              </a:schemeClr>
            </a:solid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38" name="Freeform 111">
              <a:extLst>
                <a:ext uri="{FF2B5EF4-FFF2-40B4-BE49-F238E27FC236}">
                  <a16:creationId xmlns:a16="http://schemas.microsoft.com/office/drawing/2014/main" id="{4792B3EB-7FCB-D13D-42DE-BAA9494E5EEA}"/>
                </a:ext>
              </a:extLst>
            </p:cNvPr>
            <p:cNvSpPr>
              <a:spLocks/>
            </p:cNvSpPr>
            <p:nvPr/>
          </p:nvSpPr>
          <p:spPr bwMode="auto">
            <a:xfrm>
              <a:off x="5699306" y="5904608"/>
              <a:ext cx="268085" cy="79731"/>
            </a:xfrm>
            <a:custGeom>
              <a:avLst/>
              <a:gdLst>
                <a:gd name="T0" fmla="*/ 66 w 132"/>
                <a:gd name="T1" fmla="*/ 19 h 40"/>
                <a:gd name="T2" fmla="*/ 45 w 132"/>
                <a:gd name="T3" fmla="*/ 0 h 40"/>
                <a:gd name="T4" fmla="*/ 0 w 132"/>
                <a:gd name="T5" fmla="*/ 40 h 40"/>
                <a:gd name="T6" fmla="*/ 0 w 132"/>
                <a:gd name="T7" fmla="*/ 40 h 40"/>
                <a:gd name="T8" fmla="*/ 132 w 132"/>
                <a:gd name="T9" fmla="*/ 40 h 40"/>
                <a:gd name="T10" fmla="*/ 88 w 132"/>
                <a:gd name="T11" fmla="*/ 0 h 40"/>
                <a:gd name="T12" fmla="*/ 66 w 132"/>
                <a:gd name="T13" fmla="*/ 19 h 40"/>
              </a:gdLst>
              <a:ahLst/>
              <a:cxnLst>
                <a:cxn ang="0">
                  <a:pos x="T0" y="T1"/>
                </a:cxn>
                <a:cxn ang="0">
                  <a:pos x="T2" y="T3"/>
                </a:cxn>
                <a:cxn ang="0">
                  <a:pos x="T4" y="T5"/>
                </a:cxn>
                <a:cxn ang="0">
                  <a:pos x="T6" y="T7"/>
                </a:cxn>
                <a:cxn ang="0">
                  <a:pos x="T8" y="T9"/>
                </a:cxn>
                <a:cxn ang="0">
                  <a:pos x="T10" y="T11"/>
                </a:cxn>
                <a:cxn ang="0">
                  <a:pos x="T12" y="T13"/>
                </a:cxn>
              </a:cxnLst>
              <a:rect l="0" t="0" r="r" b="b"/>
              <a:pathLst>
                <a:path w="132" h="40">
                  <a:moveTo>
                    <a:pt x="66" y="19"/>
                  </a:moveTo>
                  <a:lnTo>
                    <a:pt x="45" y="0"/>
                  </a:lnTo>
                  <a:lnTo>
                    <a:pt x="0" y="40"/>
                  </a:lnTo>
                  <a:lnTo>
                    <a:pt x="0" y="40"/>
                  </a:lnTo>
                  <a:lnTo>
                    <a:pt x="132" y="40"/>
                  </a:lnTo>
                  <a:lnTo>
                    <a:pt x="88" y="0"/>
                  </a:lnTo>
                  <a:lnTo>
                    <a:pt x="66" y="19"/>
                  </a:lnTo>
                  <a:close/>
                </a:path>
              </a:pathLst>
            </a:custGeom>
            <a:solidFill>
              <a:schemeClr val="tx1">
                <a:lumMod val="95000"/>
                <a:lumOff val="5000"/>
              </a:schemeClr>
            </a:solid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grpSp>
      <p:sp>
        <p:nvSpPr>
          <p:cNvPr id="39" name="Freeform 165">
            <a:extLst>
              <a:ext uri="{FF2B5EF4-FFF2-40B4-BE49-F238E27FC236}">
                <a16:creationId xmlns:a16="http://schemas.microsoft.com/office/drawing/2014/main" id="{98063382-4354-025D-C8D5-45A9C792F5E8}"/>
              </a:ext>
            </a:extLst>
          </p:cNvPr>
          <p:cNvSpPr>
            <a:spLocks noEditPoints="1"/>
          </p:cNvSpPr>
          <p:nvPr/>
        </p:nvSpPr>
        <p:spPr bwMode="auto">
          <a:xfrm>
            <a:off x="5773738" y="5413375"/>
            <a:ext cx="214312" cy="215900"/>
          </a:xfrm>
          <a:custGeom>
            <a:avLst/>
            <a:gdLst>
              <a:gd name="T0" fmla="*/ 76 w 151"/>
              <a:gd name="T1" fmla="*/ 0 h 152"/>
              <a:gd name="T2" fmla="*/ 9 w 151"/>
              <a:gd name="T3" fmla="*/ 142 h 152"/>
              <a:gd name="T4" fmla="*/ 0 w 151"/>
              <a:gd name="T5" fmla="*/ 152 h 152"/>
              <a:gd name="T6" fmla="*/ 151 w 151"/>
              <a:gd name="T7" fmla="*/ 38 h 152"/>
              <a:gd name="T8" fmla="*/ 57 w 151"/>
              <a:gd name="T9" fmla="*/ 142 h 152"/>
              <a:gd name="T10" fmla="*/ 28 w 151"/>
              <a:gd name="T11" fmla="*/ 123 h 152"/>
              <a:gd name="T12" fmla="*/ 57 w 151"/>
              <a:gd name="T13" fmla="*/ 142 h 152"/>
              <a:gd name="T14" fmla="*/ 19 w 151"/>
              <a:gd name="T15" fmla="*/ 104 h 152"/>
              <a:gd name="T16" fmla="*/ 66 w 151"/>
              <a:gd name="T17" fmla="*/ 95 h 152"/>
              <a:gd name="T18" fmla="*/ 66 w 151"/>
              <a:gd name="T19" fmla="*/ 85 h 152"/>
              <a:gd name="T20" fmla="*/ 19 w 151"/>
              <a:gd name="T21" fmla="*/ 76 h 152"/>
              <a:gd name="T22" fmla="*/ 66 w 151"/>
              <a:gd name="T23" fmla="*/ 85 h 152"/>
              <a:gd name="T24" fmla="*/ 19 w 151"/>
              <a:gd name="T25" fmla="*/ 66 h 152"/>
              <a:gd name="T26" fmla="*/ 66 w 151"/>
              <a:gd name="T27" fmla="*/ 57 h 152"/>
              <a:gd name="T28" fmla="*/ 66 w 151"/>
              <a:gd name="T29" fmla="*/ 47 h 152"/>
              <a:gd name="T30" fmla="*/ 19 w 151"/>
              <a:gd name="T31" fmla="*/ 38 h 152"/>
              <a:gd name="T32" fmla="*/ 66 w 151"/>
              <a:gd name="T33" fmla="*/ 47 h 152"/>
              <a:gd name="T34" fmla="*/ 19 w 151"/>
              <a:gd name="T35" fmla="*/ 29 h 152"/>
              <a:gd name="T36" fmla="*/ 66 w 151"/>
              <a:gd name="T37" fmla="*/ 19 h 152"/>
              <a:gd name="T38" fmla="*/ 113 w 151"/>
              <a:gd name="T39" fmla="*/ 133 h 152"/>
              <a:gd name="T40" fmla="*/ 95 w 151"/>
              <a:gd name="T41" fmla="*/ 114 h 152"/>
              <a:gd name="T42" fmla="*/ 113 w 151"/>
              <a:gd name="T43" fmla="*/ 133 h 152"/>
              <a:gd name="T44" fmla="*/ 95 w 151"/>
              <a:gd name="T45" fmla="*/ 104 h 152"/>
              <a:gd name="T46" fmla="*/ 113 w 151"/>
              <a:gd name="T47" fmla="*/ 85 h 152"/>
              <a:gd name="T48" fmla="*/ 113 w 151"/>
              <a:gd name="T49" fmla="*/ 76 h 152"/>
              <a:gd name="T50" fmla="*/ 95 w 151"/>
              <a:gd name="T51" fmla="*/ 57 h 152"/>
              <a:gd name="T52" fmla="*/ 113 w 151"/>
              <a:gd name="T53" fmla="*/ 76 h 152"/>
              <a:gd name="T54" fmla="*/ 123 w 151"/>
              <a:gd name="T55" fmla="*/ 133 h 152"/>
              <a:gd name="T56" fmla="*/ 142 w 151"/>
              <a:gd name="T57" fmla="*/ 114 h 152"/>
              <a:gd name="T58" fmla="*/ 142 w 151"/>
              <a:gd name="T59" fmla="*/ 104 h 152"/>
              <a:gd name="T60" fmla="*/ 123 w 151"/>
              <a:gd name="T61" fmla="*/ 85 h 152"/>
              <a:gd name="T62" fmla="*/ 142 w 151"/>
              <a:gd name="T63" fmla="*/ 104 h 152"/>
              <a:gd name="T64" fmla="*/ 123 w 151"/>
              <a:gd name="T65" fmla="*/ 76 h 152"/>
              <a:gd name="T66" fmla="*/ 142 w 151"/>
              <a:gd name="T67" fmla="*/ 5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1" h="152">
                <a:moveTo>
                  <a:pt x="76" y="38"/>
                </a:moveTo>
                <a:lnTo>
                  <a:pt x="76" y="0"/>
                </a:lnTo>
                <a:lnTo>
                  <a:pt x="9" y="0"/>
                </a:lnTo>
                <a:lnTo>
                  <a:pt x="9" y="142"/>
                </a:lnTo>
                <a:lnTo>
                  <a:pt x="0" y="142"/>
                </a:lnTo>
                <a:lnTo>
                  <a:pt x="0" y="152"/>
                </a:lnTo>
                <a:lnTo>
                  <a:pt x="151" y="152"/>
                </a:lnTo>
                <a:lnTo>
                  <a:pt x="151" y="38"/>
                </a:lnTo>
                <a:lnTo>
                  <a:pt x="76" y="38"/>
                </a:lnTo>
                <a:close/>
                <a:moveTo>
                  <a:pt x="57" y="142"/>
                </a:moveTo>
                <a:lnTo>
                  <a:pt x="28" y="142"/>
                </a:lnTo>
                <a:lnTo>
                  <a:pt x="28" y="123"/>
                </a:lnTo>
                <a:lnTo>
                  <a:pt x="57" y="123"/>
                </a:lnTo>
                <a:lnTo>
                  <a:pt x="57" y="142"/>
                </a:lnTo>
                <a:close/>
                <a:moveTo>
                  <a:pt x="66" y="104"/>
                </a:moveTo>
                <a:lnTo>
                  <a:pt x="19" y="104"/>
                </a:lnTo>
                <a:lnTo>
                  <a:pt x="19" y="95"/>
                </a:lnTo>
                <a:lnTo>
                  <a:pt x="66" y="95"/>
                </a:lnTo>
                <a:lnTo>
                  <a:pt x="66" y="104"/>
                </a:lnTo>
                <a:close/>
                <a:moveTo>
                  <a:pt x="66" y="85"/>
                </a:moveTo>
                <a:lnTo>
                  <a:pt x="19" y="85"/>
                </a:lnTo>
                <a:lnTo>
                  <a:pt x="19" y="76"/>
                </a:lnTo>
                <a:lnTo>
                  <a:pt x="66" y="76"/>
                </a:lnTo>
                <a:lnTo>
                  <a:pt x="66" y="85"/>
                </a:lnTo>
                <a:close/>
                <a:moveTo>
                  <a:pt x="66" y="66"/>
                </a:moveTo>
                <a:lnTo>
                  <a:pt x="19" y="66"/>
                </a:lnTo>
                <a:lnTo>
                  <a:pt x="19" y="57"/>
                </a:lnTo>
                <a:lnTo>
                  <a:pt x="66" y="57"/>
                </a:lnTo>
                <a:lnTo>
                  <a:pt x="66" y="66"/>
                </a:lnTo>
                <a:close/>
                <a:moveTo>
                  <a:pt x="66" y="47"/>
                </a:moveTo>
                <a:lnTo>
                  <a:pt x="19" y="47"/>
                </a:lnTo>
                <a:lnTo>
                  <a:pt x="19" y="38"/>
                </a:lnTo>
                <a:lnTo>
                  <a:pt x="66" y="38"/>
                </a:lnTo>
                <a:lnTo>
                  <a:pt x="66" y="47"/>
                </a:lnTo>
                <a:close/>
                <a:moveTo>
                  <a:pt x="66" y="29"/>
                </a:moveTo>
                <a:lnTo>
                  <a:pt x="19" y="29"/>
                </a:lnTo>
                <a:lnTo>
                  <a:pt x="19" y="19"/>
                </a:lnTo>
                <a:lnTo>
                  <a:pt x="66" y="19"/>
                </a:lnTo>
                <a:lnTo>
                  <a:pt x="66" y="29"/>
                </a:lnTo>
                <a:close/>
                <a:moveTo>
                  <a:pt x="113" y="133"/>
                </a:moveTo>
                <a:lnTo>
                  <a:pt x="95" y="133"/>
                </a:lnTo>
                <a:lnTo>
                  <a:pt x="95" y="114"/>
                </a:lnTo>
                <a:lnTo>
                  <a:pt x="113" y="114"/>
                </a:lnTo>
                <a:lnTo>
                  <a:pt x="113" y="133"/>
                </a:lnTo>
                <a:close/>
                <a:moveTo>
                  <a:pt x="113" y="104"/>
                </a:moveTo>
                <a:lnTo>
                  <a:pt x="95" y="104"/>
                </a:lnTo>
                <a:lnTo>
                  <a:pt x="95" y="85"/>
                </a:lnTo>
                <a:lnTo>
                  <a:pt x="113" y="85"/>
                </a:lnTo>
                <a:lnTo>
                  <a:pt x="113" y="104"/>
                </a:lnTo>
                <a:close/>
                <a:moveTo>
                  <a:pt x="113" y="76"/>
                </a:moveTo>
                <a:lnTo>
                  <a:pt x="95" y="76"/>
                </a:lnTo>
                <a:lnTo>
                  <a:pt x="95" y="57"/>
                </a:lnTo>
                <a:lnTo>
                  <a:pt x="113" y="57"/>
                </a:lnTo>
                <a:lnTo>
                  <a:pt x="113" y="76"/>
                </a:lnTo>
                <a:close/>
                <a:moveTo>
                  <a:pt x="142" y="133"/>
                </a:moveTo>
                <a:lnTo>
                  <a:pt x="123" y="133"/>
                </a:lnTo>
                <a:lnTo>
                  <a:pt x="123" y="114"/>
                </a:lnTo>
                <a:lnTo>
                  <a:pt x="142" y="114"/>
                </a:lnTo>
                <a:lnTo>
                  <a:pt x="142" y="133"/>
                </a:lnTo>
                <a:close/>
                <a:moveTo>
                  <a:pt x="142" y="104"/>
                </a:moveTo>
                <a:lnTo>
                  <a:pt x="123" y="104"/>
                </a:lnTo>
                <a:lnTo>
                  <a:pt x="123" y="85"/>
                </a:lnTo>
                <a:lnTo>
                  <a:pt x="142" y="85"/>
                </a:lnTo>
                <a:lnTo>
                  <a:pt x="142" y="104"/>
                </a:lnTo>
                <a:close/>
                <a:moveTo>
                  <a:pt x="142" y="76"/>
                </a:moveTo>
                <a:lnTo>
                  <a:pt x="123" y="76"/>
                </a:lnTo>
                <a:lnTo>
                  <a:pt x="123" y="57"/>
                </a:lnTo>
                <a:lnTo>
                  <a:pt x="142" y="57"/>
                </a:lnTo>
                <a:lnTo>
                  <a:pt x="142" y="76"/>
                </a:lnTo>
                <a:close/>
              </a:path>
            </a:pathLst>
          </a:custGeom>
          <a:solidFill>
            <a:schemeClr val="bg2">
              <a:lumMod val="10000"/>
            </a:schemeClr>
          </a:solidFill>
          <a:ln>
            <a:noFill/>
          </a:ln>
        </p:spPr>
        <p:txBody>
          <a:bodyPr lIns="68580" tIns="34290" rIns="68580" bIns="34290"/>
          <a:lstStyle/>
          <a:p>
            <a:pPr eaLnBrk="1" fontAlgn="auto" hangingPunct="1">
              <a:spcBef>
                <a:spcPts val="0"/>
              </a:spcBef>
              <a:spcAft>
                <a:spcPts val="0"/>
              </a:spcAft>
              <a:defRPr/>
            </a:pPr>
            <a:endParaRPr lang="id-ID" sz="1350">
              <a:solidFill>
                <a:schemeClr val="bg2">
                  <a:lumMod val="10000"/>
                </a:schemeClr>
              </a:solidFill>
              <a:latin typeface="Open Sans" pitchFamily="34" charset="0"/>
              <a:ea typeface="Open Sans" pitchFamily="34" charset="0"/>
              <a:cs typeface="Open Sans" pitchFamily="34" charset="0"/>
            </a:endParaRPr>
          </a:p>
        </p:txBody>
      </p:sp>
      <p:grpSp>
        <p:nvGrpSpPr>
          <p:cNvPr id="44043" name="Grup 45">
            <a:extLst>
              <a:ext uri="{FF2B5EF4-FFF2-40B4-BE49-F238E27FC236}">
                <a16:creationId xmlns:a16="http://schemas.microsoft.com/office/drawing/2014/main" id="{E5508913-0CEF-97B3-EEF2-E53B004660A1}"/>
              </a:ext>
            </a:extLst>
          </p:cNvPr>
          <p:cNvGrpSpPr>
            <a:grpSpLocks/>
          </p:cNvGrpSpPr>
          <p:nvPr/>
        </p:nvGrpSpPr>
        <p:grpSpPr bwMode="auto">
          <a:xfrm>
            <a:off x="5788025" y="6354763"/>
            <a:ext cx="211138" cy="198437"/>
            <a:chOff x="5680558" y="6103512"/>
            <a:chExt cx="307748" cy="289404"/>
          </a:xfrm>
        </p:grpSpPr>
        <p:sp>
          <p:nvSpPr>
            <p:cNvPr id="40" name="Freeform 65">
              <a:extLst>
                <a:ext uri="{FF2B5EF4-FFF2-40B4-BE49-F238E27FC236}">
                  <a16:creationId xmlns:a16="http://schemas.microsoft.com/office/drawing/2014/main" id="{90954997-5817-02F4-8FA1-65EBCBA1FBF1}"/>
                </a:ext>
              </a:extLst>
            </p:cNvPr>
            <p:cNvSpPr>
              <a:spLocks/>
            </p:cNvSpPr>
            <p:nvPr/>
          </p:nvSpPr>
          <p:spPr bwMode="auto">
            <a:xfrm>
              <a:off x="5680558" y="6103512"/>
              <a:ext cx="307748" cy="115762"/>
            </a:xfrm>
            <a:custGeom>
              <a:avLst/>
              <a:gdLst>
                <a:gd name="T0" fmla="*/ 59 w 64"/>
                <a:gd name="T1" fmla="*/ 8 h 24"/>
                <a:gd name="T2" fmla="*/ 32 w 64"/>
                <a:gd name="T3" fmla="*/ 0 h 24"/>
                <a:gd name="T4" fmla="*/ 5 w 64"/>
                <a:gd name="T5" fmla="*/ 8 h 24"/>
                <a:gd name="T6" fmla="*/ 0 w 64"/>
                <a:gd name="T7" fmla="*/ 16 h 24"/>
                <a:gd name="T8" fmla="*/ 0 w 64"/>
                <a:gd name="T9" fmla="*/ 20 h 24"/>
                <a:gd name="T10" fmla="*/ 4 w 64"/>
                <a:gd name="T11" fmla="*/ 24 h 24"/>
                <a:gd name="T12" fmla="*/ 12 w 64"/>
                <a:gd name="T13" fmla="*/ 24 h 24"/>
                <a:gd name="T14" fmla="*/ 16 w 64"/>
                <a:gd name="T15" fmla="*/ 20 h 24"/>
                <a:gd name="T16" fmla="*/ 18 w 64"/>
                <a:gd name="T17" fmla="*/ 13 h 24"/>
                <a:gd name="T18" fmla="*/ 32 w 64"/>
                <a:gd name="T19" fmla="*/ 8 h 24"/>
                <a:gd name="T20" fmla="*/ 46 w 64"/>
                <a:gd name="T21" fmla="*/ 13 h 24"/>
                <a:gd name="T22" fmla="*/ 48 w 64"/>
                <a:gd name="T23" fmla="*/ 20 h 24"/>
                <a:gd name="T24" fmla="*/ 52 w 64"/>
                <a:gd name="T25" fmla="*/ 24 h 24"/>
                <a:gd name="T26" fmla="*/ 60 w 64"/>
                <a:gd name="T27" fmla="*/ 24 h 24"/>
                <a:gd name="T28" fmla="*/ 64 w 64"/>
                <a:gd name="T29" fmla="*/ 20 h 24"/>
                <a:gd name="T30" fmla="*/ 64 w 64"/>
                <a:gd name="T31" fmla="*/ 16 h 24"/>
                <a:gd name="T32" fmla="*/ 59 w 64"/>
                <a:gd name="T33"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24">
                  <a:moveTo>
                    <a:pt x="59" y="8"/>
                  </a:moveTo>
                  <a:cubicBezTo>
                    <a:pt x="55" y="4"/>
                    <a:pt x="48" y="0"/>
                    <a:pt x="32" y="0"/>
                  </a:cubicBezTo>
                  <a:cubicBezTo>
                    <a:pt x="16" y="0"/>
                    <a:pt x="10" y="4"/>
                    <a:pt x="5" y="8"/>
                  </a:cubicBezTo>
                  <a:cubicBezTo>
                    <a:pt x="2" y="11"/>
                    <a:pt x="0" y="12"/>
                    <a:pt x="0" y="16"/>
                  </a:cubicBezTo>
                  <a:cubicBezTo>
                    <a:pt x="0" y="20"/>
                    <a:pt x="0" y="20"/>
                    <a:pt x="0" y="20"/>
                  </a:cubicBezTo>
                  <a:cubicBezTo>
                    <a:pt x="0" y="22"/>
                    <a:pt x="2" y="24"/>
                    <a:pt x="4" y="24"/>
                  </a:cubicBezTo>
                  <a:cubicBezTo>
                    <a:pt x="12" y="24"/>
                    <a:pt x="12" y="24"/>
                    <a:pt x="12" y="24"/>
                  </a:cubicBezTo>
                  <a:cubicBezTo>
                    <a:pt x="14" y="24"/>
                    <a:pt x="16" y="22"/>
                    <a:pt x="16" y="20"/>
                  </a:cubicBezTo>
                  <a:cubicBezTo>
                    <a:pt x="16" y="18"/>
                    <a:pt x="16" y="16"/>
                    <a:pt x="18" y="13"/>
                  </a:cubicBezTo>
                  <a:cubicBezTo>
                    <a:pt x="20" y="11"/>
                    <a:pt x="24" y="8"/>
                    <a:pt x="32" y="8"/>
                  </a:cubicBezTo>
                  <a:cubicBezTo>
                    <a:pt x="40" y="8"/>
                    <a:pt x="44" y="11"/>
                    <a:pt x="46" y="13"/>
                  </a:cubicBezTo>
                  <a:cubicBezTo>
                    <a:pt x="48" y="16"/>
                    <a:pt x="48" y="18"/>
                    <a:pt x="48" y="20"/>
                  </a:cubicBezTo>
                  <a:cubicBezTo>
                    <a:pt x="48" y="22"/>
                    <a:pt x="50" y="24"/>
                    <a:pt x="52" y="24"/>
                  </a:cubicBezTo>
                  <a:cubicBezTo>
                    <a:pt x="60" y="24"/>
                    <a:pt x="60" y="24"/>
                    <a:pt x="60" y="24"/>
                  </a:cubicBezTo>
                  <a:cubicBezTo>
                    <a:pt x="62" y="24"/>
                    <a:pt x="64" y="22"/>
                    <a:pt x="64" y="20"/>
                  </a:cubicBezTo>
                  <a:cubicBezTo>
                    <a:pt x="64" y="16"/>
                    <a:pt x="64" y="16"/>
                    <a:pt x="64" y="16"/>
                  </a:cubicBezTo>
                  <a:cubicBezTo>
                    <a:pt x="64" y="12"/>
                    <a:pt x="62" y="11"/>
                    <a:pt x="59" y="8"/>
                  </a:cubicBezTo>
                  <a:close/>
                </a:path>
              </a:pathLst>
            </a:custGeom>
            <a:solidFill>
              <a:schemeClr val="bg2">
                <a:lumMod val="10000"/>
              </a:schemeClr>
            </a:solid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41" name="Oval 66">
              <a:extLst>
                <a:ext uri="{FF2B5EF4-FFF2-40B4-BE49-F238E27FC236}">
                  <a16:creationId xmlns:a16="http://schemas.microsoft.com/office/drawing/2014/main" id="{BF6EF0F4-424D-6A8A-B8A3-C7E29480C6A7}"/>
                </a:ext>
              </a:extLst>
            </p:cNvPr>
            <p:cNvSpPr>
              <a:spLocks noChangeArrowheads="1"/>
            </p:cNvSpPr>
            <p:nvPr/>
          </p:nvSpPr>
          <p:spPr bwMode="auto">
            <a:xfrm>
              <a:off x="5793939" y="6277154"/>
              <a:ext cx="78672" cy="76404"/>
            </a:xfrm>
            <a:prstGeom prst="ellipse">
              <a:avLst/>
            </a:prstGeom>
            <a:solidFill>
              <a:schemeClr val="bg2">
                <a:lumMod val="10000"/>
              </a:schemeClr>
            </a:solid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sp>
          <p:nvSpPr>
            <p:cNvPr id="42" name="Freeform 67">
              <a:extLst>
                <a:ext uri="{FF2B5EF4-FFF2-40B4-BE49-F238E27FC236}">
                  <a16:creationId xmlns:a16="http://schemas.microsoft.com/office/drawing/2014/main" id="{83466C15-610A-992E-29FD-5BF05F0C8A43}"/>
                </a:ext>
              </a:extLst>
            </p:cNvPr>
            <p:cNvSpPr>
              <a:spLocks noEditPoints="1"/>
            </p:cNvSpPr>
            <p:nvPr/>
          </p:nvSpPr>
          <p:spPr bwMode="auto">
            <a:xfrm>
              <a:off x="5699069" y="6179914"/>
              <a:ext cx="270726" cy="213002"/>
            </a:xfrm>
            <a:custGeom>
              <a:avLst/>
              <a:gdLst>
                <a:gd name="T0" fmla="*/ 42 w 56"/>
                <a:gd name="T1" fmla="*/ 8 h 44"/>
                <a:gd name="T2" fmla="*/ 40 w 56"/>
                <a:gd name="T3" fmla="*/ 8 h 44"/>
                <a:gd name="T4" fmla="*/ 40 w 56"/>
                <a:gd name="T5" fmla="*/ 3 h 44"/>
                <a:gd name="T6" fmla="*/ 36 w 56"/>
                <a:gd name="T7" fmla="*/ 0 h 44"/>
                <a:gd name="T8" fmla="*/ 32 w 56"/>
                <a:gd name="T9" fmla="*/ 3 h 44"/>
                <a:gd name="T10" fmla="*/ 32 w 56"/>
                <a:gd name="T11" fmla="*/ 8 h 44"/>
                <a:gd name="T12" fmla="*/ 24 w 56"/>
                <a:gd name="T13" fmla="*/ 8 h 44"/>
                <a:gd name="T14" fmla="*/ 24 w 56"/>
                <a:gd name="T15" fmla="*/ 3 h 44"/>
                <a:gd name="T16" fmla="*/ 20 w 56"/>
                <a:gd name="T17" fmla="*/ 0 h 44"/>
                <a:gd name="T18" fmla="*/ 16 w 56"/>
                <a:gd name="T19" fmla="*/ 3 h 44"/>
                <a:gd name="T20" fmla="*/ 16 w 56"/>
                <a:gd name="T21" fmla="*/ 8 h 44"/>
                <a:gd name="T22" fmla="*/ 14 w 56"/>
                <a:gd name="T23" fmla="*/ 8 h 44"/>
                <a:gd name="T24" fmla="*/ 11 w 56"/>
                <a:gd name="T25" fmla="*/ 10 h 44"/>
                <a:gd name="T26" fmla="*/ 0 w 56"/>
                <a:gd name="T27" fmla="*/ 32 h 44"/>
                <a:gd name="T28" fmla="*/ 0 w 56"/>
                <a:gd name="T29" fmla="*/ 40 h 44"/>
                <a:gd name="T30" fmla="*/ 4 w 56"/>
                <a:gd name="T31" fmla="*/ 44 h 44"/>
                <a:gd name="T32" fmla="*/ 52 w 56"/>
                <a:gd name="T33" fmla="*/ 44 h 44"/>
                <a:gd name="T34" fmla="*/ 56 w 56"/>
                <a:gd name="T35" fmla="*/ 40 h 44"/>
                <a:gd name="T36" fmla="*/ 56 w 56"/>
                <a:gd name="T37" fmla="*/ 32 h 44"/>
                <a:gd name="T38" fmla="*/ 45 w 56"/>
                <a:gd name="T39" fmla="*/ 10 h 44"/>
                <a:gd name="T40" fmla="*/ 42 w 56"/>
                <a:gd name="T41" fmla="*/ 8 h 44"/>
                <a:gd name="T42" fmla="*/ 28 w 56"/>
                <a:gd name="T43" fmla="*/ 40 h 44"/>
                <a:gd name="T44" fmla="*/ 16 w 56"/>
                <a:gd name="T45" fmla="*/ 28 h 44"/>
                <a:gd name="T46" fmla="*/ 28 w 56"/>
                <a:gd name="T47" fmla="*/ 16 h 44"/>
                <a:gd name="T48" fmla="*/ 40 w 56"/>
                <a:gd name="T49" fmla="*/ 28 h 44"/>
                <a:gd name="T50" fmla="*/ 28 w 56"/>
                <a:gd name="T51"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6" h="44">
                  <a:moveTo>
                    <a:pt x="42" y="8"/>
                  </a:moveTo>
                  <a:cubicBezTo>
                    <a:pt x="40" y="8"/>
                    <a:pt x="40" y="8"/>
                    <a:pt x="40" y="8"/>
                  </a:cubicBezTo>
                  <a:cubicBezTo>
                    <a:pt x="40" y="3"/>
                    <a:pt x="40" y="3"/>
                    <a:pt x="40" y="3"/>
                  </a:cubicBezTo>
                  <a:cubicBezTo>
                    <a:pt x="40" y="1"/>
                    <a:pt x="38" y="0"/>
                    <a:pt x="36" y="0"/>
                  </a:cubicBezTo>
                  <a:cubicBezTo>
                    <a:pt x="34" y="0"/>
                    <a:pt x="32" y="1"/>
                    <a:pt x="32" y="3"/>
                  </a:cubicBezTo>
                  <a:cubicBezTo>
                    <a:pt x="32" y="8"/>
                    <a:pt x="32" y="8"/>
                    <a:pt x="32" y="8"/>
                  </a:cubicBezTo>
                  <a:cubicBezTo>
                    <a:pt x="24" y="8"/>
                    <a:pt x="24" y="8"/>
                    <a:pt x="24" y="8"/>
                  </a:cubicBezTo>
                  <a:cubicBezTo>
                    <a:pt x="24" y="3"/>
                    <a:pt x="24" y="3"/>
                    <a:pt x="24" y="3"/>
                  </a:cubicBezTo>
                  <a:cubicBezTo>
                    <a:pt x="24" y="1"/>
                    <a:pt x="22" y="0"/>
                    <a:pt x="20" y="0"/>
                  </a:cubicBezTo>
                  <a:cubicBezTo>
                    <a:pt x="18" y="0"/>
                    <a:pt x="16" y="1"/>
                    <a:pt x="16" y="3"/>
                  </a:cubicBezTo>
                  <a:cubicBezTo>
                    <a:pt x="16" y="8"/>
                    <a:pt x="16" y="8"/>
                    <a:pt x="16" y="8"/>
                  </a:cubicBezTo>
                  <a:cubicBezTo>
                    <a:pt x="14" y="8"/>
                    <a:pt x="14" y="8"/>
                    <a:pt x="14" y="8"/>
                  </a:cubicBezTo>
                  <a:cubicBezTo>
                    <a:pt x="13" y="8"/>
                    <a:pt x="12" y="9"/>
                    <a:pt x="11" y="10"/>
                  </a:cubicBezTo>
                  <a:cubicBezTo>
                    <a:pt x="8" y="14"/>
                    <a:pt x="0" y="27"/>
                    <a:pt x="0" y="32"/>
                  </a:cubicBezTo>
                  <a:cubicBezTo>
                    <a:pt x="0" y="40"/>
                    <a:pt x="0" y="40"/>
                    <a:pt x="0" y="40"/>
                  </a:cubicBezTo>
                  <a:cubicBezTo>
                    <a:pt x="0" y="42"/>
                    <a:pt x="2" y="44"/>
                    <a:pt x="4" y="44"/>
                  </a:cubicBezTo>
                  <a:cubicBezTo>
                    <a:pt x="52" y="44"/>
                    <a:pt x="52" y="44"/>
                    <a:pt x="52" y="44"/>
                  </a:cubicBezTo>
                  <a:cubicBezTo>
                    <a:pt x="54" y="44"/>
                    <a:pt x="56" y="42"/>
                    <a:pt x="56" y="40"/>
                  </a:cubicBezTo>
                  <a:cubicBezTo>
                    <a:pt x="56" y="37"/>
                    <a:pt x="56" y="32"/>
                    <a:pt x="56" y="32"/>
                  </a:cubicBezTo>
                  <a:cubicBezTo>
                    <a:pt x="56" y="25"/>
                    <a:pt x="48" y="14"/>
                    <a:pt x="45" y="10"/>
                  </a:cubicBezTo>
                  <a:cubicBezTo>
                    <a:pt x="44" y="9"/>
                    <a:pt x="43" y="8"/>
                    <a:pt x="42" y="8"/>
                  </a:cubicBezTo>
                  <a:close/>
                  <a:moveTo>
                    <a:pt x="28" y="40"/>
                  </a:moveTo>
                  <a:cubicBezTo>
                    <a:pt x="21" y="40"/>
                    <a:pt x="16" y="35"/>
                    <a:pt x="16" y="28"/>
                  </a:cubicBezTo>
                  <a:cubicBezTo>
                    <a:pt x="16" y="21"/>
                    <a:pt x="21" y="16"/>
                    <a:pt x="28" y="16"/>
                  </a:cubicBezTo>
                  <a:cubicBezTo>
                    <a:pt x="35" y="16"/>
                    <a:pt x="40" y="21"/>
                    <a:pt x="40" y="28"/>
                  </a:cubicBezTo>
                  <a:cubicBezTo>
                    <a:pt x="40" y="35"/>
                    <a:pt x="35" y="40"/>
                    <a:pt x="28" y="40"/>
                  </a:cubicBezTo>
                  <a:close/>
                </a:path>
              </a:pathLst>
            </a:custGeom>
            <a:solidFill>
              <a:schemeClr val="bg2">
                <a:lumMod val="10000"/>
              </a:schemeClr>
            </a:solidFill>
            <a:ln>
              <a:noFill/>
            </a:ln>
          </p:spPr>
          <p:txBody>
            <a:bodyPr lIns="68580" tIns="34290" rIns="68580" bIns="34290"/>
            <a:lstStyle/>
            <a:p>
              <a:pPr eaLnBrk="1" fontAlgn="auto" hangingPunct="1">
                <a:spcBef>
                  <a:spcPts val="0"/>
                </a:spcBef>
                <a:spcAft>
                  <a:spcPts val="0"/>
                </a:spcAft>
                <a:defRPr/>
              </a:pPr>
              <a:endParaRPr lang="id-ID" sz="1350">
                <a:latin typeface="Open Sans" pitchFamily="34" charset="0"/>
                <a:ea typeface="Open Sans" pitchFamily="34" charset="0"/>
                <a:cs typeface="Open Sans" pitchFamily="34" charset="0"/>
              </a:endParaRPr>
            </a:p>
          </p:txBody>
        </p:sp>
      </p:grpSp>
      <p:sp>
        <p:nvSpPr>
          <p:cNvPr id="44044" name="Dikdörtgen 43">
            <a:extLst>
              <a:ext uri="{FF2B5EF4-FFF2-40B4-BE49-F238E27FC236}">
                <a16:creationId xmlns:a16="http://schemas.microsoft.com/office/drawing/2014/main" id="{F0F8F861-7DC0-D7B8-B7F5-9FC2DDE3950E}"/>
              </a:ext>
            </a:extLst>
          </p:cNvPr>
          <p:cNvSpPr>
            <a:spLocks noChangeArrowheads="1"/>
          </p:cNvSpPr>
          <p:nvPr/>
        </p:nvSpPr>
        <p:spPr bwMode="auto">
          <a:xfrm>
            <a:off x="6038850" y="5294313"/>
            <a:ext cx="3240088"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r>
              <a:rPr lang="tr-TR" altLang="tr-TR" sz="1200">
                <a:solidFill>
                  <a:srgbClr val="181717"/>
                </a:solidFill>
                <a:latin typeface="Open Sans" panose="020B0606030504020204" pitchFamily="34" charset="0"/>
                <a:cs typeface="Open Sans" panose="020B0606030504020204" pitchFamily="34" charset="0"/>
              </a:rPr>
              <a:t>Hüseyin Çelik Sk. Nail Ergin İş Merkezi No:7 Kat:6 34742-Kozyatağı-Kadıköy / İSTANBUL</a:t>
            </a:r>
          </a:p>
        </p:txBody>
      </p:sp>
      <p:sp>
        <p:nvSpPr>
          <p:cNvPr id="44045" name="Dikdörtgen 1">
            <a:extLst>
              <a:ext uri="{FF2B5EF4-FFF2-40B4-BE49-F238E27FC236}">
                <a16:creationId xmlns:a16="http://schemas.microsoft.com/office/drawing/2014/main" id="{EBFF531C-D660-35A4-1E0F-94F3FB1340AF}"/>
              </a:ext>
            </a:extLst>
          </p:cNvPr>
          <p:cNvSpPr>
            <a:spLocks noChangeArrowheads="1"/>
          </p:cNvSpPr>
          <p:nvPr/>
        </p:nvSpPr>
        <p:spPr bwMode="auto">
          <a:xfrm>
            <a:off x="6045200" y="6007100"/>
            <a:ext cx="2503488"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r>
              <a:rPr lang="tr-TR" altLang="tr-TR" sz="1200">
                <a:latin typeface="Open Sans" panose="020B0606030504020204" pitchFamily="34" charset="0"/>
                <a:cs typeface="Open Sans" panose="020B0606030504020204" pitchFamily="34" charset="0"/>
              </a:rPr>
              <a:t>Koordinat: 40.967438, 29.102169 </a:t>
            </a:r>
          </a:p>
        </p:txBody>
      </p:sp>
      <p:grpSp>
        <p:nvGrpSpPr>
          <p:cNvPr id="44046" name="Grup 56">
            <a:extLst>
              <a:ext uri="{FF2B5EF4-FFF2-40B4-BE49-F238E27FC236}">
                <a16:creationId xmlns:a16="http://schemas.microsoft.com/office/drawing/2014/main" id="{4BE3ECD2-E948-7F6E-E520-A0283ED02827}"/>
              </a:ext>
            </a:extLst>
          </p:cNvPr>
          <p:cNvGrpSpPr>
            <a:grpSpLocks/>
          </p:cNvGrpSpPr>
          <p:nvPr/>
        </p:nvGrpSpPr>
        <p:grpSpPr bwMode="auto">
          <a:xfrm>
            <a:off x="5791200" y="6021388"/>
            <a:ext cx="180975" cy="231775"/>
            <a:chOff x="5991742" y="2434327"/>
            <a:chExt cx="452439" cy="625475"/>
          </a:xfrm>
        </p:grpSpPr>
        <p:sp>
          <p:nvSpPr>
            <p:cNvPr id="44047" name="Oval 11">
              <a:extLst>
                <a:ext uri="{FF2B5EF4-FFF2-40B4-BE49-F238E27FC236}">
                  <a16:creationId xmlns:a16="http://schemas.microsoft.com/office/drawing/2014/main" id="{AE37D6AB-69C2-BB6F-89D6-271C8360333A}"/>
                </a:ext>
              </a:extLst>
            </p:cNvPr>
            <p:cNvSpPr>
              <a:spLocks noChangeArrowheads="1"/>
            </p:cNvSpPr>
            <p:nvPr/>
          </p:nvSpPr>
          <p:spPr bwMode="auto">
            <a:xfrm>
              <a:off x="6148908" y="2577204"/>
              <a:ext cx="139700" cy="141287"/>
            </a:xfrm>
            <a:prstGeom prst="ellipse">
              <a:avLst/>
            </a:pr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id-ID" altLang="tr-TR" sz="1800"/>
            </a:p>
          </p:txBody>
        </p:sp>
        <p:sp>
          <p:nvSpPr>
            <p:cNvPr id="63" name="Freeform 9">
              <a:extLst>
                <a:ext uri="{FF2B5EF4-FFF2-40B4-BE49-F238E27FC236}">
                  <a16:creationId xmlns:a16="http://schemas.microsoft.com/office/drawing/2014/main" id="{EFAD73BE-B01A-A686-A9A3-8013CD44A919}"/>
                </a:ext>
              </a:extLst>
            </p:cNvPr>
            <p:cNvSpPr>
              <a:spLocks/>
            </p:cNvSpPr>
            <p:nvPr/>
          </p:nvSpPr>
          <p:spPr bwMode="auto">
            <a:xfrm>
              <a:off x="5991742" y="2434327"/>
              <a:ext cx="452439" cy="625475"/>
            </a:xfrm>
            <a:custGeom>
              <a:avLst/>
              <a:gdLst>
                <a:gd name="T0" fmla="*/ 128 w 128"/>
                <a:gd name="T1" fmla="*/ 69 h 178"/>
                <a:gd name="T2" fmla="*/ 128 w 128"/>
                <a:gd name="T3" fmla="*/ 64 h 178"/>
                <a:gd name="T4" fmla="*/ 64 w 128"/>
                <a:gd name="T5" fmla="*/ 0 h 178"/>
                <a:gd name="T6" fmla="*/ 0 w 128"/>
                <a:gd name="T7" fmla="*/ 64 h 178"/>
                <a:gd name="T8" fmla="*/ 0 w 128"/>
                <a:gd name="T9" fmla="*/ 71 h 178"/>
                <a:gd name="T10" fmla="*/ 0 w 128"/>
                <a:gd name="T11" fmla="*/ 71 h 178"/>
                <a:gd name="T12" fmla="*/ 64 w 128"/>
                <a:gd name="T13" fmla="*/ 178 h 178"/>
                <a:gd name="T14" fmla="*/ 125 w 128"/>
                <a:gd name="T15" fmla="*/ 84 h 178"/>
                <a:gd name="T16" fmla="*/ 128 w 128"/>
                <a:gd name="T17" fmla="*/ 69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178">
                  <a:moveTo>
                    <a:pt x="128" y="69"/>
                  </a:moveTo>
                  <a:cubicBezTo>
                    <a:pt x="128" y="66"/>
                    <a:pt x="128" y="64"/>
                    <a:pt x="128" y="64"/>
                  </a:cubicBezTo>
                  <a:cubicBezTo>
                    <a:pt x="128" y="29"/>
                    <a:pt x="99" y="0"/>
                    <a:pt x="64" y="0"/>
                  </a:cubicBezTo>
                  <a:cubicBezTo>
                    <a:pt x="29" y="0"/>
                    <a:pt x="0" y="29"/>
                    <a:pt x="0" y="64"/>
                  </a:cubicBezTo>
                  <a:cubicBezTo>
                    <a:pt x="0" y="67"/>
                    <a:pt x="0" y="69"/>
                    <a:pt x="0" y="71"/>
                  </a:cubicBezTo>
                  <a:cubicBezTo>
                    <a:pt x="0" y="71"/>
                    <a:pt x="0" y="71"/>
                    <a:pt x="0" y="71"/>
                  </a:cubicBezTo>
                  <a:cubicBezTo>
                    <a:pt x="5" y="123"/>
                    <a:pt x="64" y="178"/>
                    <a:pt x="64" y="178"/>
                  </a:cubicBezTo>
                  <a:cubicBezTo>
                    <a:pt x="105" y="139"/>
                    <a:pt x="120" y="104"/>
                    <a:pt x="125" y="84"/>
                  </a:cubicBezTo>
                  <a:cubicBezTo>
                    <a:pt x="127" y="79"/>
                    <a:pt x="127" y="74"/>
                    <a:pt x="128" y="69"/>
                  </a:cubicBezTo>
                  <a:close/>
                </a:path>
              </a:pathLst>
            </a:custGeom>
            <a:solidFill>
              <a:schemeClr val="tx1">
                <a:lumMod val="95000"/>
                <a:lumOff val="5000"/>
              </a:schemeClr>
            </a:solidFill>
            <a:ln>
              <a:noFill/>
            </a:ln>
          </p:spPr>
          <p:txBody>
            <a:bodyPr/>
            <a:lstStyle/>
            <a:p>
              <a:pPr eaLnBrk="1" fontAlgn="auto" hangingPunct="1">
                <a:spcBef>
                  <a:spcPts val="0"/>
                </a:spcBef>
                <a:spcAft>
                  <a:spcPts val="0"/>
                </a:spcAft>
                <a:defRPr/>
              </a:pPr>
              <a:endParaRPr lang="id-ID">
                <a:latin typeface="+mn-lt"/>
              </a:endParaRPr>
            </a:p>
          </p:txBody>
        </p:sp>
        <p:sp>
          <p:nvSpPr>
            <p:cNvPr id="44049" name="Oval 10">
              <a:extLst>
                <a:ext uri="{FF2B5EF4-FFF2-40B4-BE49-F238E27FC236}">
                  <a16:creationId xmlns:a16="http://schemas.microsoft.com/office/drawing/2014/main" id="{A10BEA33-0E5E-05C1-845B-5334E6AF9F44}"/>
                </a:ext>
              </a:extLst>
            </p:cNvPr>
            <p:cNvSpPr>
              <a:spLocks noChangeArrowheads="1"/>
            </p:cNvSpPr>
            <p:nvPr/>
          </p:nvSpPr>
          <p:spPr bwMode="auto">
            <a:xfrm>
              <a:off x="6108530" y="2562449"/>
              <a:ext cx="217669" cy="21668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gr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76DE920-3D78-AFD7-D9FB-A7D269A9C7E5}"/>
              </a:ext>
            </a:extLst>
          </p:cNvPr>
          <p:cNvSpPr/>
          <p:nvPr/>
        </p:nvSpPr>
        <p:spPr>
          <a:xfrm>
            <a:off x="0" y="0"/>
            <a:ext cx="12192000" cy="6858000"/>
          </a:xfrm>
          <a:prstGeom prst="rect">
            <a:avLst/>
          </a:prstGeom>
          <a:solidFill>
            <a:schemeClr val="bg2">
              <a:lumMod val="90000"/>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5" name="TextBox 9">
            <a:extLst>
              <a:ext uri="{FF2B5EF4-FFF2-40B4-BE49-F238E27FC236}">
                <a16:creationId xmlns:a16="http://schemas.microsoft.com/office/drawing/2014/main" id="{6D4AE267-63C8-59CB-5219-6CBA73E816DD}"/>
              </a:ext>
            </a:extLst>
          </p:cNvPr>
          <p:cNvSpPr txBox="1"/>
          <p:nvPr/>
        </p:nvSpPr>
        <p:spPr>
          <a:xfrm>
            <a:off x="0" y="733425"/>
            <a:ext cx="12192000" cy="1014413"/>
          </a:xfrm>
          <a:prstGeom prst="rect">
            <a:avLst/>
          </a:prstGeom>
          <a:noFill/>
          <a:effectLst>
            <a:outerShdw blurRad="50800" dist="50800" dir="5400000" sx="108000" sy="108000" algn="ctr" rotWithShape="0">
              <a:schemeClr val="tx1">
                <a:lumMod val="75000"/>
                <a:lumOff val="25000"/>
              </a:schemeClr>
            </a:outerShdw>
          </a:effectLst>
        </p:spPr>
        <p:txBody>
          <a:bodyPr>
            <a:spAutoFit/>
          </a:bodyPr>
          <a:lstStyle>
            <a:lvl1pPr marL="342900" indent="-342900">
              <a:defRPr>
                <a:solidFill>
                  <a:schemeClr val="tx1"/>
                </a:solidFill>
                <a:latin typeface="Lato Light" panose="020F0502020204030203" pitchFamily="34" charset="0"/>
              </a:defRPr>
            </a:lvl1pPr>
            <a:lvl2pPr>
              <a:defRPr>
                <a:solidFill>
                  <a:schemeClr val="tx1"/>
                </a:solidFill>
                <a:latin typeface="Lato Light" panose="020F0502020204030203" pitchFamily="34" charset="0"/>
              </a:defRPr>
            </a:lvl2pPr>
            <a:lvl3pPr marL="1143000" indent="-228600">
              <a:defRPr>
                <a:solidFill>
                  <a:schemeClr val="tx1"/>
                </a:solidFill>
                <a:latin typeface="Lato Light" panose="020F0502020204030203" pitchFamily="34" charset="0"/>
              </a:defRPr>
            </a:lvl3pPr>
            <a:lvl4pPr marL="1600200" indent="-228600">
              <a:defRPr>
                <a:solidFill>
                  <a:schemeClr val="tx1"/>
                </a:solidFill>
                <a:latin typeface="Lato Light" panose="020F0502020204030203" pitchFamily="34" charset="0"/>
              </a:defRPr>
            </a:lvl4pPr>
            <a:lvl5pPr marL="2057400" indent="-228600">
              <a:defRPr>
                <a:solidFill>
                  <a:schemeClr val="tx1"/>
                </a:solidFill>
                <a:latin typeface="Lato Light" panose="020F0502020204030203" pitchFamily="34" charset="0"/>
              </a:defRPr>
            </a:lvl5pPr>
            <a:lvl6pPr marL="2514600" indent="-228600" eaLnBrk="0" fontAlgn="base" hangingPunct="0">
              <a:spcBef>
                <a:spcPct val="0"/>
              </a:spcBef>
              <a:spcAft>
                <a:spcPct val="0"/>
              </a:spcAft>
              <a:defRPr>
                <a:solidFill>
                  <a:schemeClr val="tx1"/>
                </a:solidFill>
                <a:latin typeface="Lato Light" panose="020F0502020204030203" pitchFamily="34" charset="0"/>
              </a:defRPr>
            </a:lvl6pPr>
            <a:lvl7pPr marL="2971800" indent="-228600" eaLnBrk="0" fontAlgn="base" hangingPunct="0">
              <a:spcBef>
                <a:spcPct val="0"/>
              </a:spcBef>
              <a:spcAft>
                <a:spcPct val="0"/>
              </a:spcAft>
              <a:defRPr>
                <a:solidFill>
                  <a:schemeClr val="tx1"/>
                </a:solidFill>
                <a:latin typeface="Lato Light" panose="020F0502020204030203" pitchFamily="34" charset="0"/>
              </a:defRPr>
            </a:lvl7pPr>
            <a:lvl8pPr marL="3429000" indent="-228600" eaLnBrk="0" fontAlgn="base" hangingPunct="0">
              <a:spcBef>
                <a:spcPct val="0"/>
              </a:spcBef>
              <a:spcAft>
                <a:spcPct val="0"/>
              </a:spcAft>
              <a:defRPr>
                <a:solidFill>
                  <a:schemeClr val="tx1"/>
                </a:solidFill>
                <a:latin typeface="Lato Light" panose="020F0502020204030203" pitchFamily="34" charset="0"/>
              </a:defRPr>
            </a:lvl8pPr>
            <a:lvl9pPr marL="3886200" indent="-228600" eaLnBrk="0" fontAlgn="base" hangingPunct="0">
              <a:spcBef>
                <a:spcPct val="0"/>
              </a:spcBef>
              <a:spcAft>
                <a:spcPct val="0"/>
              </a:spcAft>
              <a:defRPr>
                <a:solidFill>
                  <a:schemeClr val="tx1"/>
                </a:solidFill>
                <a:latin typeface="Lato Light" panose="020F0502020204030203" pitchFamily="34" charset="0"/>
              </a:defRPr>
            </a:lvl9pPr>
          </a:lstStyle>
          <a:p>
            <a:pPr lvl="1" algn="ctr" eaLnBrk="1" hangingPunct="1">
              <a:defRPr/>
            </a:pPr>
            <a:r>
              <a:rPr lang="tr-TR" altLang="tr-TR" sz="6000" b="1" dirty="0">
                <a:solidFill>
                  <a:srgbClr val="AD119B"/>
                </a:solidFill>
                <a:latin typeface="Open Sans" panose="020B0606030504020204" pitchFamily="34" charset="0"/>
                <a:cs typeface="Open Sans" panose="020B0606030504020204" pitchFamily="34" charset="0"/>
              </a:rPr>
              <a:t>HİZMET ALANLARIMIZ</a:t>
            </a:r>
            <a:endParaRPr lang="en-US" altLang="tr-TR" sz="3600" b="1" dirty="0">
              <a:solidFill>
                <a:srgbClr val="AD119B"/>
              </a:solidFill>
              <a:latin typeface="Open Sans" panose="020B0606030504020204" pitchFamily="34" charset="0"/>
              <a:cs typeface="Open Sans" panose="020B0606030504020204" pitchFamily="34" charset="0"/>
            </a:endParaRPr>
          </a:p>
        </p:txBody>
      </p:sp>
      <p:sp>
        <p:nvSpPr>
          <p:cNvPr id="17" name="Freeform 45">
            <a:extLst>
              <a:ext uri="{FF2B5EF4-FFF2-40B4-BE49-F238E27FC236}">
                <a16:creationId xmlns:a16="http://schemas.microsoft.com/office/drawing/2014/main" id="{5A521A4C-7D22-3384-6DC7-BBC57877EF76}"/>
              </a:ext>
            </a:extLst>
          </p:cNvPr>
          <p:cNvSpPr>
            <a:spLocks/>
          </p:cNvSpPr>
          <p:nvPr/>
        </p:nvSpPr>
        <p:spPr bwMode="auto">
          <a:xfrm>
            <a:off x="0" y="3781425"/>
            <a:ext cx="12192000" cy="3076575"/>
          </a:xfrm>
          <a:custGeom>
            <a:avLst/>
            <a:gdLst>
              <a:gd name="connsiteX0" fmla="*/ 4495800 w 8683625"/>
              <a:gd name="connsiteY0" fmla="*/ 0 h 1086621"/>
              <a:gd name="connsiteX1" fmla="*/ 4595813 w 8683625"/>
              <a:gd name="connsiteY1" fmla="*/ 1588 h 1086621"/>
              <a:gd name="connsiteX2" fmla="*/ 4595813 w 8683625"/>
              <a:gd name="connsiteY2" fmla="*/ 23813 h 1086621"/>
              <a:gd name="connsiteX3" fmla="*/ 4656138 w 8683625"/>
              <a:gd name="connsiteY3" fmla="*/ 23813 h 1086621"/>
              <a:gd name="connsiteX4" fmla="*/ 4651375 w 8683625"/>
              <a:gd name="connsiteY4" fmla="*/ 828676 h 1086621"/>
              <a:gd name="connsiteX5" fmla="*/ 4802188 w 8683625"/>
              <a:gd name="connsiteY5" fmla="*/ 828676 h 1086621"/>
              <a:gd name="connsiteX6" fmla="*/ 4803775 w 8683625"/>
              <a:gd name="connsiteY6" fmla="*/ 615950 h 1086621"/>
              <a:gd name="connsiteX7" fmla="*/ 4916488 w 8683625"/>
              <a:gd name="connsiteY7" fmla="*/ 615950 h 1086621"/>
              <a:gd name="connsiteX8" fmla="*/ 4919663 w 8683625"/>
              <a:gd name="connsiteY8" fmla="*/ 441325 h 1086621"/>
              <a:gd name="connsiteX9" fmla="*/ 5086350 w 8683625"/>
              <a:gd name="connsiteY9" fmla="*/ 441325 h 1086621"/>
              <a:gd name="connsiteX10" fmla="*/ 5086350 w 8683625"/>
              <a:gd name="connsiteY10" fmla="*/ 496888 h 1086621"/>
              <a:gd name="connsiteX11" fmla="*/ 5124450 w 8683625"/>
              <a:gd name="connsiteY11" fmla="*/ 500063 h 1086621"/>
              <a:gd name="connsiteX12" fmla="*/ 5122863 w 8683625"/>
              <a:gd name="connsiteY12" fmla="*/ 633413 h 1086621"/>
              <a:gd name="connsiteX13" fmla="*/ 5170488 w 8683625"/>
              <a:gd name="connsiteY13" fmla="*/ 633413 h 1086621"/>
              <a:gd name="connsiteX14" fmla="*/ 5172075 w 8683625"/>
              <a:gd name="connsiteY14" fmla="*/ 588963 h 1086621"/>
              <a:gd name="connsiteX15" fmla="*/ 5280025 w 8683625"/>
              <a:gd name="connsiteY15" fmla="*/ 588963 h 1086621"/>
              <a:gd name="connsiteX16" fmla="*/ 5280025 w 8683625"/>
              <a:gd name="connsiteY16" fmla="*/ 639763 h 1086621"/>
              <a:gd name="connsiteX17" fmla="*/ 5330825 w 8683625"/>
              <a:gd name="connsiteY17" fmla="*/ 639763 h 1086621"/>
              <a:gd name="connsiteX18" fmla="*/ 5327650 w 8683625"/>
              <a:gd name="connsiteY18" fmla="*/ 728663 h 1086621"/>
              <a:gd name="connsiteX19" fmla="*/ 5359400 w 8683625"/>
              <a:gd name="connsiteY19" fmla="*/ 728663 h 1086621"/>
              <a:gd name="connsiteX20" fmla="*/ 5359400 w 8683625"/>
              <a:gd name="connsiteY20" fmla="*/ 396875 h 1086621"/>
              <a:gd name="connsiteX21" fmla="*/ 5391150 w 8683625"/>
              <a:gd name="connsiteY21" fmla="*/ 396875 h 1086621"/>
              <a:gd name="connsiteX22" fmla="*/ 5391150 w 8683625"/>
              <a:gd name="connsiteY22" fmla="*/ 333375 h 1086621"/>
              <a:gd name="connsiteX23" fmla="*/ 5446713 w 8683625"/>
              <a:gd name="connsiteY23" fmla="*/ 333375 h 1086621"/>
              <a:gd name="connsiteX24" fmla="*/ 5522913 w 8683625"/>
              <a:gd name="connsiteY24" fmla="*/ 333375 h 1086621"/>
              <a:gd name="connsiteX25" fmla="*/ 5522913 w 8683625"/>
              <a:gd name="connsiteY25" fmla="*/ 365125 h 1086621"/>
              <a:gd name="connsiteX26" fmla="*/ 5586413 w 8683625"/>
              <a:gd name="connsiteY26" fmla="*/ 368300 h 1086621"/>
              <a:gd name="connsiteX27" fmla="*/ 5586413 w 8683625"/>
              <a:gd name="connsiteY27" fmla="*/ 557213 h 1086621"/>
              <a:gd name="connsiteX28" fmla="*/ 5651500 w 8683625"/>
              <a:gd name="connsiteY28" fmla="*/ 557213 h 1086621"/>
              <a:gd name="connsiteX29" fmla="*/ 5651500 w 8683625"/>
              <a:gd name="connsiteY29" fmla="*/ 515938 h 1086621"/>
              <a:gd name="connsiteX30" fmla="*/ 5726113 w 8683625"/>
              <a:gd name="connsiteY30" fmla="*/ 515938 h 1086621"/>
              <a:gd name="connsiteX31" fmla="*/ 5726113 w 8683625"/>
              <a:gd name="connsiteY31" fmla="*/ 547688 h 1086621"/>
              <a:gd name="connsiteX32" fmla="*/ 5819775 w 8683625"/>
              <a:gd name="connsiteY32" fmla="*/ 547688 h 1086621"/>
              <a:gd name="connsiteX33" fmla="*/ 5819775 w 8683625"/>
              <a:gd name="connsiteY33" fmla="*/ 617538 h 1086621"/>
              <a:gd name="connsiteX34" fmla="*/ 5854700 w 8683625"/>
              <a:gd name="connsiteY34" fmla="*/ 617538 h 1086621"/>
              <a:gd name="connsiteX35" fmla="*/ 5854700 w 8683625"/>
              <a:gd name="connsiteY35" fmla="*/ 584200 h 1086621"/>
              <a:gd name="connsiteX36" fmla="*/ 5886450 w 8683625"/>
              <a:gd name="connsiteY36" fmla="*/ 584200 h 1086621"/>
              <a:gd name="connsiteX37" fmla="*/ 5886450 w 8683625"/>
              <a:gd name="connsiteY37" fmla="*/ 547688 h 1086621"/>
              <a:gd name="connsiteX38" fmla="*/ 5962650 w 8683625"/>
              <a:gd name="connsiteY38" fmla="*/ 547688 h 1086621"/>
              <a:gd name="connsiteX39" fmla="*/ 5959475 w 8683625"/>
              <a:gd name="connsiteY39" fmla="*/ 584200 h 1086621"/>
              <a:gd name="connsiteX40" fmla="*/ 6011863 w 8683625"/>
              <a:gd name="connsiteY40" fmla="*/ 584200 h 1086621"/>
              <a:gd name="connsiteX41" fmla="*/ 6011863 w 8683625"/>
              <a:gd name="connsiteY41" fmla="*/ 608013 h 1086621"/>
              <a:gd name="connsiteX42" fmla="*/ 6035675 w 8683625"/>
              <a:gd name="connsiteY42" fmla="*/ 608013 h 1086621"/>
              <a:gd name="connsiteX43" fmla="*/ 6035675 w 8683625"/>
              <a:gd name="connsiteY43" fmla="*/ 681038 h 1086621"/>
              <a:gd name="connsiteX44" fmla="*/ 6072188 w 8683625"/>
              <a:gd name="connsiteY44" fmla="*/ 681038 h 1086621"/>
              <a:gd name="connsiteX45" fmla="*/ 6072188 w 8683625"/>
              <a:gd name="connsiteY45" fmla="*/ 633413 h 1086621"/>
              <a:gd name="connsiteX46" fmla="*/ 6149975 w 8683625"/>
              <a:gd name="connsiteY46" fmla="*/ 633413 h 1086621"/>
              <a:gd name="connsiteX47" fmla="*/ 6149975 w 8683625"/>
              <a:gd name="connsiteY47" fmla="*/ 603250 h 1086621"/>
              <a:gd name="connsiteX48" fmla="*/ 6183313 w 8683625"/>
              <a:gd name="connsiteY48" fmla="*/ 603250 h 1086621"/>
              <a:gd name="connsiteX49" fmla="*/ 6183313 w 8683625"/>
              <a:gd name="connsiteY49" fmla="*/ 584200 h 1086621"/>
              <a:gd name="connsiteX50" fmla="*/ 6254750 w 8683625"/>
              <a:gd name="connsiteY50" fmla="*/ 587375 h 1086621"/>
              <a:gd name="connsiteX51" fmla="*/ 6254750 w 8683625"/>
              <a:gd name="connsiteY51" fmla="*/ 620713 h 1086621"/>
              <a:gd name="connsiteX52" fmla="*/ 6307138 w 8683625"/>
              <a:gd name="connsiteY52" fmla="*/ 620713 h 1086621"/>
              <a:gd name="connsiteX53" fmla="*/ 6307138 w 8683625"/>
              <a:gd name="connsiteY53" fmla="*/ 657226 h 1086621"/>
              <a:gd name="connsiteX54" fmla="*/ 6367463 w 8683625"/>
              <a:gd name="connsiteY54" fmla="*/ 657226 h 1086621"/>
              <a:gd name="connsiteX55" fmla="*/ 6367463 w 8683625"/>
              <a:gd name="connsiteY55" fmla="*/ 700088 h 1086621"/>
              <a:gd name="connsiteX56" fmla="*/ 6396038 w 8683625"/>
              <a:gd name="connsiteY56" fmla="*/ 700088 h 1086621"/>
              <a:gd name="connsiteX57" fmla="*/ 6396038 w 8683625"/>
              <a:gd name="connsiteY57" fmla="*/ 923926 h 1086621"/>
              <a:gd name="connsiteX58" fmla="*/ 6410325 w 8683625"/>
              <a:gd name="connsiteY58" fmla="*/ 923926 h 1086621"/>
              <a:gd name="connsiteX59" fmla="*/ 6410325 w 8683625"/>
              <a:gd name="connsiteY59" fmla="*/ 863601 h 1086621"/>
              <a:gd name="connsiteX60" fmla="*/ 6435725 w 8683625"/>
              <a:gd name="connsiteY60" fmla="*/ 863601 h 1086621"/>
              <a:gd name="connsiteX61" fmla="*/ 6438900 w 8683625"/>
              <a:gd name="connsiteY61" fmla="*/ 671513 h 1086621"/>
              <a:gd name="connsiteX62" fmla="*/ 6454775 w 8683625"/>
              <a:gd name="connsiteY62" fmla="*/ 671513 h 1086621"/>
              <a:gd name="connsiteX63" fmla="*/ 6454775 w 8683625"/>
              <a:gd name="connsiteY63" fmla="*/ 639763 h 1086621"/>
              <a:gd name="connsiteX64" fmla="*/ 6510338 w 8683625"/>
              <a:gd name="connsiteY64" fmla="*/ 639763 h 1086621"/>
              <a:gd name="connsiteX65" fmla="*/ 6510338 w 8683625"/>
              <a:gd name="connsiteY65" fmla="*/ 668338 h 1086621"/>
              <a:gd name="connsiteX66" fmla="*/ 6526213 w 8683625"/>
              <a:gd name="connsiteY66" fmla="*/ 668338 h 1086621"/>
              <a:gd name="connsiteX67" fmla="*/ 6526213 w 8683625"/>
              <a:gd name="connsiteY67" fmla="*/ 839788 h 1086621"/>
              <a:gd name="connsiteX68" fmla="*/ 6551613 w 8683625"/>
              <a:gd name="connsiteY68" fmla="*/ 839788 h 1086621"/>
              <a:gd name="connsiteX69" fmla="*/ 6551613 w 8683625"/>
              <a:gd name="connsiteY69" fmla="*/ 587375 h 1086621"/>
              <a:gd name="connsiteX70" fmla="*/ 6699250 w 8683625"/>
              <a:gd name="connsiteY70" fmla="*/ 587375 h 1086621"/>
              <a:gd name="connsiteX71" fmla="*/ 6699250 w 8683625"/>
              <a:gd name="connsiteY71" fmla="*/ 655638 h 1086621"/>
              <a:gd name="connsiteX72" fmla="*/ 6718300 w 8683625"/>
              <a:gd name="connsiteY72" fmla="*/ 655638 h 1086621"/>
              <a:gd name="connsiteX73" fmla="*/ 6718300 w 8683625"/>
              <a:gd name="connsiteY73" fmla="*/ 733426 h 1086621"/>
              <a:gd name="connsiteX74" fmla="*/ 6727825 w 8683625"/>
              <a:gd name="connsiteY74" fmla="*/ 733426 h 1086621"/>
              <a:gd name="connsiteX75" fmla="*/ 6727825 w 8683625"/>
              <a:gd name="connsiteY75" fmla="*/ 939801 h 1086621"/>
              <a:gd name="connsiteX76" fmla="*/ 6767513 w 8683625"/>
              <a:gd name="connsiteY76" fmla="*/ 939801 h 1086621"/>
              <a:gd name="connsiteX77" fmla="*/ 6767513 w 8683625"/>
              <a:gd name="connsiteY77" fmla="*/ 911226 h 1086621"/>
              <a:gd name="connsiteX78" fmla="*/ 6786563 w 8683625"/>
              <a:gd name="connsiteY78" fmla="*/ 911226 h 1086621"/>
              <a:gd name="connsiteX79" fmla="*/ 6786563 w 8683625"/>
              <a:gd name="connsiteY79" fmla="*/ 839788 h 1086621"/>
              <a:gd name="connsiteX80" fmla="*/ 6802438 w 8683625"/>
              <a:gd name="connsiteY80" fmla="*/ 839788 h 1086621"/>
              <a:gd name="connsiteX81" fmla="*/ 6804025 w 8683625"/>
              <a:gd name="connsiteY81" fmla="*/ 555625 h 1086621"/>
              <a:gd name="connsiteX82" fmla="*/ 6915150 w 8683625"/>
              <a:gd name="connsiteY82" fmla="*/ 555625 h 1086621"/>
              <a:gd name="connsiteX83" fmla="*/ 6915150 w 8683625"/>
              <a:gd name="connsiteY83" fmla="*/ 727076 h 1086621"/>
              <a:gd name="connsiteX84" fmla="*/ 6931025 w 8683625"/>
              <a:gd name="connsiteY84" fmla="*/ 727076 h 1086621"/>
              <a:gd name="connsiteX85" fmla="*/ 6931025 w 8683625"/>
              <a:gd name="connsiteY85" fmla="*/ 842963 h 1086621"/>
              <a:gd name="connsiteX86" fmla="*/ 6980237 w 8683625"/>
              <a:gd name="connsiteY86" fmla="*/ 842963 h 1086621"/>
              <a:gd name="connsiteX87" fmla="*/ 6980237 w 8683625"/>
              <a:gd name="connsiteY87" fmla="*/ 950913 h 1086621"/>
              <a:gd name="connsiteX88" fmla="*/ 7011987 w 8683625"/>
              <a:gd name="connsiteY88" fmla="*/ 950913 h 1086621"/>
              <a:gd name="connsiteX89" fmla="*/ 7011987 w 8683625"/>
              <a:gd name="connsiteY89" fmla="*/ 892176 h 1086621"/>
              <a:gd name="connsiteX90" fmla="*/ 7065963 w 8683625"/>
              <a:gd name="connsiteY90" fmla="*/ 892176 h 1086621"/>
              <a:gd name="connsiteX91" fmla="*/ 7065963 w 8683625"/>
              <a:gd name="connsiteY91" fmla="*/ 857251 h 1086621"/>
              <a:gd name="connsiteX92" fmla="*/ 7246937 w 8683625"/>
              <a:gd name="connsiteY92" fmla="*/ 857251 h 1086621"/>
              <a:gd name="connsiteX93" fmla="*/ 7246937 w 8683625"/>
              <a:gd name="connsiteY93" fmla="*/ 820738 h 1086621"/>
              <a:gd name="connsiteX94" fmla="*/ 7291387 w 8683625"/>
              <a:gd name="connsiteY94" fmla="*/ 820738 h 1086621"/>
              <a:gd name="connsiteX95" fmla="*/ 7291387 w 8683625"/>
              <a:gd name="connsiteY95" fmla="*/ 865188 h 1086621"/>
              <a:gd name="connsiteX96" fmla="*/ 7339013 w 8683625"/>
              <a:gd name="connsiteY96" fmla="*/ 865188 h 1086621"/>
              <a:gd name="connsiteX97" fmla="*/ 7339013 w 8683625"/>
              <a:gd name="connsiteY97" fmla="*/ 963613 h 1086621"/>
              <a:gd name="connsiteX98" fmla="*/ 7378700 w 8683625"/>
              <a:gd name="connsiteY98" fmla="*/ 963613 h 1086621"/>
              <a:gd name="connsiteX99" fmla="*/ 7378700 w 8683625"/>
              <a:gd name="connsiteY99" fmla="*/ 873126 h 1086621"/>
              <a:gd name="connsiteX100" fmla="*/ 7404100 w 8683625"/>
              <a:gd name="connsiteY100" fmla="*/ 873126 h 1086621"/>
              <a:gd name="connsiteX101" fmla="*/ 7407275 w 8683625"/>
              <a:gd name="connsiteY101" fmla="*/ 728663 h 1086621"/>
              <a:gd name="connsiteX102" fmla="*/ 7434263 w 8683625"/>
              <a:gd name="connsiteY102" fmla="*/ 728663 h 1086621"/>
              <a:gd name="connsiteX103" fmla="*/ 7434263 w 8683625"/>
              <a:gd name="connsiteY103" fmla="*/ 671513 h 1086621"/>
              <a:gd name="connsiteX104" fmla="*/ 7466013 w 8683625"/>
              <a:gd name="connsiteY104" fmla="*/ 671513 h 1086621"/>
              <a:gd name="connsiteX105" fmla="*/ 7486650 w 8683625"/>
              <a:gd name="connsiteY105" fmla="*/ 644526 h 1086621"/>
              <a:gd name="connsiteX106" fmla="*/ 7543800 w 8683625"/>
              <a:gd name="connsiteY106" fmla="*/ 644526 h 1086621"/>
              <a:gd name="connsiteX107" fmla="*/ 7543800 w 8683625"/>
              <a:gd name="connsiteY107" fmla="*/ 341313 h 1086621"/>
              <a:gd name="connsiteX108" fmla="*/ 7662863 w 8683625"/>
              <a:gd name="connsiteY108" fmla="*/ 341313 h 1086621"/>
              <a:gd name="connsiteX109" fmla="*/ 7662863 w 8683625"/>
              <a:gd name="connsiteY109" fmla="*/ 649288 h 1086621"/>
              <a:gd name="connsiteX110" fmla="*/ 7727950 w 8683625"/>
              <a:gd name="connsiteY110" fmla="*/ 649288 h 1086621"/>
              <a:gd name="connsiteX111" fmla="*/ 7726363 w 8683625"/>
              <a:gd name="connsiteY111" fmla="*/ 887413 h 1086621"/>
              <a:gd name="connsiteX112" fmla="*/ 7766050 w 8683625"/>
              <a:gd name="connsiteY112" fmla="*/ 887413 h 1086621"/>
              <a:gd name="connsiteX113" fmla="*/ 7766050 w 8683625"/>
              <a:gd name="connsiteY113" fmla="*/ 592138 h 1086621"/>
              <a:gd name="connsiteX114" fmla="*/ 7867650 w 8683625"/>
              <a:gd name="connsiteY114" fmla="*/ 595313 h 1086621"/>
              <a:gd name="connsiteX115" fmla="*/ 7867650 w 8683625"/>
              <a:gd name="connsiteY115" fmla="*/ 623888 h 1086621"/>
              <a:gd name="connsiteX116" fmla="*/ 7967663 w 8683625"/>
              <a:gd name="connsiteY116" fmla="*/ 623888 h 1086621"/>
              <a:gd name="connsiteX117" fmla="*/ 7966075 w 8683625"/>
              <a:gd name="connsiteY117" fmla="*/ 731838 h 1086621"/>
              <a:gd name="connsiteX118" fmla="*/ 8015287 w 8683625"/>
              <a:gd name="connsiteY118" fmla="*/ 731838 h 1086621"/>
              <a:gd name="connsiteX119" fmla="*/ 8015287 w 8683625"/>
              <a:gd name="connsiteY119" fmla="*/ 652463 h 1086621"/>
              <a:gd name="connsiteX120" fmla="*/ 8086725 w 8683625"/>
              <a:gd name="connsiteY120" fmla="*/ 652463 h 1086621"/>
              <a:gd name="connsiteX121" fmla="*/ 8089900 w 8683625"/>
              <a:gd name="connsiteY121" fmla="*/ 611188 h 1086621"/>
              <a:gd name="connsiteX122" fmla="*/ 8151813 w 8683625"/>
              <a:gd name="connsiteY122" fmla="*/ 611188 h 1086621"/>
              <a:gd name="connsiteX123" fmla="*/ 8151813 w 8683625"/>
              <a:gd name="connsiteY123" fmla="*/ 871538 h 1086621"/>
              <a:gd name="connsiteX124" fmla="*/ 8251825 w 8683625"/>
              <a:gd name="connsiteY124" fmla="*/ 871538 h 1086621"/>
              <a:gd name="connsiteX125" fmla="*/ 8255000 w 8683625"/>
              <a:gd name="connsiteY125" fmla="*/ 573088 h 1086621"/>
              <a:gd name="connsiteX126" fmla="*/ 8274050 w 8683625"/>
              <a:gd name="connsiteY126" fmla="*/ 573088 h 1086621"/>
              <a:gd name="connsiteX127" fmla="*/ 8274050 w 8683625"/>
              <a:gd name="connsiteY127" fmla="*/ 547688 h 1086621"/>
              <a:gd name="connsiteX128" fmla="*/ 8375650 w 8683625"/>
              <a:gd name="connsiteY128" fmla="*/ 549275 h 1086621"/>
              <a:gd name="connsiteX129" fmla="*/ 8375650 w 8683625"/>
              <a:gd name="connsiteY129" fmla="*/ 595313 h 1086621"/>
              <a:gd name="connsiteX130" fmla="*/ 8494712 w 8683625"/>
              <a:gd name="connsiteY130" fmla="*/ 596900 h 1086621"/>
              <a:gd name="connsiteX131" fmla="*/ 8491538 w 8683625"/>
              <a:gd name="connsiteY131" fmla="*/ 900113 h 1086621"/>
              <a:gd name="connsiteX132" fmla="*/ 8547100 w 8683625"/>
              <a:gd name="connsiteY132" fmla="*/ 900113 h 1086621"/>
              <a:gd name="connsiteX133" fmla="*/ 8547100 w 8683625"/>
              <a:gd name="connsiteY133" fmla="*/ 992188 h 1086621"/>
              <a:gd name="connsiteX134" fmla="*/ 8607425 w 8683625"/>
              <a:gd name="connsiteY134" fmla="*/ 992188 h 1086621"/>
              <a:gd name="connsiteX135" fmla="*/ 8610600 w 8683625"/>
              <a:gd name="connsiteY135" fmla="*/ 881063 h 1086621"/>
              <a:gd name="connsiteX136" fmla="*/ 8642350 w 8683625"/>
              <a:gd name="connsiteY136" fmla="*/ 881063 h 1086621"/>
              <a:gd name="connsiteX137" fmla="*/ 8642350 w 8683625"/>
              <a:gd name="connsiteY137" fmla="*/ 836613 h 1086621"/>
              <a:gd name="connsiteX138" fmla="*/ 8683625 w 8683625"/>
              <a:gd name="connsiteY138" fmla="*/ 836613 h 1086621"/>
              <a:gd name="connsiteX139" fmla="*/ 8683625 w 8683625"/>
              <a:gd name="connsiteY139" fmla="*/ 1086621 h 1086621"/>
              <a:gd name="connsiteX140" fmla="*/ 0 w 8683625"/>
              <a:gd name="connsiteY140" fmla="*/ 1086621 h 1086621"/>
              <a:gd name="connsiteX141" fmla="*/ 0 w 8683625"/>
              <a:gd name="connsiteY141" fmla="*/ 1035051 h 1086621"/>
              <a:gd name="connsiteX142" fmla="*/ 84138 w 8683625"/>
              <a:gd name="connsiteY142" fmla="*/ 1035051 h 1086621"/>
              <a:gd name="connsiteX143" fmla="*/ 84138 w 8683625"/>
              <a:gd name="connsiteY143" fmla="*/ 963613 h 1086621"/>
              <a:gd name="connsiteX144" fmla="*/ 131763 w 8683625"/>
              <a:gd name="connsiteY144" fmla="*/ 963613 h 1086621"/>
              <a:gd name="connsiteX145" fmla="*/ 131763 w 8683625"/>
              <a:gd name="connsiteY145" fmla="*/ 927101 h 1086621"/>
              <a:gd name="connsiteX146" fmla="*/ 176213 w 8683625"/>
              <a:gd name="connsiteY146" fmla="*/ 927101 h 1086621"/>
              <a:gd name="connsiteX147" fmla="*/ 176213 w 8683625"/>
              <a:gd name="connsiteY147" fmla="*/ 960438 h 1086621"/>
              <a:gd name="connsiteX148" fmla="*/ 258763 w 8683625"/>
              <a:gd name="connsiteY148" fmla="*/ 963613 h 1086621"/>
              <a:gd name="connsiteX149" fmla="*/ 258763 w 8683625"/>
              <a:gd name="connsiteY149" fmla="*/ 992188 h 1086621"/>
              <a:gd name="connsiteX150" fmla="*/ 303213 w 8683625"/>
              <a:gd name="connsiteY150" fmla="*/ 992188 h 1086621"/>
              <a:gd name="connsiteX151" fmla="*/ 300038 w 8683625"/>
              <a:gd name="connsiteY151" fmla="*/ 1052513 h 1086621"/>
              <a:gd name="connsiteX152" fmla="*/ 355600 w 8683625"/>
              <a:gd name="connsiteY152" fmla="*/ 1052513 h 1086621"/>
              <a:gd name="connsiteX153" fmla="*/ 358775 w 8683625"/>
              <a:gd name="connsiteY153" fmla="*/ 984251 h 1086621"/>
              <a:gd name="connsiteX154" fmla="*/ 420688 w 8683625"/>
              <a:gd name="connsiteY154" fmla="*/ 984251 h 1086621"/>
              <a:gd name="connsiteX155" fmla="*/ 420688 w 8683625"/>
              <a:gd name="connsiteY155" fmla="*/ 823913 h 1086621"/>
              <a:gd name="connsiteX156" fmla="*/ 468313 w 8683625"/>
              <a:gd name="connsiteY156" fmla="*/ 823913 h 1086621"/>
              <a:gd name="connsiteX157" fmla="*/ 468313 w 8683625"/>
              <a:gd name="connsiteY157" fmla="*/ 796926 h 1086621"/>
              <a:gd name="connsiteX158" fmla="*/ 519113 w 8683625"/>
              <a:gd name="connsiteY158" fmla="*/ 796926 h 1086621"/>
              <a:gd name="connsiteX159" fmla="*/ 519113 w 8683625"/>
              <a:gd name="connsiteY159" fmla="*/ 828676 h 1086621"/>
              <a:gd name="connsiteX160" fmla="*/ 536575 w 8683625"/>
              <a:gd name="connsiteY160" fmla="*/ 828676 h 1086621"/>
              <a:gd name="connsiteX161" fmla="*/ 536575 w 8683625"/>
              <a:gd name="connsiteY161" fmla="*/ 765176 h 1086621"/>
              <a:gd name="connsiteX162" fmla="*/ 600075 w 8683625"/>
              <a:gd name="connsiteY162" fmla="*/ 765176 h 1086621"/>
              <a:gd name="connsiteX163" fmla="*/ 600075 w 8683625"/>
              <a:gd name="connsiteY163" fmla="*/ 800101 h 1086621"/>
              <a:gd name="connsiteX164" fmla="*/ 631825 w 8683625"/>
              <a:gd name="connsiteY164" fmla="*/ 800101 h 1086621"/>
              <a:gd name="connsiteX165" fmla="*/ 631825 w 8683625"/>
              <a:gd name="connsiteY165" fmla="*/ 992188 h 1086621"/>
              <a:gd name="connsiteX166" fmla="*/ 668338 w 8683625"/>
              <a:gd name="connsiteY166" fmla="*/ 992188 h 1086621"/>
              <a:gd name="connsiteX167" fmla="*/ 668338 w 8683625"/>
              <a:gd name="connsiteY167" fmla="*/ 1031876 h 1086621"/>
              <a:gd name="connsiteX168" fmla="*/ 711200 w 8683625"/>
              <a:gd name="connsiteY168" fmla="*/ 1031876 h 1086621"/>
              <a:gd name="connsiteX169" fmla="*/ 712788 w 8683625"/>
              <a:gd name="connsiteY169" fmla="*/ 747713 h 1086621"/>
              <a:gd name="connsiteX170" fmla="*/ 763588 w 8683625"/>
              <a:gd name="connsiteY170" fmla="*/ 747713 h 1086621"/>
              <a:gd name="connsiteX171" fmla="*/ 763588 w 8683625"/>
              <a:gd name="connsiteY171" fmla="*/ 715963 h 1086621"/>
              <a:gd name="connsiteX172" fmla="*/ 879475 w 8683625"/>
              <a:gd name="connsiteY172" fmla="*/ 715963 h 1086621"/>
              <a:gd name="connsiteX173" fmla="*/ 879475 w 8683625"/>
              <a:gd name="connsiteY173" fmla="*/ 747713 h 1086621"/>
              <a:gd name="connsiteX174" fmla="*/ 936625 w 8683625"/>
              <a:gd name="connsiteY174" fmla="*/ 749301 h 1086621"/>
              <a:gd name="connsiteX175" fmla="*/ 936625 w 8683625"/>
              <a:gd name="connsiteY175" fmla="*/ 1023938 h 1086621"/>
              <a:gd name="connsiteX176" fmla="*/ 1174750 w 8683625"/>
              <a:gd name="connsiteY176" fmla="*/ 1027113 h 1086621"/>
              <a:gd name="connsiteX177" fmla="*/ 1176338 w 8683625"/>
              <a:gd name="connsiteY177" fmla="*/ 628650 h 1086621"/>
              <a:gd name="connsiteX178" fmla="*/ 1203325 w 8683625"/>
              <a:gd name="connsiteY178" fmla="*/ 628650 h 1086621"/>
              <a:gd name="connsiteX179" fmla="*/ 1203325 w 8683625"/>
              <a:gd name="connsiteY179" fmla="*/ 592138 h 1086621"/>
              <a:gd name="connsiteX180" fmla="*/ 1268413 w 8683625"/>
              <a:gd name="connsiteY180" fmla="*/ 592138 h 1086621"/>
              <a:gd name="connsiteX181" fmla="*/ 1268413 w 8683625"/>
              <a:gd name="connsiteY181" fmla="*/ 623888 h 1086621"/>
              <a:gd name="connsiteX182" fmla="*/ 1312863 w 8683625"/>
              <a:gd name="connsiteY182" fmla="*/ 623888 h 1086621"/>
              <a:gd name="connsiteX183" fmla="*/ 1311275 w 8683625"/>
              <a:gd name="connsiteY183" fmla="*/ 1019176 h 1086621"/>
              <a:gd name="connsiteX184" fmla="*/ 1352550 w 8683625"/>
              <a:gd name="connsiteY184" fmla="*/ 1019176 h 1086621"/>
              <a:gd name="connsiteX185" fmla="*/ 1352550 w 8683625"/>
              <a:gd name="connsiteY185" fmla="*/ 665163 h 1086621"/>
              <a:gd name="connsiteX186" fmla="*/ 1382713 w 8683625"/>
              <a:gd name="connsiteY186" fmla="*/ 665163 h 1086621"/>
              <a:gd name="connsiteX187" fmla="*/ 1382713 w 8683625"/>
              <a:gd name="connsiteY187" fmla="*/ 625475 h 1086621"/>
              <a:gd name="connsiteX188" fmla="*/ 1463675 w 8683625"/>
              <a:gd name="connsiteY188" fmla="*/ 625475 h 1086621"/>
              <a:gd name="connsiteX189" fmla="*/ 1463675 w 8683625"/>
              <a:gd name="connsiteY189" fmla="*/ 655638 h 1086621"/>
              <a:gd name="connsiteX190" fmla="*/ 1495425 w 8683625"/>
              <a:gd name="connsiteY190" fmla="*/ 655638 h 1086621"/>
              <a:gd name="connsiteX191" fmla="*/ 1495425 w 8683625"/>
              <a:gd name="connsiteY191" fmla="*/ 865188 h 1086621"/>
              <a:gd name="connsiteX192" fmla="*/ 1531938 w 8683625"/>
              <a:gd name="connsiteY192" fmla="*/ 865188 h 1086621"/>
              <a:gd name="connsiteX193" fmla="*/ 1531938 w 8683625"/>
              <a:gd name="connsiteY193" fmla="*/ 823913 h 1086621"/>
              <a:gd name="connsiteX194" fmla="*/ 1568450 w 8683625"/>
              <a:gd name="connsiteY194" fmla="*/ 823913 h 1086621"/>
              <a:gd name="connsiteX195" fmla="*/ 1568450 w 8683625"/>
              <a:gd name="connsiteY195" fmla="*/ 865188 h 1086621"/>
              <a:gd name="connsiteX196" fmla="*/ 1603375 w 8683625"/>
              <a:gd name="connsiteY196" fmla="*/ 865188 h 1086621"/>
              <a:gd name="connsiteX197" fmla="*/ 1603375 w 8683625"/>
              <a:gd name="connsiteY197" fmla="*/ 796926 h 1086621"/>
              <a:gd name="connsiteX198" fmla="*/ 1790700 w 8683625"/>
              <a:gd name="connsiteY198" fmla="*/ 796926 h 1086621"/>
              <a:gd name="connsiteX199" fmla="*/ 1790700 w 8683625"/>
              <a:gd name="connsiteY199" fmla="*/ 1011238 h 1086621"/>
              <a:gd name="connsiteX200" fmla="*/ 1847850 w 8683625"/>
              <a:gd name="connsiteY200" fmla="*/ 1011238 h 1086621"/>
              <a:gd name="connsiteX201" fmla="*/ 1851025 w 8683625"/>
              <a:gd name="connsiteY201" fmla="*/ 868363 h 1086621"/>
              <a:gd name="connsiteX202" fmla="*/ 2032000 w 8683625"/>
              <a:gd name="connsiteY202" fmla="*/ 868363 h 1086621"/>
              <a:gd name="connsiteX203" fmla="*/ 2032000 w 8683625"/>
              <a:gd name="connsiteY203" fmla="*/ 996951 h 1086621"/>
              <a:gd name="connsiteX204" fmla="*/ 2127250 w 8683625"/>
              <a:gd name="connsiteY204" fmla="*/ 996951 h 1086621"/>
              <a:gd name="connsiteX205" fmla="*/ 2127250 w 8683625"/>
              <a:gd name="connsiteY205" fmla="*/ 763588 h 1086621"/>
              <a:gd name="connsiteX206" fmla="*/ 2159000 w 8683625"/>
              <a:gd name="connsiteY206" fmla="*/ 763588 h 1086621"/>
              <a:gd name="connsiteX207" fmla="*/ 2159000 w 8683625"/>
              <a:gd name="connsiteY207" fmla="*/ 723901 h 1086621"/>
              <a:gd name="connsiteX208" fmla="*/ 2227263 w 8683625"/>
              <a:gd name="connsiteY208" fmla="*/ 723901 h 1086621"/>
              <a:gd name="connsiteX209" fmla="*/ 2227263 w 8683625"/>
              <a:gd name="connsiteY209" fmla="*/ 760413 h 1086621"/>
              <a:gd name="connsiteX210" fmla="*/ 2300288 w 8683625"/>
              <a:gd name="connsiteY210" fmla="*/ 760413 h 1086621"/>
              <a:gd name="connsiteX211" fmla="*/ 2300288 w 8683625"/>
              <a:gd name="connsiteY211" fmla="*/ 800101 h 1086621"/>
              <a:gd name="connsiteX212" fmla="*/ 2363788 w 8683625"/>
              <a:gd name="connsiteY212" fmla="*/ 800101 h 1086621"/>
              <a:gd name="connsiteX213" fmla="*/ 2363788 w 8683625"/>
              <a:gd name="connsiteY213" fmla="*/ 1008063 h 1086621"/>
              <a:gd name="connsiteX214" fmla="*/ 2406650 w 8683625"/>
              <a:gd name="connsiteY214" fmla="*/ 1008063 h 1086621"/>
              <a:gd name="connsiteX215" fmla="*/ 2406650 w 8683625"/>
              <a:gd name="connsiteY215" fmla="*/ 857251 h 1086621"/>
              <a:gd name="connsiteX216" fmla="*/ 2432050 w 8683625"/>
              <a:gd name="connsiteY216" fmla="*/ 857251 h 1086621"/>
              <a:gd name="connsiteX217" fmla="*/ 2432050 w 8683625"/>
              <a:gd name="connsiteY217" fmla="*/ 820738 h 1086621"/>
              <a:gd name="connsiteX218" fmla="*/ 2506663 w 8683625"/>
              <a:gd name="connsiteY218" fmla="*/ 820738 h 1086621"/>
              <a:gd name="connsiteX219" fmla="*/ 2503488 w 8683625"/>
              <a:gd name="connsiteY219" fmla="*/ 857251 h 1086621"/>
              <a:gd name="connsiteX220" fmla="*/ 2551113 w 8683625"/>
              <a:gd name="connsiteY220" fmla="*/ 857251 h 1086621"/>
              <a:gd name="connsiteX221" fmla="*/ 2551113 w 8683625"/>
              <a:gd name="connsiteY221" fmla="*/ 976313 h 1086621"/>
              <a:gd name="connsiteX222" fmla="*/ 2716213 w 8683625"/>
              <a:gd name="connsiteY222" fmla="*/ 976313 h 1086621"/>
              <a:gd name="connsiteX223" fmla="*/ 2716213 w 8683625"/>
              <a:gd name="connsiteY223" fmla="*/ 531813 h 1086621"/>
              <a:gd name="connsiteX224" fmla="*/ 2738438 w 8683625"/>
              <a:gd name="connsiteY224" fmla="*/ 531813 h 1086621"/>
              <a:gd name="connsiteX225" fmla="*/ 2738438 w 8683625"/>
              <a:gd name="connsiteY225" fmla="*/ 423863 h 1086621"/>
              <a:gd name="connsiteX226" fmla="*/ 2768600 w 8683625"/>
              <a:gd name="connsiteY226" fmla="*/ 423863 h 1086621"/>
              <a:gd name="connsiteX227" fmla="*/ 2768600 w 8683625"/>
              <a:gd name="connsiteY227" fmla="*/ 355600 h 1086621"/>
              <a:gd name="connsiteX228" fmla="*/ 2952750 w 8683625"/>
              <a:gd name="connsiteY228" fmla="*/ 357188 h 1086621"/>
              <a:gd name="connsiteX229" fmla="*/ 2952750 w 8683625"/>
              <a:gd name="connsiteY229" fmla="*/ 420688 h 1086621"/>
              <a:gd name="connsiteX230" fmla="*/ 3008313 w 8683625"/>
              <a:gd name="connsiteY230" fmla="*/ 420688 h 1086621"/>
              <a:gd name="connsiteX231" fmla="*/ 3006725 w 8683625"/>
              <a:gd name="connsiteY231" fmla="*/ 1004888 h 1086621"/>
              <a:gd name="connsiteX232" fmla="*/ 3063875 w 8683625"/>
              <a:gd name="connsiteY232" fmla="*/ 1004888 h 1086621"/>
              <a:gd name="connsiteX233" fmla="*/ 3063875 w 8683625"/>
              <a:gd name="connsiteY233" fmla="*/ 736601 h 1086621"/>
              <a:gd name="connsiteX234" fmla="*/ 3092450 w 8683625"/>
              <a:gd name="connsiteY234" fmla="*/ 736601 h 1086621"/>
              <a:gd name="connsiteX235" fmla="*/ 3092450 w 8683625"/>
              <a:gd name="connsiteY235" fmla="*/ 660401 h 1086621"/>
              <a:gd name="connsiteX236" fmla="*/ 3132138 w 8683625"/>
              <a:gd name="connsiteY236" fmla="*/ 660401 h 1086621"/>
              <a:gd name="connsiteX237" fmla="*/ 3132138 w 8683625"/>
              <a:gd name="connsiteY237" fmla="*/ 696913 h 1086621"/>
              <a:gd name="connsiteX238" fmla="*/ 3179763 w 8683625"/>
              <a:gd name="connsiteY238" fmla="*/ 696913 h 1086621"/>
              <a:gd name="connsiteX239" fmla="*/ 3179763 w 8683625"/>
              <a:gd name="connsiteY239" fmla="*/ 723901 h 1086621"/>
              <a:gd name="connsiteX240" fmla="*/ 3222625 w 8683625"/>
              <a:gd name="connsiteY240" fmla="*/ 723901 h 1086621"/>
              <a:gd name="connsiteX241" fmla="*/ 3219450 w 8683625"/>
              <a:gd name="connsiteY241" fmla="*/ 1008063 h 1086621"/>
              <a:gd name="connsiteX242" fmla="*/ 3254375 w 8683625"/>
              <a:gd name="connsiteY242" fmla="*/ 1008063 h 1086621"/>
              <a:gd name="connsiteX243" fmla="*/ 3254375 w 8683625"/>
              <a:gd name="connsiteY243" fmla="*/ 950913 h 1086621"/>
              <a:gd name="connsiteX244" fmla="*/ 3300413 w 8683625"/>
              <a:gd name="connsiteY244" fmla="*/ 950913 h 1086621"/>
              <a:gd name="connsiteX245" fmla="*/ 3303588 w 8683625"/>
              <a:gd name="connsiteY245" fmla="*/ 652463 h 1086621"/>
              <a:gd name="connsiteX246" fmla="*/ 3322638 w 8683625"/>
              <a:gd name="connsiteY246" fmla="*/ 652463 h 1086621"/>
              <a:gd name="connsiteX247" fmla="*/ 3340100 w 8683625"/>
              <a:gd name="connsiteY247" fmla="*/ 628650 h 1086621"/>
              <a:gd name="connsiteX248" fmla="*/ 3408363 w 8683625"/>
              <a:gd name="connsiteY248" fmla="*/ 628650 h 1086621"/>
              <a:gd name="connsiteX249" fmla="*/ 3408363 w 8683625"/>
              <a:gd name="connsiteY249" fmla="*/ 657226 h 1086621"/>
              <a:gd name="connsiteX250" fmla="*/ 3440113 w 8683625"/>
              <a:gd name="connsiteY250" fmla="*/ 657226 h 1086621"/>
              <a:gd name="connsiteX251" fmla="*/ 3440113 w 8683625"/>
              <a:gd name="connsiteY251" fmla="*/ 989013 h 1086621"/>
              <a:gd name="connsiteX252" fmla="*/ 3600450 w 8683625"/>
              <a:gd name="connsiteY252" fmla="*/ 992188 h 1086621"/>
              <a:gd name="connsiteX253" fmla="*/ 3603625 w 8683625"/>
              <a:gd name="connsiteY253" fmla="*/ 508000 h 1086621"/>
              <a:gd name="connsiteX254" fmla="*/ 3684588 w 8683625"/>
              <a:gd name="connsiteY254" fmla="*/ 508000 h 1086621"/>
              <a:gd name="connsiteX255" fmla="*/ 3684588 w 8683625"/>
              <a:gd name="connsiteY255" fmla="*/ 547688 h 1086621"/>
              <a:gd name="connsiteX256" fmla="*/ 3706813 w 8683625"/>
              <a:gd name="connsiteY256" fmla="*/ 547688 h 1086621"/>
              <a:gd name="connsiteX257" fmla="*/ 3706813 w 8683625"/>
              <a:gd name="connsiteY257" fmla="*/ 520700 h 1086621"/>
              <a:gd name="connsiteX258" fmla="*/ 3827463 w 8683625"/>
              <a:gd name="connsiteY258" fmla="*/ 520700 h 1086621"/>
              <a:gd name="connsiteX259" fmla="*/ 3827463 w 8683625"/>
              <a:gd name="connsiteY259" fmla="*/ 557213 h 1086621"/>
              <a:gd name="connsiteX260" fmla="*/ 3863975 w 8683625"/>
              <a:gd name="connsiteY260" fmla="*/ 557213 h 1086621"/>
              <a:gd name="connsiteX261" fmla="*/ 3863975 w 8683625"/>
              <a:gd name="connsiteY261" fmla="*/ 989013 h 1086621"/>
              <a:gd name="connsiteX262" fmla="*/ 3911600 w 8683625"/>
              <a:gd name="connsiteY262" fmla="*/ 989013 h 1086621"/>
              <a:gd name="connsiteX263" fmla="*/ 3911600 w 8683625"/>
              <a:gd name="connsiteY263" fmla="*/ 852488 h 1086621"/>
              <a:gd name="connsiteX264" fmla="*/ 3948113 w 8683625"/>
              <a:gd name="connsiteY264" fmla="*/ 855663 h 1086621"/>
              <a:gd name="connsiteX265" fmla="*/ 3948113 w 8683625"/>
              <a:gd name="connsiteY265" fmla="*/ 815976 h 1086621"/>
              <a:gd name="connsiteX266" fmla="*/ 3998913 w 8683625"/>
              <a:gd name="connsiteY266" fmla="*/ 815976 h 1086621"/>
              <a:gd name="connsiteX267" fmla="*/ 3998913 w 8683625"/>
              <a:gd name="connsiteY267" fmla="*/ 855663 h 1086621"/>
              <a:gd name="connsiteX268" fmla="*/ 4051300 w 8683625"/>
              <a:gd name="connsiteY268" fmla="*/ 855663 h 1086621"/>
              <a:gd name="connsiteX269" fmla="*/ 4048125 w 8683625"/>
              <a:gd name="connsiteY269" fmla="*/ 987426 h 1086621"/>
              <a:gd name="connsiteX270" fmla="*/ 4124325 w 8683625"/>
              <a:gd name="connsiteY270" fmla="*/ 987426 h 1086621"/>
              <a:gd name="connsiteX271" fmla="*/ 4124325 w 8683625"/>
              <a:gd name="connsiteY271" fmla="*/ 660401 h 1086621"/>
              <a:gd name="connsiteX272" fmla="*/ 4151313 w 8683625"/>
              <a:gd name="connsiteY272" fmla="*/ 660401 h 1086621"/>
              <a:gd name="connsiteX273" fmla="*/ 4151313 w 8683625"/>
              <a:gd name="connsiteY273" fmla="*/ 547688 h 1086621"/>
              <a:gd name="connsiteX274" fmla="*/ 4319588 w 8683625"/>
              <a:gd name="connsiteY274" fmla="*/ 547688 h 1086621"/>
              <a:gd name="connsiteX275" fmla="*/ 4319588 w 8683625"/>
              <a:gd name="connsiteY275" fmla="*/ 596900 h 1086621"/>
              <a:gd name="connsiteX276" fmla="*/ 4364038 w 8683625"/>
              <a:gd name="connsiteY276" fmla="*/ 596900 h 1086621"/>
              <a:gd name="connsiteX277" fmla="*/ 4362450 w 8683625"/>
              <a:gd name="connsiteY277" fmla="*/ 808038 h 1086621"/>
              <a:gd name="connsiteX278" fmla="*/ 4478338 w 8683625"/>
              <a:gd name="connsiteY278" fmla="*/ 808038 h 1086621"/>
              <a:gd name="connsiteX279" fmla="*/ 4479925 w 8683625"/>
              <a:gd name="connsiteY279" fmla="*/ 46038 h 1086621"/>
              <a:gd name="connsiteX280" fmla="*/ 4495800 w 8683625"/>
              <a:gd name="connsiteY280" fmla="*/ 46038 h 108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Lst>
            <a:rect l="l" t="t" r="r" b="b"/>
            <a:pathLst>
              <a:path w="8683625" h="1086621">
                <a:moveTo>
                  <a:pt x="4495800" y="0"/>
                </a:moveTo>
                <a:lnTo>
                  <a:pt x="4595813" y="1588"/>
                </a:lnTo>
                <a:lnTo>
                  <a:pt x="4595813" y="23813"/>
                </a:lnTo>
                <a:lnTo>
                  <a:pt x="4656138" y="23813"/>
                </a:lnTo>
                <a:lnTo>
                  <a:pt x="4651375" y="828676"/>
                </a:lnTo>
                <a:lnTo>
                  <a:pt x="4802188" y="828676"/>
                </a:lnTo>
                <a:lnTo>
                  <a:pt x="4803775" y="615950"/>
                </a:lnTo>
                <a:lnTo>
                  <a:pt x="4916488" y="615950"/>
                </a:lnTo>
                <a:lnTo>
                  <a:pt x="4919663" y="441325"/>
                </a:lnTo>
                <a:lnTo>
                  <a:pt x="5086350" y="441325"/>
                </a:lnTo>
                <a:lnTo>
                  <a:pt x="5086350" y="496888"/>
                </a:lnTo>
                <a:lnTo>
                  <a:pt x="5124450" y="500063"/>
                </a:lnTo>
                <a:lnTo>
                  <a:pt x="5122863" y="633413"/>
                </a:lnTo>
                <a:lnTo>
                  <a:pt x="5170488" y="633413"/>
                </a:lnTo>
                <a:lnTo>
                  <a:pt x="5172075" y="588963"/>
                </a:lnTo>
                <a:lnTo>
                  <a:pt x="5280025" y="588963"/>
                </a:lnTo>
                <a:lnTo>
                  <a:pt x="5280025" y="639763"/>
                </a:lnTo>
                <a:lnTo>
                  <a:pt x="5330825" y="639763"/>
                </a:lnTo>
                <a:lnTo>
                  <a:pt x="5327650" y="728663"/>
                </a:lnTo>
                <a:lnTo>
                  <a:pt x="5359400" y="728663"/>
                </a:lnTo>
                <a:lnTo>
                  <a:pt x="5359400" y="396875"/>
                </a:lnTo>
                <a:lnTo>
                  <a:pt x="5391150" y="396875"/>
                </a:lnTo>
                <a:lnTo>
                  <a:pt x="5391150" y="333375"/>
                </a:lnTo>
                <a:lnTo>
                  <a:pt x="5446713" y="333375"/>
                </a:lnTo>
                <a:lnTo>
                  <a:pt x="5522913" y="333375"/>
                </a:lnTo>
                <a:lnTo>
                  <a:pt x="5522913" y="365125"/>
                </a:lnTo>
                <a:lnTo>
                  <a:pt x="5586413" y="368300"/>
                </a:lnTo>
                <a:lnTo>
                  <a:pt x="5586413" y="557213"/>
                </a:lnTo>
                <a:lnTo>
                  <a:pt x="5651500" y="557213"/>
                </a:lnTo>
                <a:lnTo>
                  <a:pt x="5651500" y="515938"/>
                </a:lnTo>
                <a:lnTo>
                  <a:pt x="5726113" y="515938"/>
                </a:lnTo>
                <a:lnTo>
                  <a:pt x="5726113" y="547688"/>
                </a:lnTo>
                <a:lnTo>
                  <a:pt x="5819775" y="547688"/>
                </a:lnTo>
                <a:lnTo>
                  <a:pt x="5819775" y="617538"/>
                </a:lnTo>
                <a:lnTo>
                  <a:pt x="5854700" y="617538"/>
                </a:lnTo>
                <a:lnTo>
                  <a:pt x="5854700" y="584200"/>
                </a:lnTo>
                <a:lnTo>
                  <a:pt x="5886450" y="584200"/>
                </a:lnTo>
                <a:lnTo>
                  <a:pt x="5886450" y="547688"/>
                </a:lnTo>
                <a:lnTo>
                  <a:pt x="5962650" y="547688"/>
                </a:lnTo>
                <a:lnTo>
                  <a:pt x="5959475" y="584200"/>
                </a:lnTo>
                <a:lnTo>
                  <a:pt x="6011863" y="584200"/>
                </a:lnTo>
                <a:lnTo>
                  <a:pt x="6011863" y="608013"/>
                </a:lnTo>
                <a:lnTo>
                  <a:pt x="6035675" y="608013"/>
                </a:lnTo>
                <a:lnTo>
                  <a:pt x="6035675" y="681038"/>
                </a:lnTo>
                <a:lnTo>
                  <a:pt x="6072188" y="681038"/>
                </a:lnTo>
                <a:lnTo>
                  <a:pt x="6072188" y="633413"/>
                </a:lnTo>
                <a:lnTo>
                  <a:pt x="6149975" y="633413"/>
                </a:lnTo>
                <a:lnTo>
                  <a:pt x="6149975" y="603250"/>
                </a:lnTo>
                <a:lnTo>
                  <a:pt x="6183313" y="603250"/>
                </a:lnTo>
                <a:lnTo>
                  <a:pt x="6183313" y="584200"/>
                </a:lnTo>
                <a:lnTo>
                  <a:pt x="6254750" y="587375"/>
                </a:lnTo>
                <a:lnTo>
                  <a:pt x="6254750" y="620713"/>
                </a:lnTo>
                <a:lnTo>
                  <a:pt x="6307138" y="620713"/>
                </a:lnTo>
                <a:lnTo>
                  <a:pt x="6307138" y="657226"/>
                </a:lnTo>
                <a:lnTo>
                  <a:pt x="6367463" y="657226"/>
                </a:lnTo>
                <a:lnTo>
                  <a:pt x="6367463" y="700088"/>
                </a:lnTo>
                <a:lnTo>
                  <a:pt x="6396038" y="700088"/>
                </a:lnTo>
                <a:lnTo>
                  <a:pt x="6396038" y="923926"/>
                </a:lnTo>
                <a:lnTo>
                  <a:pt x="6410325" y="923926"/>
                </a:lnTo>
                <a:lnTo>
                  <a:pt x="6410325" y="863601"/>
                </a:lnTo>
                <a:lnTo>
                  <a:pt x="6435725" y="863601"/>
                </a:lnTo>
                <a:lnTo>
                  <a:pt x="6438900" y="671513"/>
                </a:lnTo>
                <a:lnTo>
                  <a:pt x="6454775" y="671513"/>
                </a:lnTo>
                <a:lnTo>
                  <a:pt x="6454775" y="639763"/>
                </a:lnTo>
                <a:lnTo>
                  <a:pt x="6510338" y="639763"/>
                </a:lnTo>
                <a:lnTo>
                  <a:pt x="6510338" y="668338"/>
                </a:lnTo>
                <a:lnTo>
                  <a:pt x="6526213" y="668338"/>
                </a:lnTo>
                <a:lnTo>
                  <a:pt x="6526213" y="839788"/>
                </a:lnTo>
                <a:lnTo>
                  <a:pt x="6551613" y="839788"/>
                </a:lnTo>
                <a:lnTo>
                  <a:pt x="6551613" y="587375"/>
                </a:lnTo>
                <a:lnTo>
                  <a:pt x="6699250" y="587375"/>
                </a:lnTo>
                <a:lnTo>
                  <a:pt x="6699250" y="655638"/>
                </a:lnTo>
                <a:lnTo>
                  <a:pt x="6718300" y="655638"/>
                </a:lnTo>
                <a:lnTo>
                  <a:pt x="6718300" y="733426"/>
                </a:lnTo>
                <a:lnTo>
                  <a:pt x="6727825" y="733426"/>
                </a:lnTo>
                <a:lnTo>
                  <a:pt x="6727825" y="939801"/>
                </a:lnTo>
                <a:lnTo>
                  <a:pt x="6767513" y="939801"/>
                </a:lnTo>
                <a:lnTo>
                  <a:pt x="6767513" y="911226"/>
                </a:lnTo>
                <a:lnTo>
                  <a:pt x="6786563" y="911226"/>
                </a:lnTo>
                <a:lnTo>
                  <a:pt x="6786563" y="839788"/>
                </a:lnTo>
                <a:lnTo>
                  <a:pt x="6802438" y="839788"/>
                </a:lnTo>
                <a:lnTo>
                  <a:pt x="6804025" y="555625"/>
                </a:lnTo>
                <a:lnTo>
                  <a:pt x="6915150" y="555625"/>
                </a:lnTo>
                <a:lnTo>
                  <a:pt x="6915150" y="727076"/>
                </a:lnTo>
                <a:lnTo>
                  <a:pt x="6931025" y="727076"/>
                </a:lnTo>
                <a:lnTo>
                  <a:pt x="6931025" y="842963"/>
                </a:lnTo>
                <a:lnTo>
                  <a:pt x="6980237" y="842963"/>
                </a:lnTo>
                <a:lnTo>
                  <a:pt x="6980237" y="950913"/>
                </a:lnTo>
                <a:lnTo>
                  <a:pt x="7011987" y="950913"/>
                </a:lnTo>
                <a:lnTo>
                  <a:pt x="7011987" y="892176"/>
                </a:lnTo>
                <a:lnTo>
                  <a:pt x="7065963" y="892176"/>
                </a:lnTo>
                <a:lnTo>
                  <a:pt x="7065963" y="857251"/>
                </a:lnTo>
                <a:lnTo>
                  <a:pt x="7246937" y="857251"/>
                </a:lnTo>
                <a:lnTo>
                  <a:pt x="7246937" y="820738"/>
                </a:lnTo>
                <a:lnTo>
                  <a:pt x="7291387" y="820738"/>
                </a:lnTo>
                <a:lnTo>
                  <a:pt x="7291387" y="865188"/>
                </a:lnTo>
                <a:lnTo>
                  <a:pt x="7339013" y="865188"/>
                </a:lnTo>
                <a:lnTo>
                  <a:pt x="7339013" y="963613"/>
                </a:lnTo>
                <a:lnTo>
                  <a:pt x="7378700" y="963613"/>
                </a:lnTo>
                <a:lnTo>
                  <a:pt x="7378700" y="873126"/>
                </a:lnTo>
                <a:lnTo>
                  <a:pt x="7404100" y="873126"/>
                </a:lnTo>
                <a:lnTo>
                  <a:pt x="7407275" y="728663"/>
                </a:lnTo>
                <a:lnTo>
                  <a:pt x="7434263" y="728663"/>
                </a:lnTo>
                <a:lnTo>
                  <a:pt x="7434263" y="671513"/>
                </a:lnTo>
                <a:lnTo>
                  <a:pt x="7466013" y="671513"/>
                </a:lnTo>
                <a:lnTo>
                  <a:pt x="7486650" y="644526"/>
                </a:lnTo>
                <a:lnTo>
                  <a:pt x="7543800" y="644526"/>
                </a:lnTo>
                <a:lnTo>
                  <a:pt x="7543800" y="341313"/>
                </a:lnTo>
                <a:lnTo>
                  <a:pt x="7662863" y="341313"/>
                </a:lnTo>
                <a:lnTo>
                  <a:pt x="7662863" y="649288"/>
                </a:lnTo>
                <a:lnTo>
                  <a:pt x="7727950" y="649288"/>
                </a:lnTo>
                <a:lnTo>
                  <a:pt x="7726363" y="887413"/>
                </a:lnTo>
                <a:lnTo>
                  <a:pt x="7766050" y="887413"/>
                </a:lnTo>
                <a:lnTo>
                  <a:pt x="7766050" y="592138"/>
                </a:lnTo>
                <a:lnTo>
                  <a:pt x="7867650" y="595313"/>
                </a:lnTo>
                <a:lnTo>
                  <a:pt x="7867650" y="623888"/>
                </a:lnTo>
                <a:lnTo>
                  <a:pt x="7967663" y="623888"/>
                </a:lnTo>
                <a:lnTo>
                  <a:pt x="7966075" y="731838"/>
                </a:lnTo>
                <a:lnTo>
                  <a:pt x="8015287" y="731838"/>
                </a:lnTo>
                <a:lnTo>
                  <a:pt x="8015287" y="652463"/>
                </a:lnTo>
                <a:lnTo>
                  <a:pt x="8086725" y="652463"/>
                </a:lnTo>
                <a:lnTo>
                  <a:pt x="8089900" y="611188"/>
                </a:lnTo>
                <a:lnTo>
                  <a:pt x="8151813" y="611188"/>
                </a:lnTo>
                <a:lnTo>
                  <a:pt x="8151813" y="871538"/>
                </a:lnTo>
                <a:lnTo>
                  <a:pt x="8251825" y="871538"/>
                </a:lnTo>
                <a:lnTo>
                  <a:pt x="8255000" y="573088"/>
                </a:lnTo>
                <a:lnTo>
                  <a:pt x="8274050" y="573088"/>
                </a:lnTo>
                <a:lnTo>
                  <a:pt x="8274050" y="547688"/>
                </a:lnTo>
                <a:lnTo>
                  <a:pt x="8375650" y="549275"/>
                </a:lnTo>
                <a:lnTo>
                  <a:pt x="8375650" y="595313"/>
                </a:lnTo>
                <a:lnTo>
                  <a:pt x="8494712" y="596900"/>
                </a:lnTo>
                <a:lnTo>
                  <a:pt x="8491538" y="900113"/>
                </a:lnTo>
                <a:lnTo>
                  <a:pt x="8547100" y="900113"/>
                </a:lnTo>
                <a:lnTo>
                  <a:pt x="8547100" y="992188"/>
                </a:lnTo>
                <a:lnTo>
                  <a:pt x="8607425" y="992188"/>
                </a:lnTo>
                <a:lnTo>
                  <a:pt x="8610600" y="881063"/>
                </a:lnTo>
                <a:lnTo>
                  <a:pt x="8642350" y="881063"/>
                </a:lnTo>
                <a:lnTo>
                  <a:pt x="8642350" y="836613"/>
                </a:lnTo>
                <a:lnTo>
                  <a:pt x="8683625" y="836613"/>
                </a:lnTo>
                <a:lnTo>
                  <a:pt x="8683625" y="1086621"/>
                </a:lnTo>
                <a:lnTo>
                  <a:pt x="0" y="1086621"/>
                </a:lnTo>
                <a:lnTo>
                  <a:pt x="0" y="1035051"/>
                </a:lnTo>
                <a:lnTo>
                  <a:pt x="84138" y="1035051"/>
                </a:lnTo>
                <a:lnTo>
                  <a:pt x="84138" y="963613"/>
                </a:lnTo>
                <a:lnTo>
                  <a:pt x="131763" y="963613"/>
                </a:lnTo>
                <a:lnTo>
                  <a:pt x="131763" y="927101"/>
                </a:lnTo>
                <a:lnTo>
                  <a:pt x="176213" y="927101"/>
                </a:lnTo>
                <a:lnTo>
                  <a:pt x="176213" y="960438"/>
                </a:lnTo>
                <a:lnTo>
                  <a:pt x="258763" y="963613"/>
                </a:lnTo>
                <a:lnTo>
                  <a:pt x="258763" y="992188"/>
                </a:lnTo>
                <a:lnTo>
                  <a:pt x="303213" y="992188"/>
                </a:lnTo>
                <a:lnTo>
                  <a:pt x="300038" y="1052513"/>
                </a:lnTo>
                <a:lnTo>
                  <a:pt x="355600" y="1052513"/>
                </a:lnTo>
                <a:lnTo>
                  <a:pt x="358775" y="984251"/>
                </a:lnTo>
                <a:lnTo>
                  <a:pt x="420688" y="984251"/>
                </a:lnTo>
                <a:lnTo>
                  <a:pt x="420688" y="823913"/>
                </a:lnTo>
                <a:lnTo>
                  <a:pt x="468313" y="823913"/>
                </a:lnTo>
                <a:lnTo>
                  <a:pt x="468313" y="796926"/>
                </a:lnTo>
                <a:lnTo>
                  <a:pt x="519113" y="796926"/>
                </a:lnTo>
                <a:lnTo>
                  <a:pt x="519113" y="828676"/>
                </a:lnTo>
                <a:lnTo>
                  <a:pt x="536575" y="828676"/>
                </a:lnTo>
                <a:lnTo>
                  <a:pt x="536575" y="765176"/>
                </a:lnTo>
                <a:lnTo>
                  <a:pt x="600075" y="765176"/>
                </a:lnTo>
                <a:lnTo>
                  <a:pt x="600075" y="800101"/>
                </a:lnTo>
                <a:lnTo>
                  <a:pt x="631825" y="800101"/>
                </a:lnTo>
                <a:lnTo>
                  <a:pt x="631825" y="992188"/>
                </a:lnTo>
                <a:lnTo>
                  <a:pt x="668338" y="992188"/>
                </a:lnTo>
                <a:lnTo>
                  <a:pt x="668338" y="1031876"/>
                </a:lnTo>
                <a:lnTo>
                  <a:pt x="711200" y="1031876"/>
                </a:lnTo>
                <a:lnTo>
                  <a:pt x="712788" y="747713"/>
                </a:lnTo>
                <a:lnTo>
                  <a:pt x="763588" y="747713"/>
                </a:lnTo>
                <a:lnTo>
                  <a:pt x="763588" y="715963"/>
                </a:lnTo>
                <a:lnTo>
                  <a:pt x="879475" y="715963"/>
                </a:lnTo>
                <a:lnTo>
                  <a:pt x="879475" y="747713"/>
                </a:lnTo>
                <a:lnTo>
                  <a:pt x="936625" y="749301"/>
                </a:lnTo>
                <a:lnTo>
                  <a:pt x="936625" y="1023938"/>
                </a:lnTo>
                <a:lnTo>
                  <a:pt x="1174750" y="1027113"/>
                </a:lnTo>
                <a:lnTo>
                  <a:pt x="1176338" y="628650"/>
                </a:lnTo>
                <a:lnTo>
                  <a:pt x="1203325" y="628650"/>
                </a:lnTo>
                <a:lnTo>
                  <a:pt x="1203325" y="592138"/>
                </a:lnTo>
                <a:lnTo>
                  <a:pt x="1268413" y="592138"/>
                </a:lnTo>
                <a:lnTo>
                  <a:pt x="1268413" y="623888"/>
                </a:lnTo>
                <a:lnTo>
                  <a:pt x="1312863" y="623888"/>
                </a:lnTo>
                <a:lnTo>
                  <a:pt x="1311275" y="1019176"/>
                </a:lnTo>
                <a:lnTo>
                  <a:pt x="1352550" y="1019176"/>
                </a:lnTo>
                <a:lnTo>
                  <a:pt x="1352550" y="665163"/>
                </a:lnTo>
                <a:lnTo>
                  <a:pt x="1382713" y="665163"/>
                </a:lnTo>
                <a:lnTo>
                  <a:pt x="1382713" y="625475"/>
                </a:lnTo>
                <a:lnTo>
                  <a:pt x="1463675" y="625475"/>
                </a:lnTo>
                <a:lnTo>
                  <a:pt x="1463675" y="655638"/>
                </a:lnTo>
                <a:lnTo>
                  <a:pt x="1495425" y="655638"/>
                </a:lnTo>
                <a:lnTo>
                  <a:pt x="1495425" y="865188"/>
                </a:lnTo>
                <a:lnTo>
                  <a:pt x="1531938" y="865188"/>
                </a:lnTo>
                <a:lnTo>
                  <a:pt x="1531938" y="823913"/>
                </a:lnTo>
                <a:lnTo>
                  <a:pt x="1568450" y="823913"/>
                </a:lnTo>
                <a:lnTo>
                  <a:pt x="1568450" y="865188"/>
                </a:lnTo>
                <a:lnTo>
                  <a:pt x="1603375" y="865188"/>
                </a:lnTo>
                <a:lnTo>
                  <a:pt x="1603375" y="796926"/>
                </a:lnTo>
                <a:lnTo>
                  <a:pt x="1790700" y="796926"/>
                </a:lnTo>
                <a:lnTo>
                  <a:pt x="1790700" y="1011238"/>
                </a:lnTo>
                <a:lnTo>
                  <a:pt x="1847850" y="1011238"/>
                </a:lnTo>
                <a:lnTo>
                  <a:pt x="1851025" y="868363"/>
                </a:lnTo>
                <a:lnTo>
                  <a:pt x="2032000" y="868363"/>
                </a:lnTo>
                <a:lnTo>
                  <a:pt x="2032000" y="996951"/>
                </a:lnTo>
                <a:lnTo>
                  <a:pt x="2127250" y="996951"/>
                </a:lnTo>
                <a:lnTo>
                  <a:pt x="2127250" y="763588"/>
                </a:lnTo>
                <a:lnTo>
                  <a:pt x="2159000" y="763588"/>
                </a:lnTo>
                <a:lnTo>
                  <a:pt x="2159000" y="723901"/>
                </a:lnTo>
                <a:lnTo>
                  <a:pt x="2227263" y="723901"/>
                </a:lnTo>
                <a:lnTo>
                  <a:pt x="2227263" y="760413"/>
                </a:lnTo>
                <a:lnTo>
                  <a:pt x="2300288" y="760413"/>
                </a:lnTo>
                <a:lnTo>
                  <a:pt x="2300288" y="800101"/>
                </a:lnTo>
                <a:lnTo>
                  <a:pt x="2363788" y="800101"/>
                </a:lnTo>
                <a:lnTo>
                  <a:pt x="2363788" y="1008063"/>
                </a:lnTo>
                <a:lnTo>
                  <a:pt x="2406650" y="1008063"/>
                </a:lnTo>
                <a:lnTo>
                  <a:pt x="2406650" y="857251"/>
                </a:lnTo>
                <a:lnTo>
                  <a:pt x="2432050" y="857251"/>
                </a:lnTo>
                <a:lnTo>
                  <a:pt x="2432050" y="820738"/>
                </a:lnTo>
                <a:lnTo>
                  <a:pt x="2506663" y="820738"/>
                </a:lnTo>
                <a:lnTo>
                  <a:pt x="2503488" y="857251"/>
                </a:lnTo>
                <a:lnTo>
                  <a:pt x="2551113" y="857251"/>
                </a:lnTo>
                <a:lnTo>
                  <a:pt x="2551113" y="976313"/>
                </a:lnTo>
                <a:lnTo>
                  <a:pt x="2716213" y="976313"/>
                </a:lnTo>
                <a:lnTo>
                  <a:pt x="2716213" y="531813"/>
                </a:lnTo>
                <a:lnTo>
                  <a:pt x="2738438" y="531813"/>
                </a:lnTo>
                <a:lnTo>
                  <a:pt x="2738438" y="423863"/>
                </a:lnTo>
                <a:lnTo>
                  <a:pt x="2768600" y="423863"/>
                </a:lnTo>
                <a:lnTo>
                  <a:pt x="2768600" y="355600"/>
                </a:lnTo>
                <a:lnTo>
                  <a:pt x="2952750" y="357188"/>
                </a:lnTo>
                <a:lnTo>
                  <a:pt x="2952750" y="420688"/>
                </a:lnTo>
                <a:lnTo>
                  <a:pt x="3008313" y="420688"/>
                </a:lnTo>
                <a:lnTo>
                  <a:pt x="3006725" y="1004888"/>
                </a:lnTo>
                <a:lnTo>
                  <a:pt x="3063875" y="1004888"/>
                </a:lnTo>
                <a:lnTo>
                  <a:pt x="3063875" y="736601"/>
                </a:lnTo>
                <a:lnTo>
                  <a:pt x="3092450" y="736601"/>
                </a:lnTo>
                <a:lnTo>
                  <a:pt x="3092450" y="660401"/>
                </a:lnTo>
                <a:lnTo>
                  <a:pt x="3132138" y="660401"/>
                </a:lnTo>
                <a:lnTo>
                  <a:pt x="3132138" y="696913"/>
                </a:lnTo>
                <a:lnTo>
                  <a:pt x="3179763" y="696913"/>
                </a:lnTo>
                <a:lnTo>
                  <a:pt x="3179763" y="723901"/>
                </a:lnTo>
                <a:lnTo>
                  <a:pt x="3222625" y="723901"/>
                </a:lnTo>
                <a:lnTo>
                  <a:pt x="3219450" y="1008063"/>
                </a:lnTo>
                <a:lnTo>
                  <a:pt x="3254375" y="1008063"/>
                </a:lnTo>
                <a:lnTo>
                  <a:pt x="3254375" y="950913"/>
                </a:lnTo>
                <a:lnTo>
                  <a:pt x="3300413" y="950913"/>
                </a:lnTo>
                <a:lnTo>
                  <a:pt x="3303588" y="652463"/>
                </a:lnTo>
                <a:lnTo>
                  <a:pt x="3322638" y="652463"/>
                </a:lnTo>
                <a:lnTo>
                  <a:pt x="3340100" y="628650"/>
                </a:lnTo>
                <a:lnTo>
                  <a:pt x="3408363" y="628650"/>
                </a:lnTo>
                <a:lnTo>
                  <a:pt x="3408363" y="657226"/>
                </a:lnTo>
                <a:lnTo>
                  <a:pt x="3440113" y="657226"/>
                </a:lnTo>
                <a:lnTo>
                  <a:pt x="3440113" y="989013"/>
                </a:lnTo>
                <a:lnTo>
                  <a:pt x="3600450" y="992188"/>
                </a:lnTo>
                <a:lnTo>
                  <a:pt x="3603625" y="508000"/>
                </a:lnTo>
                <a:lnTo>
                  <a:pt x="3684588" y="508000"/>
                </a:lnTo>
                <a:lnTo>
                  <a:pt x="3684588" y="547688"/>
                </a:lnTo>
                <a:lnTo>
                  <a:pt x="3706813" y="547688"/>
                </a:lnTo>
                <a:lnTo>
                  <a:pt x="3706813" y="520700"/>
                </a:lnTo>
                <a:lnTo>
                  <a:pt x="3827463" y="520700"/>
                </a:lnTo>
                <a:lnTo>
                  <a:pt x="3827463" y="557213"/>
                </a:lnTo>
                <a:lnTo>
                  <a:pt x="3863975" y="557213"/>
                </a:lnTo>
                <a:lnTo>
                  <a:pt x="3863975" y="989013"/>
                </a:lnTo>
                <a:lnTo>
                  <a:pt x="3911600" y="989013"/>
                </a:lnTo>
                <a:lnTo>
                  <a:pt x="3911600" y="852488"/>
                </a:lnTo>
                <a:lnTo>
                  <a:pt x="3948113" y="855663"/>
                </a:lnTo>
                <a:lnTo>
                  <a:pt x="3948113" y="815976"/>
                </a:lnTo>
                <a:lnTo>
                  <a:pt x="3998913" y="815976"/>
                </a:lnTo>
                <a:lnTo>
                  <a:pt x="3998913" y="855663"/>
                </a:lnTo>
                <a:lnTo>
                  <a:pt x="4051300" y="855663"/>
                </a:lnTo>
                <a:lnTo>
                  <a:pt x="4048125" y="987426"/>
                </a:lnTo>
                <a:lnTo>
                  <a:pt x="4124325" y="987426"/>
                </a:lnTo>
                <a:lnTo>
                  <a:pt x="4124325" y="660401"/>
                </a:lnTo>
                <a:lnTo>
                  <a:pt x="4151313" y="660401"/>
                </a:lnTo>
                <a:lnTo>
                  <a:pt x="4151313" y="547688"/>
                </a:lnTo>
                <a:lnTo>
                  <a:pt x="4319588" y="547688"/>
                </a:lnTo>
                <a:lnTo>
                  <a:pt x="4319588" y="596900"/>
                </a:lnTo>
                <a:lnTo>
                  <a:pt x="4364038" y="596900"/>
                </a:lnTo>
                <a:lnTo>
                  <a:pt x="4362450" y="808038"/>
                </a:lnTo>
                <a:lnTo>
                  <a:pt x="4478338" y="808038"/>
                </a:lnTo>
                <a:lnTo>
                  <a:pt x="4479925" y="46038"/>
                </a:lnTo>
                <a:lnTo>
                  <a:pt x="4495800" y="46038"/>
                </a:lnTo>
                <a:close/>
              </a:path>
            </a:pathLst>
          </a:custGeom>
          <a:solidFill>
            <a:schemeClr val="bg1">
              <a:lumMod val="95000"/>
              <a:alpha val="20000"/>
            </a:schemeClr>
          </a:solidFill>
          <a:ln w="0">
            <a:noFill/>
            <a:prstDash val="solid"/>
            <a:round/>
            <a:headEnd/>
            <a:tailEnd/>
          </a:ln>
        </p:spPr>
        <p:txBody>
          <a:bodyPr/>
          <a:lstStyle/>
          <a:p>
            <a:pPr eaLnBrk="1" fontAlgn="auto" hangingPunct="1">
              <a:spcBef>
                <a:spcPts val="0"/>
              </a:spcBef>
              <a:spcAft>
                <a:spcPts val="0"/>
              </a:spcAft>
              <a:defRPr/>
            </a:pPr>
            <a:endParaRPr lang="en-US">
              <a:latin typeface="+mn-lt"/>
            </a:endParaRPr>
          </a:p>
        </p:txBody>
      </p:sp>
      <p:grpSp>
        <p:nvGrpSpPr>
          <p:cNvPr id="23557" name="Group 307">
            <a:extLst>
              <a:ext uri="{FF2B5EF4-FFF2-40B4-BE49-F238E27FC236}">
                <a16:creationId xmlns:a16="http://schemas.microsoft.com/office/drawing/2014/main" id="{7E41D2D7-B7AF-280C-2D39-2585CFE5FC65}"/>
              </a:ext>
            </a:extLst>
          </p:cNvPr>
          <p:cNvGrpSpPr>
            <a:grpSpLocks/>
          </p:cNvGrpSpPr>
          <p:nvPr/>
        </p:nvGrpSpPr>
        <p:grpSpPr bwMode="auto">
          <a:xfrm>
            <a:off x="-3175" y="6743700"/>
            <a:ext cx="12195175" cy="114300"/>
            <a:chOff x="-3175" y="4762500"/>
            <a:chExt cx="12195174" cy="2092323"/>
          </a:xfrm>
        </p:grpSpPr>
        <p:sp>
          <p:nvSpPr>
            <p:cNvPr id="20" name="Rectangle 308">
              <a:extLst>
                <a:ext uri="{FF2B5EF4-FFF2-40B4-BE49-F238E27FC236}">
                  <a16:creationId xmlns:a16="http://schemas.microsoft.com/office/drawing/2014/main" id="{382F3984-13D1-9923-06F7-EFFBCCAA2B8E}"/>
                </a:ext>
              </a:extLst>
            </p:cNvPr>
            <p:cNvSpPr/>
            <p:nvPr/>
          </p:nvSpPr>
          <p:spPr>
            <a:xfrm>
              <a:off x="-3175" y="4762500"/>
              <a:ext cx="2032000" cy="2092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1" name="Rectangle 309">
              <a:extLst>
                <a:ext uri="{FF2B5EF4-FFF2-40B4-BE49-F238E27FC236}">
                  <a16:creationId xmlns:a16="http://schemas.microsoft.com/office/drawing/2014/main" id="{540AAC85-D04C-F777-8A27-BA60D2C4B2C8}"/>
                </a:ext>
              </a:extLst>
            </p:cNvPr>
            <p:cNvSpPr/>
            <p:nvPr/>
          </p:nvSpPr>
          <p:spPr>
            <a:xfrm>
              <a:off x="2027238" y="4762500"/>
              <a:ext cx="2032000" cy="2092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2" name="Rectangle 310">
              <a:extLst>
                <a:ext uri="{FF2B5EF4-FFF2-40B4-BE49-F238E27FC236}">
                  <a16:creationId xmlns:a16="http://schemas.microsoft.com/office/drawing/2014/main" id="{E43BD52E-46E0-2F73-6859-1BC98CC499CD}"/>
                </a:ext>
              </a:extLst>
            </p:cNvPr>
            <p:cNvSpPr/>
            <p:nvPr/>
          </p:nvSpPr>
          <p:spPr>
            <a:xfrm>
              <a:off x="4059238" y="4762500"/>
              <a:ext cx="2032000" cy="2092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3" name="Rectangle 311">
              <a:extLst>
                <a:ext uri="{FF2B5EF4-FFF2-40B4-BE49-F238E27FC236}">
                  <a16:creationId xmlns:a16="http://schemas.microsoft.com/office/drawing/2014/main" id="{03839084-7BF0-CD67-CA22-6B522A39DEA6}"/>
                </a:ext>
              </a:extLst>
            </p:cNvPr>
            <p:cNvSpPr/>
            <p:nvPr/>
          </p:nvSpPr>
          <p:spPr>
            <a:xfrm>
              <a:off x="6089650" y="4762500"/>
              <a:ext cx="2032000" cy="2092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4" name="Rectangle 312">
              <a:extLst>
                <a:ext uri="{FF2B5EF4-FFF2-40B4-BE49-F238E27FC236}">
                  <a16:creationId xmlns:a16="http://schemas.microsoft.com/office/drawing/2014/main" id="{C206540A-3CDB-8F60-B277-945A13524B82}"/>
                </a:ext>
              </a:extLst>
            </p:cNvPr>
            <p:cNvSpPr/>
            <p:nvPr/>
          </p:nvSpPr>
          <p:spPr>
            <a:xfrm>
              <a:off x="8118474" y="4762500"/>
              <a:ext cx="2032000" cy="2092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5" name="Rectangle 313">
              <a:extLst>
                <a:ext uri="{FF2B5EF4-FFF2-40B4-BE49-F238E27FC236}">
                  <a16:creationId xmlns:a16="http://schemas.microsoft.com/office/drawing/2014/main" id="{4EEBA33E-B8CF-5893-C781-49CE38F8B5D5}"/>
                </a:ext>
              </a:extLst>
            </p:cNvPr>
            <p:cNvSpPr/>
            <p:nvPr/>
          </p:nvSpPr>
          <p:spPr>
            <a:xfrm>
              <a:off x="10148887" y="4762500"/>
              <a:ext cx="2043112" cy="20923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23558" name="Grup 10">
            <a:extLst>
              <a:ext uri="{FF2B5EF4-FFF2-40B4-BE49-F238E27FC236}">
                <a16:creationId xmlns:a16="http://schemas.microsoft.com/office/drawing/2014/main" id="{22AD937D-D8E5-DB89-90C9-0DF9976E4731}"/>
              </a:ext>
            </a:extLst>
          </p:cNvPr>
          <p:cNvGrpSpPr>
            <a:grpSpLocks/>
          </p:cNvGrpSpPr>
          <p:nvPr/>
        </p:nvGrpSpPr>
        <p:grpSpPr bwMode="auto">
          <a:xfrm>
            <a:off x="6096000" y="3806825"/>
            <a:ext cx="1511300" cy="2071688"/>
            <a:chOff x="5938909" y="3726290"/>
            <a:chExt cx="1511000" cy="2071131"/>
          </a:xfrm>
        </p:grpSpPr>
        <p:sp>
          <p:nvSpPr>
            <p:cNvPr id="107" name="Freeform 6">
              <a:extLst>
                <a:ext uri="{FF2B5EF4-FFF2-40B4-BE49-F238E27FC236}">
                  <a16:creationId xmlns:a16="http://schemas.microsoft.com/office/drawing/2014/main" id="{61549D2F-6676-F967-767A-42A8B252DF6B}"/>
                </a:ext>
              </a:extLst>
            </p:cNvPr>
            <p:cNvSpPr>
              <a:spLocks/>
            </p:cNvSpPr>
            <p:nvPr/>
          </p:nvSpPr>
          <p:spPr bwMode="auto">
            <a:xfrm>
              <a:off x="6710281" y="4142103"/>
              <a:ext cx="739628" cy="166643"/>
            </a:xfrm>
            <a:custGeom>
              <a:avLst/>
              <a:gdLst>
                <a:gd name="T0" fmla="*/ 232 w 426"/>
                <a:gd name="T1" fmla="*/ 0 h 107"/>
                <a:gd name="T2" fmla="*/ 44 w 426"/>
                <a:gd name="T3" fmla="*/ 15 h 107"/>
                <a:gd name="T4" fmla="*/ 0 w 426"/>
                <a:gd name="T5" fmla="*/ 19 h 107"/>
                <a:gd name="T6" fmla="*/ 158 w 426"/>
                <a:gd name="T7" fmla="*/ 107 h 107"/>
                <a:gd name="T8" fmla="*/ 202 w 426"/>
                <a:gd name="T9" fmla="*/ 99 h 107"/>
                <a:gd name="T10" fmla="*/ 426 w 426"/>
                <a:gd name="T11" fmla="*/ 66 h 107"/>
                <a:gd name="T12" fmla="*/ 232 w 426"/>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426" h="107">
                  <a:moveTo>
                    <a:pt x="232" y="0"/>
                  </a:moveTo>
                  <a:lnTo>
                    <a:pt x="44" y="15"/>
                  </a:lnTo>
                  <a:lnTo>
                    <a:pt x="0" y="19"/>
                  </a:lnTo>
                  <a:lnTo>
                    <a:pt x="158" y="107"/>
                  </a:lnTo>
                  <a:lnTo>
                    <a:pt x="202" y="99"/>
                  </a:lnTo>
                  <a:lnTo>
                    <a:pt x="426" y="66"/>
                  </a:lnTo>
                  <a:lnTo>
                    <a:pt x="232" y="0"/>
                  </a:lnTo>
                  <a:close/>
                </a:path>
              </a:pathLst>
            </a:custGeom>
            <a:solidFill>
              <a:schemeClr val="accent5">
                <a:lumMod val="75000"/>
              </a:schemeClr>
            </a:solidFill>
            <a:ln>
              <a:noFill/>
            </a:ln>
          </p:spPr>
          <p:txBody>
            <a:bodyPr lIns="121920" tIns="60960" rIns="121920" bIns="60960"/>
            <a:lstStyle/>
            <a:p>
              <a:pPr eaLnBrk="1" fontAlgn="auto" hangingPunct="1">
                <a:spcBef>
                  <a:spcPts val="0"/>
                </a:spcBef>
                <a:spcAft>
                  <a:spcPts val="0"/>
                </a:spcAft>
                <a:defRPr/>
              </a:pPr>
              <a:endParaRPr lang="en-US" sz="3200">
                <a:latin typeface="+mn-lt"/>
              </a:endParaRPr>
            </a:p>
          </p:txBody>
        </p:sp>
        <p:sp>
          <p:nvSpPr>
            <p:cNvPr id="108" name="Freeform 7">
              <a:extLst>
                <a:ext uri="{FF2B5EF4-FFF2-40B4-BE49-F238E27FC236}">
                  <a16:creationId xmlns:a16="http://schemas.microsoft.com/office/drawing/2014/main" id="{78AA3AF7-BE12-8C1B-0D10-6EA8A3A36D60}"/>
                </a:ext>
              </a:extLst>
            </p:cNvPr>
            <p:cNvSpPr>
              <a:spLocks/>
            </p:cNvSpPr>
            <p:nvPr/>
          </p:nvSpPr>
          <p:spPr bwMode="auto">
            <a:xfrm>
              <a:off x="5938909" y="5300667"/>
              <a:ext cx="266647" cy="496754"/>
            </a:xfrm>
            <a:custGeom>
              <a:avLst/>
              <a:gdLst>
                <a:gd name="T0" fmla="*/ 155 w 155"/>
                <a:gd name="T1" fmla="*/ 319 h 319"/>
                <a:gd name="T2" fmla="*/ 0 w 155"/>
                <a:gd name="T3" fmla="*/ 224 h 319"/>
                <a:gd name="T4" fmla="*/ 0 w 155"/>
                <a:gd name="T5" fmla="*/ 0 h 319"/>
                <a:gd name="T6" fmla="*/ 155 w 155"/>
                <a:gd name="T7" fmla="*/ 91 h 319"/>
                <a:gd name="T8" fmla="*/ 155 w 155"/>
                <a:gd name="T9" fmla="*/ 319 h 319"/>
              </a:gdLst>
              <a:ahLst/>
              <a:cxnLst>
                <a:cxn ang="0">
                  <a:pos x="T0" y="T1"/>
                </a:cxn>
                <a:cxn ang="0">
                  <a:pos x="T2" y="T3"/>
                </a:cxn>
                <a:cxn ang="0">
                  <a:pos x="T4" y="T5"/>
                </a:cxn>
                <a:cxn ang="0">
                  <a:pos x="T6" y="T7"/>
                </a:cxn>
                <a:cxn ang="0">
                  <a:pos x="T8" y="T9"/>
                </a:cxn>
              </a:cxnLst>
              <a:rect l="0" t="0" r="r" b="b"/>
              <a:pathLst>
                <a:path w="155" h="319">
                  <a:moveTo>
                    <a:pt x="155" y="319"/>
                  </a:moveTo>
                  <a:lnTo>
                    <a:pt x="0" y="224"/>
                  </a:lnTo>
                  <a:lnTo>
                    <a:pt x="0" y="0"/>
                  </a:lnTo>
                  <a:lnTo>
                    <a:pt x="155" y="91"/>
                  </a:lnTo>
                  <a:lnTo>
                    <a:pt x="155" y="319"/>
                  </a:lnTo>
                  <a:close/>
                </a:path>
              </a:pathLst>
            </a:custGeom>
            <a:solidFill>
              <a:schemeClr val="accent5">
                <a:lumMod val="75000"/>
              </a:schemeClr>
            </a:solidFill>
            <a:ln>
              <a:noFill/>
            </a:ln>
          </p:spPr>
          <p:txBody>
            <a:bodyPr lIns="121920" tIns="60960" rIns="121920" bIns="60960"/>
            <a:lstStyle/>
            <a:p>
              <a:pPr eaLnBrk="1" fontAlgn="auto" hangingPunct="1">
                <a:spcBef>
                  <a:spcPts val="0"/>
                </a:spcBef>
                <a:spcAft>
                  <a:spcPts val="0"/>
                </a:spcAft>
                <a:defRPr/>
              </a:pPr>
              <a:endParaRPr lang="en-US" sz="3200">
                <a:latin typeface="+mn-lt"/>
              </a:endParaRPr>
            </a:p>
          </p:txBody>
        </p:sp>
        <p:sp>
          <p:nvSpPr>
            <p:cNvPr id="109" name="Freeform 8">
              <a:extLst>
                <a:ext uri="{FF2B5EF4-FFF2-40B4-BE49-F238E27FC236}">
                  <a16:creationId xmlns:a16="http://schemas.microsoft.com/office/drawing/2014/main" id="{974CC909-BD94-EE11-9CEB-4506F1E7461C}"/>
                </a:ext>
              </a:extLst>
            </p:cNvPr>
            <p:cNvSpPr>
              <a:spLocks/>
            </p:cNvSpPr>
            <p:nvPr/>
          </p:nvSpPr>
          <p:spPr bwMode="auto">
            <a:xfrm>
              <a:off x="5938909" y="4749953"/>
              <a:ext cx="739628" cy="755447"/>
            </a:xfrm>
            <a:custGeom>
              <a:avLst/>
              <a:gdLst>
                <a:gd name="T0" fmla="*/ 115 w 116"/>
                <a:gd name="T1" fmla="*/ 70 h 132"/>
                <a:gd name="T2" fmla="*/ 98 w 116"/>
                <a:gd name="T3" fmla="*/ 26 h 132"/>
                <a:gd name="T4" fmla="*/ 75 w 116"/>
                <a:gd name="T5" fmla="*/ 13 h 132"/>
                <a:gd name="T6" fmla="*/ 51 w 116"/>
                <a:gd name="T7" fmla="*/ 0 h 132"/>
                <a:gd name="T8" fmla="*/ 63 w 116"/>
                <a:gd name="T9" fmla="*/ 71 h 132"/>
                <a:gd name="T10" fmla="*/ 0 w 116"/>
                <a:gd name="T11" fmla="*/ 96 h 132"/>
                <a:gd name="T12" fmla="*/ 42 w 116"/>
                <a:gd name="T13" fmla="*/ 121 h 132"/>
                <a:gd name="T14" fmla="*/ 106 w 116"/>
                <a:gd name="T15" fmla="*/ 95 h 132"/>
                <a:gd name="T16" fmla="*/ 106 w 116"/>
                <a:gd name="T17" fmla="*/ 95 h 132"/>
                <a:gd name="T18" fmla="*/ 115 w 116"/>
                <a:gd name="T19" fmla="*/ 70 h 132"/>
                <a:gd name="T20" fmla="*/ 115 w 116"/>
                <a:gd name="T21" fmla="*/ 7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32">
                  <a:moveTo>
                    <a:pt x="115" y="70"/>
                  </a:moveTo>
                  <a:cubicBezTo>
                    <a:pt x="116" y="53"/>
                    <a:pt x="111" y="36"/>
                    <a:pt x="98" y="26"/>
                  </a:cubicBezTo>
                  <a:cubicBezTo>
                    <a:pt x="91" y="21"/>
                    <a:pt x="82" y="17"/>
                    <a:pt x="75" y="13"/>
                  </a:cubicBezTo>
                  <a:cubicBezTo>
                    <a:pt x="67" y="9"/>
                    <a:pt x="59" y="4"/>
                    <a:pt x="51" y="0"/>
                  </a:cubicBezTo>
                  <a:cubicBezTo>
                    <a:pt x="77" y="14"/>
                    <a:pt x="77" y="49"/>
                    <a:pt x="63" y="71"/>
                  </a:cubicBezTo>
                  <a:cubicBezTo>
                    <a:pt x="51" y="92"/>
                    <a:pt x="24" y="107"/>
                    <a:pt x="0" y="96"/>
                  </a:cubicBezTo>
                  <a:cubicBezTo>
                    <a:pt x="42" y="121"/>
                    <a:pt x="42" y="121"/>
                    <a:pt x="42" y="121"/>
                  </a:cubicBezTo>
                  <a:cubicBezTo>
                    <a:pt x="67" y="132"/>
                    <a:pt x="94" y="116"/>
                    <a:pt x="106" y="95"/>
                  </a:cubicBezTo>
                  <a:cubicBezTo>
                    <a:pt x="106" y="95"/>
                    <a:pt x="106" y="95"/>
                    <a:pt x="106" y="95"/>
                  </a:cubicBezTo>
                  <a:cubicBezTo>
                    <a:pt x="111" y="87"/>
                    <a:pt x="114" y="78"/>
                    <a:pt x="115" y="70"/>
                  </a:cubicBezTo>
                  <a:cubicBezTo>
                    <a:pt x="115" y="68"/>
                    <a:pt x="115" y="70"/>
                    <a:pt x="115" y="70"/>
                  </a:cubicBezTo>
                  <a:close/>
                </a:path>
              </a:pathLst>
            </a:custGeom>
            <a:solidFill>
              <a:schemeClr val="accent5">
                <a:lumMod val="75000"/>
              </a:schemeClr>
            </a:solidFill>
            <a:ln>
              <a:noFill/>
            </a:ln>
          </p:spPr>
          <p:txBody>
            <a:bodyPr lIns="121920" tIns="60960" rIns="121920" bIns="60960"/>
            <a:lstStyle/>
            <a:p>
              <a:pPr eaLnBrk="1" fontAlgn="auto" hangingPunct="1">
                <a:spcBef>
                  <a:spcPts val="0"/>
                </a:spcBef>
                <a:spcAft>
                  <a:spcPts val="0"/>
                </a:spcAft>
                <a:defRPr/>
              </a:pPr>
              <a:endParaRPr lang="en-US" sz="3200">
                <a:latin typeface="+mn-lt"/>
              </a:endParaRPr>
            </a:p>
          </p:txBody>
        </p:sp>
        <p:sp>
          <p:nvSpPr>
            <p:cNvPr id="111" name="Freeform 10">
              <a:extLst>
                <a:ext uri="{FF2B5EF4-FFF2-40B4-BE49-F238E27FC236}">
                  <a16:creationId xmlns:a16="http://schemas.microsoft.com/office/drawing/2014/main" id="{5E41AA60-F7EA-F7B6-AC71-57005AD7D020}"/>
                </a:ext>
              </a:extLst>
            </p:cNvPr>
            <p:cNvSpPr>
              <a:spLocks/>
            </p:cNvSpPr>
            <p:nvPr/>
          </p:nvSpPr>
          <p:spPr bwMode="auto">
            <a:xfrm>
              <a:off x="6675363" y="3759619"/>
              <a:ext cx="428540" cy="528495"/>
            </a:xfrm>
            <a:custGeom>
              <a:avLst/>
              <a:gdLst>
                <a:gd name="T0" fmla="*/ 66 w 67"/>
                <a:gd name="T1" fmla="*/ 64 h 92"/>
                <a:gd name="T2" fmla="*/ 47 w 67"/>
                <a:gd name="T3" fmla="*/ 24 h 92"/>
                <a:gd name="T4" fmla="*/ 24 w 67"/>
                <a:gd name="T5" fmla="*/ 12 h 92"/>
                <a:gd name="T6" fmla="*/ 0 w 67"/>
                <a:gd name="T7" fmla="*/ 0 h 92"/>
                <a:gd name="T8" fmla="*/ 16 w 67"/>
                <a:gd name="T9" fmla="*/ 69 h 92"/>
                <a:gd name="T10" fmla="*/ 59 w 67"/>
                <a:gd name="T11" fmla="*/ 92 h 92"/>
                <a:gd name="T12" fmla="*/ 66 w 67"/>
                <a:gd name="T13" fmla="*/ 64 h 92"/>
                <a:gd name="T14" fmla="*/ 66 w 67"/>
                <a:gd name="T15" fmla="*/ 64 h 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92">
                  <a:moveTo>
                    <a:pt x="66" y="64"/>
                  </a:moveTo>
                  <a:cubicBezTo>
                    <a:pt x="67" y="49"/>
                    <a:pt x="60" y="33"/>
                    <a:pt x="47" y="24"/>
                  </a:cubicBezTo>
                  <a:cubicBezTo>
                    <a:pt x="40" y="20"/>
                    <a:pt x="32" y="16"/>
                    <a:pt x="24" y="12"/>
                  </a:cubicBezTo>
                  <a:cubicBezTo>
                    <a:pt x="16" y="8"/>
                    <a:pt x="8" y="4"/>
                    <a:pt x="0" y="0"/>
                  </a:cubicBezTo>
                  <a:cubicBezTo>
                    <a:pt x="25" y="13"/>
                    <a:pt x="28" y="46"/>
                    <a:pt x="16" y="69"/>
                  </a:cubicBezTo>
                  <a:cubicBezTo>
                    <a:pt x="59" y="92"/>
                    <a:pt x="59" y="92"/>
                    <a:pt x="59" y="92"/>
                  </a:cubicBezTo>
                  <a:cubicBezTo>
                    <a:pt x="64" y="84"/>
                    <a:pt x="66" y="74"/>
                    <a:pt x="66" y="64"/>
                  </a:cubicBezTo>
                  <a:cubicBezTo>
                    <a:pt x="67" y="59"/>
                    <a:pt x="66" y="66"/>
                    <a:pt x="66" y="64"/>
                  </a:cubicBezTo>
                  <a:close/>
                </a:path>
              </a:pathLst>
            </a:custGeom>
            <a:solidFill>
              <a:schemeClr val="accent5">
                <a:lumMod val="75000"/>
              </a:schemeClr>
            </a:solidFill>
            <a:ln>
              <a:noFill/>
            </a:ln>
          </p:spPr>
          <p:txBody>
            <a:bodyPr lIns="121920" tIns="60960" rIns="121920" bIns="60960"/>
            <a:lstStyle/>
            <a:p>
              <a:pPr eaLnBrk="1" fontAlgn="auto" hangingPunct="1">
                <a:spcBef>
                  <a:spcPts val="0"/>
                </a:spcBef>
                <a:spcAft>
                  <a:spcPts val="0"/>
                </a:spcAft>
                <a:defRPr/>
              </a:pPr>
              <a:endParaRPr lang="en-US" sz="3200">
                <a:latin typeface="+mn-lt"/>
              </a:endParaRPr>
            </a:p>
          </p:txBody>
        </p:sp>
        <p:sp>
          <p:nvSpPr>
            <p:cNvPr id="113" name="Freeform 12">
              <a:extLst>
                <a:ext uri="{FF2B5EF4-FFF2-40B4-BE49-F238E27FC236}">
                  <a16:creationId xmlns:a16="http://schemas.microsoft.com/office/drawing/2014/main" id="{36C1F88D-55EB-353B-FEE0-0F6B9867C64C}"/>
                </a:ext>
              </a:extLst>
            </p:cNvPr>
            <p:cNvSpPr>
              <a:spLocks/>
            </p:cNvSpPr>
            <p:nvPr/>
          </p:nvSpPr>
          <p:spPr bwMode="auto">
            <a:xfrm>
              <a:off x="6305549" y="3726290"/>
              <a:ext cx="676141" cy="639591"/>
            </a:xfrm>
            <a:custGeom>
              <a:avLst/>
              <a:gdLst>
                <a:gd name="T0" fmla="*/ 93 w 106"/>
                <a:gd name="T1" fmla="*/ 34 h 112"/>
                <a:gd name="T2" fmla="*/ 106 w 106"/>
                <a:gd name="T3" fmla="*/ 31 h 112"/>
                <a:gd name="T4" fmla="*/ 63 w 106"/>
                <a:gd name="T5" fmla="*/ 9 h 112"/>
                <a:gd name="T6" fmla="*/ 11 w 106"/>
                <a:gd name="T7" fmla="*/ 26 h 112"/>
                <a:gd name="T8" fmla="*/ 8 w 106"/>
                <a:gd name="T9" fmla="*/ 29 h 112"/>
                <a:gd name="T10" fmla="*/ 8 w 106"/>
                <a:gd name="T11" fmla="*/ 29 h 112"/>
                <a:gd name="T12" fmla="*/ 8 w 106"/>
                <a:gd name="T13" fmla="*/ 29 h 112"/>
                <a:gd name="T14" fmla="*/ 2 w 106"/>
                <a:gd name="T15" fmla="*/ 51 h 112"/>
                <a:gd name="T16" fmla="*/ 2 w 106"/>
                <a:gd name="T17" fmla="*/ 51 h 112"/>
                <a:gd name="T18" fmla="*/ 18 w 106"/>
                <a:gd name="T19" fmla="*/ 88 h 112"/>
                <a:gd name="T20" fmla="*/ 61 w 106"/>
                <a:gd name="T21" fmla="*/ 112 h 112"/>
                <a:gd name="T22" fmla="*/ 93 w 106"/>
                <a:gd name="T23" fmla="*/ 3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6" h="112">
                  <a:moveTo>
                    <a:pt x="93" y="34"/>
                  </a:moveTo>
                  <a:cubicBezTo>
                    <a:pt x="98" y="34"/>
                    <a:pt x="102" y="29"/>
                    <a:pt x="106" y="31"/>
                  </a:cubicBezTo>
                  <a:cubicBezTo>
                    <a:pt x="92" y="24"/>
                    <a:pt x="77" y="16"/>
                    <a:pt x="63" y="9"/>
                  </a:cubicBezTo>
                  <a:cubicBezTo>
                    <a:pt x="43" y="0"/>
                    <a:pt x="23" y="9"/>
                    <a:pt x="11" y="26"/>
                  </a:cubicBezTo>
                  <a:cubicBezTo>
                    <a:pt x="10" y="27"/>
                    <a:pt x="9" y="28"/>
                    <a:pt x="8" y="29"/>
                  </a:cubicBezTo>
                  <a:cubicBezTo>
                    <a:pt x="8" y="29"/>
                    <a:pt x="8" y="29"/>
                    <a:pt x="8" y="29"/>
                  </a:cubicBezTo>
                  <a:cubicBezTo>
                    <a:pt x="8" y="29"/>
                    <a:pt x="8" y="29"/>
                    <a:pt x="8" y="29"/>
                  </a:cubicBezTo>
                  <a:cubicBezTo>
                    <a:pt x="5" y="36"/>
                    <a:pt x="2" y="43"/>
                    <a:pt x="2" y="51"/>
                  </a:cubicBezTo>
                  <a:cubicBezTo>
                    <a:pt x="2" y="51"/>
                    <a:pt x="2" y="51"/>
                    <a:pt x="2" y="51"/>
                  </a:cubicBezTo>
                  <a:cubicBezTo>
                    <a:pt x="0" y="65"/>
                    <a:pt x="6" y="80"/>
                    <a:pt x="18" y="88"/>
                  </a:cubicBezTo>
                  <a:cubicBezTo>
                    <a:pt x="61" y="112"/>
                    <a:pt x="61" y="112"/>
                    <a:pt x="61" y="112"/>
                  </a:cubicBezTo>
                  <a:cubicBezTo>
                    <a:pt x="35" y="87"/>
                    <a:pt x="53" y="33"/>
                    <a:pt x="93" y="34"/>
                  </a:cubicBezTo>
                  <a:close/>
                </a:path>
              </a:pathLst>
            </a:custGeom>
            <a:solidFill>
              <a:schemeClr val="accent5">
                <a:lumMod val="75000"/>
              </a:schemeClr>
            </a:solidFill>
            <a:ln>
              <a:noFill/>
            </a:ln>
          </p:spPr>
          <p:txBody>
            <a:bodyPr lIns="121920" tIns="60960" rIns="121920" bIns="60960"/>
            <a:lstStyle/>
            <a:p>
              <a:pPr eaLnBrk="1" fontAlgn="auto" hangingPunct="1">
                <a:spcBef>
                  <a:spcPts val="0"/>
                </a:spcBef>
                <a:spcAft>
                  <a:spcPts val="0"/>
                </a:spcAft>
                <a:defRPr/>
              </a:pPr>
              <a:endParaRPr lang="en-US" sz="3200">
                <a:latin typeface="+mn-lt"/>
              </a:endParaRPr>
            </a:p>
          </p:txBody>
        </p:sp>
        <p:sp>
          <p:nvSpPr>
            <p:cNvPr id="114" name="Freeform 13">
              <a:extLst>
                <a:ext uri="{FF2B5EF4-FFF2-40B4-BE49-F238E27FC236}">
                  <a16:creationId xmlns:a16="http://schemas.microsoft.com/office/drawing/2014/main" id="{A2599ADD-A737-0D34-C4CB-8F522F8A8E25}"/>
                </a:ext>
              </a:extLst>
            </p:cNvPr>
            <p:cNvSpPr>
              <a:spLocks/>
            </p:cNvSpPr>
            <p:nvPr/>
          </p:nvSpPr>
          <p:spPr bwMode="auto">
            <a:xfrm>
              <a:off x="5938909" y="4273831"/>
              <a:ext cx="274583" cy="639590"/>
            </a:xfrm>
            <a:custGeom>
              <a:avLst/>
              <a:gdLst>
                <a:gd name="T0" fmla="*/ 155 w 158"/>
                <a:gd name="T1" fmla="*/ 411 h 411"/>
                <a:gd name="T2" fmla="*/ 0 w 158"/>
                <a:gd name="T3" fmla="*/ 323 h 411"/>
                <a:gd name="T4" fmla="*/ 4 w 158"/>
                <a:gd name="T5" fmla="*/ 0 h 411"/>
                <a:gd name="T6" fmla="*/ 158 w 158"/>
                <a:gd name="T7" fmla="*/ 84 h 411"/>
                <a:gd name="T8" fmla="*/ 155 w 158"/>
                <a:gd name="T9" fmla="*/ 411 h 411"/>
              </a:gdLst>
              <a:ahLst/>
              <a:cxnLst>
                <a:cxn ang="0">
                  <a:pos x="T0" y="T1"/>
                </a:cxn>
                <a:cxn ang="0">
                  <a:pos x="T2" y="T3"/>
                </a:cxn>
                <a:cxn ang="0">
                  <a:pos x="T4" y="T5"/>
                </a:cxn>
                <a:cxn ang="0">
                  <a:pos x="T6" y="T7"/>
                </a:cxn>
                <a:cxn ang="0">
                  <a:pos x="T8" y="T9"/>
                </a:cxn>
              </a:cxnLst>
              <a:rect l="0" t="0" r="r" b="b"/>
              <a:pathLst>
                <a:path w="158" h="411">
                  <a:moveTo>
                    <a:pt x="155" y="411"/>
                  </a:moveTo>
                  <a:lnTo>
                    <a:pt x="0" y="323"/>
                  </a:lnTo>
                  <a:lnTo>
                    <a:pt x="4" y="0"/>
                  </a:lnTo>
                  <a:lnTo>
                    <a:pt x="158" y="84"/>
                  </a:lnTo>
                  <a:lnTo>
                    <a:pt x="155" y="411"/>
                  </a:lnTo>
                  <a:close/>
                </a:path>
              </a:pathLst>
            </a:custGeom>
            <a:solidFill>
              <a:schemeClr val="accent5">
                <a:lumMod val="75000"/>
              </a:schemeClr>
            </a:solidFill>
            <a:ln>
              <a:noFill/>
            </a:ln>
          </p:spPr>
          <p:txBody>
            <a:bodyPr lIns="121920" tIns="60960" rIns="121920" bIns="60960"/>
            <a:lstStyle/>
            <a:p>
              <a:pPr eaLnBrk="1" fontAlgn="auto" hangingPunct="1">
                <a:spcBef>
                  <a:spcPts val="0"/>
                </a:spcBef>
                <a:spcAft>
                  <a:spcPts val="0"/>
                </a:spcAft>
                <a:defRPr/>
              </a:pPr>
              <a:endParaRPr lang="en-US" sz="3200">
                <a:latin typeface="+mn-lt"/>
              </a:endParaRPr>
            </a:p>
          </p:txBody>
        </p:sp>
        <p:sp>
          <p:nvSpPr>
            <p:cNvPr id="115" name="Freeform 14">
              <a:extLst>
                <a:ext uri="{FF2B5EF4-FFF2-40B4-BE49-F238E27FC236}">
                  <a16:creationId xmlns:a16="http://schemas.microsoft.com/office/drawing/2014/main" id="{5122B546-E56C-94D2-AC02-5E00A0B5D93C}"/>
                </a:ext>
              </a:extLst>
            </p:cNvPr>
            <p:cNvSpPr>
              <a:spLocks/>
            </p:cNvSpPr>
            <p:nvPr/>
          </p:nvSpPr>
          <p:spPr bwMode="auto">
            <a:xfrm>
              <a:off x="5945258" y="4210348"/>
              <a:ext cx="739628" cy="196797"/>
            </a:xfrm>
            <a:custGeom>
              <a:avLst/>
              <a:gdLst>
                <a:gd name="T0" fmla="*/ 268 w 426"/>
                <a:gd name="T1" fmla="*/ 0 h 125"/>
                <a:gd name="T2" fmla="*/ 224 w 426"/>
                <a:gd name="T3" fmla="*/ 8 h 125"/>
                <a:gd name="T4" fmla="*/ 0 w 426"/>
                <a:gd name="T5" fmla="*/ 41 h 125"/>
                <a:gd name="T6" fmla="*/ 154 w 426"/>
                <a:gd name="T7" fmla="*/ 125 h 125"/>
                <a:gd name="T8" fmla="*/ 382 w 426"/>
                <a:gd name="T9" fmla="*/ 92 h 125"/>
                <a:gd name="T10" fmla="*/ 426 w 426"/>
                <a:gd name="T11" fmla="*/ 88 h 125"/>
                <a:gd name="T12" fmla="*/ 268 w 426"/>
                <a:gd name="T13" fmla="*/ 0 h 125"/>
              </a:gdLst>
              <a:ahLst/>
              <a:cxnLst>
                <a:cxn ang="0">
                  <a:pos x="T0" y="T1"/>
                </a:cxn>
                <a:cxn ang="0">
                  <a:pos x="T2" y="T3"/>
                </a:cxn>
                <a:cxn ang="0">
                  <a:pos x="T4" y="T5"/>
                </a:cxn>
                <a:cxn ang="0">
                  <a:pos x="T6" y="T7"/>
                </a:cxn>
                <a:cxn ang="0">
                  <a:pos x="T8" y="T9"/>
                </a:cxn>
                <a:cxn ang="0">
                  <a:pos x="T10" y="T11"/>
                </a:cxn>
                <a:cxn ang="0">
                  <a:pos x="T12" y="T13"/>
                </a:cxn>
              </a:cxnLst>
              <a:rect l="0" t="0" r="r" b="b"/>
              <a:pathLst>
                <a:path w="426" h="125">
                  <a:moveTo>
                    <a:pt x="268" y="0"/>
                  </a:moveTo>
                  <a:lnTo>
                    <a:pt x="224" y="8"/>
                  </a:lnTo>
                  <a:lnTo>
                    <a:pt x="0" y="41"/>
                  </a:lnTo>
                  <a:lnTo>
                    <a:pt x="154" y="125"/>
                  </a:lnTo>
                  <a:lnTo>
                    <a:pt x="382" y="92"/>
                  </a:lnTo>
                  <a:lnTo>
                    <a:pt x="426" y="88"/>
                  </a:lnTo>
                  <a:lnTo>
                    <a:pt x="268" y="0"/>
                  </a:lnTo>
                  <a:close/>
                </a:path>
              </a:pathLst>
            </a:custGeom>
            <a:solidFill>
              <a:schemeClr val="accent5">
                <a:lumMod val="75000"/>
              </a:schemeClr>
            </a:solidFill>
            <a:ln>
              <a:noFill/>
            </a:ln>
          </p:spPr>
          <p:txBody>
            <a:bodyPr lIns="121920" tIns="60960" rIns="121920" bIns="60960"/>
            <a:lstStyle/>
            <a:p>
              <a:pPr eaLnBrk="1" fontAlgn="auto" hangingPunct="1">
                <a:spcBef>
                  <a:spcPts val="0"/>
                </a:spcBef>
                <a:spcAft>
                  <a:spcPts val="0"/>
                </a:spcAft>
                <a:defRPr/>
              </a:pPr>
              <a:endParaRPr lang="en-US" sz="3200">
                <a:latin typeface="+mn-lt"/>
              </a:endParaRPr>
            </a:p>
          </p:txBody>
        </p:sp>
        <p:sp>
          <p:nvSpPr>
            <p:cNvPr id="129" name="Freeform 28">
              <a:extLst>
                <a:ext uri="{FF2B5EF4-FFF2-40B4-BE49-F238E27FC236}">
                  <a16:creationId xmlns:a16="http://schemas.microsoft.com/office/drawing/2014/main" id="{6895E5B7-A67C-485F-8F83-18CC319F0BFA}"/>
                </a:ext>
              </a:extLst>
            </p:cNvPr>
            <p:cNvSpPr>
              <a:spLocks/>
            </p:cNvSpPr>
            <p:nvPr/>
          </p:nvSpPr>
          <p:spPr bwMode="auto">
            <a:xfrm>
              <a:off x="6196033" y="3850082"/>
              <a:ext cx="1241179" cy="1936229"/>
            </a:xfrm>
            <a:custGeom>
              <a:avLst/>
              <a:gdLst>
                <a:gd name="T0" fmla="*/ 99 w 195"/>
                <a:gd name="T1" fmla="*/ 1 h 338"/>
                <a:gd name="T2" fmla="*/ 115 w 195"/>
                <a:gd name="T3" fmla="*/ 2 h 338"/>
                <a:gd name="T4" fmla="*/ 128 w 195"/>
                <a:gd name="T5" fmla="*/ 10 h 338"/>
                <a:gd name="T6" fmla="*/ 136 w 195"/>
                <a:gd name="T7" fmla="*/ 23 h 338"/>
                <a:gd name="T8" fmla="*/ 139 w 195"/>
                <a:gd name="T9" fmla="*/ 39 h 338"/>
                <a:gd name="T10" fmla="*/ 139 w 195"/>
                <a:gd name="T11" fmla="*/ 47 h 338"/>
                <a:gd name="T12" fmla="*/ 137 w 195"/>
                <a:gd name="T13" fmla="*/ 54 h 338"/>
                <a:gd name="T14" fmla="*/ 134 w 195"/>
                <a:gd name="T15" fmla="*/ 61 h 338"/>
                <a:gd name="T16" fmla="*/ 122 w 195"/>
                <a:gd name="T17" fmla="*/ 78 h 338"/>
                <a:gd name="T18" fmla="*/ 195 w 195"/>
                <a:gd name="T19" fmla="*/ 67 h 338"/>
                <a:gd name="T20" fmla="*/ 193 w 195"/>
                <a:gd name="T21" fmla="*/ 307 h 338"/>
                <a:gd name="T22" fmla="*/ 0 w 195"/>
                <a:gd name="T23" fmla="*/ 338 h 338"/>
                <a:gd name="T24" fmla="*/ 0 w 195"/>
                <a:gd name="T25" fmla="*/ 276 h 338"/>
                <a:gd name="T26" fmla="*/ 6 w 195"/>
                <a:gd name="T27" fmla="*/ 278 h 338"/>
                <a:gd name="T28" fmla="*/ 11 w 195"/>
                <a:gd name="T29" fmla="*/ 280 h 338"/>
                <a:gd name="T30" fmla="*/ 18 w 195"/>
                <a:gd name="T31" fmla="*/ 280 h 338"/>
                <a:gd name="T32" fmla="*/ 24 w 195"/>
                <a:gd name="T33" fmla="*/ 279 h 338"/>
                <a:gd name="T34" fmla="*/ 43 w 195"/>
                <a:gd name="T35" fmla="*/ 272 h 338"/>
                <a:gd name="T36" fmla="*/ 58 w 195"/>
                <a:gd name="T37" fmla="*/ 259 h 338"/>
                <a:gd name="T38" fmla="*/ 69 w 195"/>
                <a:gd name="T39" fmla="*/ 240 h 338"/>
                <a:gd name="T40" fmla="*/ 73 w 195"/>
                <a:gd name="T41" fmla="*/ 219 h 338"/>
                <a:gd name="T42" fmla="*/ 69 w 195"/>
                <a:gd name="T43" fmla="*/ 199 h 338"/>
                <a:gd name="T44" fmla="*/ 59 w 195"/>
                <a:gd name="T45" fmla="*/ 184 h 338"/>
                <a:gd name="T46" fmla="*/ 43 w 195"/>
                <a:gd name="T47" fmla="*/ 175 h 338"/>
                <a:gd name="T48" fmla="*/ 24 w 195"/>
                <a:gd name="T49" fmla="*/ 174 h 338"/>
                <a:gd name="T50" fmla="*/ 0 w 195"/>
                <a:gd name="T51" fmla="*/ 184 h 338"/>
                <a:gd name="T52" fmla="*/ 1 w 195"/>
                <a:gd name="T53" fmla="*/ 95 h 338"/>
                <a:gd name="T54" fmla="*/ 75 w 195"/>
                <a:gd name="T55" fmla="*/ 85 h 338"/>
                <a:gd name="T56" fmla="*/ 66 w 195"/>
                <a:gd name="T57" fmla="*/ 77 h 338"/>
                <a:gd name="T58" fmla="*/ 63 w 195"/>
                <a:gd name="T59" fmla="*/ 71 h 338"/>
                <a:gd name="T60" fmla="*/ 60 w 195"/>
                <a:gd name="T61" fmla="*/ 65 h 338"/>
                <a:gd name="T62" fmla="*/ 58 w 195"/>
                <a:gd name="T63" fmla="*/ 59 h 338"/>
                <a:gd name="T64" fmla="*/ 58 w 195"/>
                <a:gd name="T65" fmla="*/ 51 h 338"/>
                <a:gd name="T66" fmla="*/ 61 w 195"/>
                <a:gd name="T67" fmla="*/ 33 h 338"/>
                <a:gd name="T68" fmla="*/ 70 w 195"/>
                <a:gd name="T69" fmla="*/ 18 h 338"/>
                <a:gd name="T70" fmla="*/ 83 w 195"/>
                <a:gd name="T71" fmla="*/ 7 h 338"/>
                <a:gd name="T72" fmla="*/ 99 w 195"/>
                <a:gd name="T73" fmla="*/ 1 h 338"/>
                <a:gd name="T74" fmla="*/ 99 w 195"/>
                <a:gd name="T75" fmla="*/ 1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5" h="338">
                  <a:moveTo>
                    <a:pt x="99" y="1"/>
                  </a:moveTo>
                  <a:cubicBezTo>
                    <a:pt x="105" y="0"/>
                    <a:pt x="110" y="1"/>
                    <a:pt x="115" y="2"/>
                  </a:cubicBezTo>
                  <a:cubicBezTo>
                    <a:pt x="120" y="4"/>
                    <a:pt x="124" y="6"/>
                    <a:pt x="128" y="10"/>
                  </a:cubicBezTo>
                  <a:cubicBezTo>
                    <a:pt x="131" y="13"/>
                    <a:pt x="134" y="18"/>
                    <a:pt x="136" y="23"/>
                  </a:cubicBezTo>
                  <a:cubicBezTo>
                    <a:pt x="138" y="28"/>
                    <a:pt x="139" y="33"/>
                    <a:pt x="139" y="39"/>
                  </a:cubicBezTo>
                  <a:cubicBezTo>
                    <a:pt x="139" y="42"/>
                    <a:pt x="139" y="44"/>
                    <a:pt x="139" y="47"/>
                  </a:cubicBezTo>
                  <a:cubicBezTo>
                    <a:pt x="138" y="49"/>
                    <a:pt x="138" y="52"/>
                    <a:pt x="137" y="54"/>
                  </a:cubicBezTo>
                  <a:cubicBezTo>
                    <a:pt x="136" y="57"/>
                    <a:pt x="135" y="59"/>
                    <a:pt x="134" y="61"/>
                  </a:cubicBezTo>
                  <a:cubicBezTo>
                    <a:pt x="131" y="67"/>
                    <a:pt x="127" y="73"/>
                    <a:pt x="122" y="78"/>
                  </a:cubicBezTo>
                  <a:cubicBezTo>
                    <a:pt x="147" y="74"/>
                    <a:pt x="171" y="71"/>
                    <a:pt x="195" y="67"/>
                  </a:cubicBezTo>
                  <a:cubicBezTo>
                    <a:pt x="193" y="307"/>
                    <a:pt x="193" y="307"/>
                    <a:pt x="193" y="307"/>
                  </a:cubicBezTo>
                  <a:cubicBezTo>
                    <a:pt x="0" y="338"/>
                    <a:pt x="0" y="338"/>
                    <a:pt x="0" y="338"/>
                  </a:cubicBezTo>
                  <a:cubicBezTo>
                    <a:pt x="0" y="276"/>
                    <a:pt x="0" y="276"/>
                    <a:pt x="0" y="276"/>
                  </a:cubicBezTo>
                  <a:cubicBezTo>
                    <a:pt x="2" y="277"/>
                    <a:pt x="4" y="278"/>
                    <a:pt x="6" y="278"/>
                  </a:cubicBezTo>
                  <a:cubicBezTo>
                    <a:pt x="7" y="279"/>
                    <a:pt x="9" y="279"/>
                    <a:pt x="11" y="280"/>
                  </a:cubicBezTo>
                  <a:cubicBezTo>
                    <a:pt x="13" y="280"/>
                    <a:pt x="15" y="280"/>
                    <a:pt x="18" y="280"/>
                  </a:cubicBezTo>
                  <a:cubicBezTo>
                    <a:pt x="20" y="280"/>
                    <a:pt x="22" y="280"/>
                    <a:pt x="24" y="279"/>
                  </a:cubicBezTo>
                  <a:cubicBezTo>
                    <a:pt x="31" y="278"/>
                    <a:pt x="37" y="276"/>
                    <a:pt x="43" y="272"/>
                  </a:cubicBezTo>
                  <a:cubicBezTo>
                    <a:pt x="49" y="269"/>
                    <a:pt x="54" y="264"/>
                    <a:pt x="58" y="259"/>
                  </a:cubicBezTo>
                  <a:cubicBezTo>
                    <a:pt x="63" y="253"/>
                    <a:pt x="66" y="247"/>
                    <a:pt x="69" y="240"/>
                  </a:cubicBezTo>
                  <a:cubicBezTo>
                    <a:pt x="71" y="234"/>
                    <a:pt x="73" y="226"/>
                    <a:pt x="73" y="219"/>
                  </a:cubicBezTo>
                  <a:cubicBezTo>
                    <a:pt x="73" y="212"/>
                    <a:pt x="72" y="205"/>
                    <a:pt x="69" y="199"/>
                  </a:cubicBezTo>
                  <a:cubicBezTo>
                    <a:pt x="67" y="193"/>
                    <a:pt x="63" y="188"/>
                    <a:pt x="59" y="184"/>
                  </a:cubicBezTo>
                  <a:cubicBezTo>
                    <a:pt x="54" y="180"/>
                    <a:pt x="49" y="177"/>
                    <a:pt x="43" y="175"/>
                  </a:cubicBezTo>
                  <a:cubicBezTo>
                    <a:pt x="37" y="174"/>
                    <a:pt x="31" y="173"/>
                    <a:pt x="24" y="174"/>
                  </a:cubicBezTo>
                  <a:cubicBezTo>
                    <a:pt x="16" y="175"/>
                    <a:pt x="7" y="179"/>
                    <a:pt x="0" y="184"/>
                  </a:cubicBezTo>
                  <a:cubicBezTo>
                    <a:pt x="1" y="95"/>
                    <a:pt x="1" y="95"/>
                    <a:pt x="1" y="95"/>
                  </a:cubicBezTo>
                  <a:cubicBezTo>
                    <a:pt x="25" y="92"/>
                    <a:pt x="50" y="88"/>
                    <a:pt x="75" y="85"/>
                  </a:cubicBezTo>
                  <a:cubicBezTo>
                    <a:pt x="72" y="82"/>
                    <a:pt x="69" y="80"/>
                    <a:pt x="66" y="77"/>
                  </a:cubicBezTo>
                  <a:cubicBezTo>
                    <a:pt x="65" y="75"/>
                    <a:pt x="64" y="73"/>
                    <a:pt x="63" y="71"/>
                  </a:cubicBezTo>
                  <a:cubicBezTo>
                    <a:pt x="62" y="70"/>
                    <a:pt x="61" y="67"/>
                    <a:pt x="60" y="65"/>
                  </a:cubicBezTo>
                  <a:cubicBezTo>
                    <a:pt x="59" y="63"/>
                    <a:pt x="59" y="61"/>
                    <a:pt x="58" y="59"/>
                  </a:cubicBezTo>
                  <a:cubicBezTo>
                    <a:pt x="58" y="56"/>
                    <a:pt x="58" y="54"/>
                    <a:pt x="58" y="51"/>
                  </a:cubicBezTo>
                  <a:cubicBezTo>
                    <a:pt x="58" y="45"/>
                    <a:pt x="59" y="39"/>
                    <a:pt x="61" y="33"/>
                  </a:cubicBezTo>
                  <a:cubicBezTo>
                    <a:pt x="63" y="28"/>
                    <a:pt x="66" y="23"/>
                    <a:pt x="70" y="18"/>
                  </a:cubicBezTo>
                  <a:cubicBezTo>
                    <a:pt x="74" y="13"/>
                    <a:pt x="78" y="10"/>
                    <a:pt x="83" y="7"/>
                  </a:cubicBezTo>
                  <a:cubicBezTo>
                    <a:pt x="88" y="4"/>
                    <a:pt x="93" y="2"/>
                    <a:pt x="99" y="1"/>
                  </a:cubicBezTo>
                  <a:cubicBezTo>
                    <a:pt x="105" y="0"/>
                    <a:pt x="93" y="2"/>
                    <a:pt x="99" y="1"/>
                  </a:cubicBezTo>
                  <a:close/>
                </a:path>
              </a:pathLst>
            </a:custGeom>
            <a:solidFill>
              <a:schemeClr val="accent5"/>
            </a:solidFill>
            <a:ln w="38100">
              <a:solidFill>
                <a:schemeClr val="bg1"/>
              </a:solidFill>
              <a:round/>
              <a:headEnd/>
              <a:tailEnd/>
            </a:ln>
          </p:spPr>
          <p:txBody>
            <a:bodyPr lIns="121920" tIns="60960" rIns="121920" bIns="60960"/>
            <a:lstStyle/>
            <a:p>
              <a:pPr eaLnBrk="1" fontAlgn="auto" hangingPunct="1">
                <a:spcBef>
                  <a:spcPts val="0"/>
                </a:spcBef>
                <a:spcAft>
                  <a:spcPts val="0"/>
                </a:spcAft>
                <a:defRPr/>
              </a:pPr>
              <a:endParaRPr lang="en-US" sz="3200">
                <a:latin typeface="+mn-lt"/>
              </a:endParaRPr>
            </a:p>
          </p:txBody>
        </p:sp>
      </p:grpSp>
      <p:grpSp>
        <p:nvGrpSpPr>
          <p:cNvPr id="23559" name="Grup 8">
            <a:extLst>
              <a:ext uri="{FF2B5EF4-FFF2-40B4-BE49-F238E27FC236}">
                <a16:creationId xmlns:a16="http://schemas.microsoft.com/office/drawing/2014/main" id="{5D4C3E7E-89DC-13B6-6873-72A42013B9EF}"/>
              </a:ext>
            </a:extLst>
          </p:cNvPr>
          <p:cNvGrpSpPr>
            <a:grpSpLocks/>
          </p:cNvGrpSpPr>
          <p:nvPr/>
        </p:nvGrpSpPr>
        <p:grpSpPr bwMode="auto">
          <a:xfrm>
            <a:off x="4573588" y="4356100"/>
            <a:ext cx="1952625" cy="1698625"/>
            <a:chOff x="2778060" y="4883652"/>
            <a:chExt cx="1952722" cy="1698560"/>
          </a:xfrm>
        </p:grpSpPr>
        <p:sp>
          <p:nvSpPr>
            <p:cNvPr id="116" name="Freeform 15">
              <a:extLst>
                <a:ext uri="{FF2B5EF4-FFF2-40B4-BE49-F238E27FC236}">
                  <a16:creationId xmlns:a16="http://schemas.microsoft.com/office/drawing/2014/main" id="{62D0E0C4-401C-E186-404D-36498B3C06E7}"/>
                </a:ext>
              </a:extLst>
            </p:cNvPr>
            <p:cNvSpPr>
              <a:spLocks/>
            </p:cNvSpPr>
            <p:nvPr/>
          </p:nvSpPr>
          <p:spPr bwMode="auto">
            <a:xfrm>
              <a:off x="3692505" y="4883652"/>
              <a:ext cx="530251" cy="149219"/>
            </a:xfrm>
            <a:custGeom>
              <a:avLst/>
              <a:gdLst>
                <a:gd name="T0" fmla="*/ 155 w 364"/>
                <a:gd name="T1" fmla="*/ 118 h 118"/>
                <a:gd name="T2" fmla="*/ 0 w 364"/>
                <a:gd name="T3" fmla="*/ 30 h 118"/>
                <a:gd name="T4" fmla="*/ 210 w 364"/>
                <a:gd name="T5" fmla="*/ 0 h 118"/>
                <a:gd name="T6" fmla="*/ 364 w 364"/>
                <a:gd name="T7" fmla="*/ 89 h 118"/>
                <a:gd name="T8" fmla="*/ 155 w 364"/>
                <a:gd name="T9" fmla="*/ 118 h 118"/>
              </a:gdLst>
              <a:ahLst/>
              <a:cxnLst>
                <a:cxn ang="0">
                  <a:pos x="T0" y="T1"/>
                </a:cxn>
                <a:cxn ang="0">
                  <a:pos x="T2" y="T3"/>
                </a:cxn>
                <a:cxn ang="0">
                  <a:pos x="T4" y="T5"/>
                </a:cxn>
                <a:cxn ang="0">
                  <a:pos x="T6" y="T7"/>
                </a:cxn>
                <a:cxn ang="0">
                  <a:pos x="T8" y="T9"/>
                </a:cxn>
              </a:cxnLst>
              <a:rect l="0" t="0" r="r" b="b"/>
              <a:pathLst>
                <a:path w="364" h="118">
                  <a:moveTo>
                    <a:pt x="155" y="118"/>
                  </a:moveTo>
                  <a:lnTo>
                    <a:pt x="0" y="30"/>
                  </a:lnTo>
                  <a:lnTo>
                    <a:pt x="210" y="0"/>
                  </a:lnTo>
                  <a:lnTo>
                    <a:pt x="364" y="89"/>
                  </a:lnTo>
                  <a:lnTo>
                    <a:pt x="155" y="118"/>
                  </a:lnTo>
                  <a:close/>
                </a:path>
              </a:pathLst>
            </a:custGeom>
            <a:solidFill>
              <a:schemeClr val="accent2">
                <a:lumMod val="75000"/>
              </a:schemeClr>
            </a:solidFill>
            <a:ln>
              <a:noFill/>
            </a:ln>
          </p:spPr>
          <p:txBody>
            <a:bodyPr lIns="121920" tIns="60960" rIns="121920" bIns="60960"/>
            <a:lstStyle/>
            <a:p>
              <a:pPr eaLnBrk="1" fontAlgn="auto" hangingPunct="1">
                <a:spcBef>
                  <a:spcPts val="0"/>
                </a:spcBef>
                <a:spcAft>
                  <a:spcPts val="0"/>
                </a:spcAft>
                <a:defRPr/>
              </a:pPr>
              <a:endParaRPr lang="en-US" sz="3200">
                <a:latin typeface="+mn-lt"/>
              </a:endParaRPr>
            </a:p>
          </p:txBody>
        </p:sp>
        <p:sp>
          <p:nvSpPr>
            <p:cNvPr id="118" name="Freeform 17">
              <a:extLst>
                <a:ext uri="{FF2B5EF4-FFF2-40B4-BE49-F238E27FC236}">
                  <a16:creationId xmlns:a16="http://schemas.microsoft.com/office/drawing/2014/main" id="{A789D92D-4A70-5046-3D71-9D8D172F959B}"/>
                </a:ext>
              </a:extLst>
            </p:cNvPr>
            <p:cNvSpPr>
              <a:spLocks/>
            </p:cNvSpPr>
            <p:nvPr/>
          </p:nvSpPr>
          <p:spPr bwMode="auto">
            <a:xfrm>
              <a:off x="3244808" y="4955087"/>
              <a:ext cx="771563" cy="669899"/>
            </a:xfrm>
            <a:custGeom>
              <a:avLst/>
              <a:gdLst>
                <a:gd name="T0" fmla="*/ 120 w 121"/>
                <a:gd name="T1" fmla="*/ 57 h 117"/>
                <a:gd name="T2" fmla="*/ 112 w 121"/>
                <a:gd name="T3" fmla="*/ 24 h 117"/>
                <a:gd name="T4" fmla="*/ 70 w 121"/>
                <a:gd name="T5" fmla="*/ 0 h 117"/>
                <a:gd name="T6" fmla="*/ 64 w 121"/>
                <a:gd name="T7" fmla="*/ 68 h 117"/>
                <a:gd name="T8" fmla="*/ 0 w 121"/>
                <a:gd name="T9" fmla="*/ 83 h 117"/>
                <a:gd name="T10" fmla="*/ 41 w 121"/>
                <a:gd name="T11" fmla="*/ 107 h 117"/>
                <a:gd name="T12" fmla="*/ 93 w 121"/>
                <a:gd name="T13" fmla="*/ 104 h 117"/>
                <a:gd name="T14" fmla="*/ 120 w 121"/>
                <a:gd name="T15" fmla="*/ 57 h 117"/>
                <a:gd name="T16" fmla="*/ 120 w 121"/>
                <a:gd name="T17" fmla="*/ 5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17">
                  <a:moveTo>
                    <a:pt x="120" y="57"/>
                  </a:moveTo>
                  <a:cubicBezTo>
                    <a:pt x="121" y="46"/>
                    <a:pt x="119" y="34"/>
                    <a:pt x="112" y="24"/>
                  </a:cubicBezTo>
                  <a:cubicBezTo>
                    <a:pt x="70" y="0"/>
                    <a:pt x="70" y="0"/>
                    <a:pt x="70" y="0"/>
                  </a:cubicBezTo>
                  <a:cubicBezTo>
                    <a:pt x="84" y="21"/>
                    <a:pt x="79" y="49"/>
                    <a:pt x="64" y="68"/>
                  </a:cubicBezTo>
                  <a:cubicBezTo>
                    <a:pt x="49" y="86"/>
                    <a:pt x="22" y="96"/>
                    <a:pt x="0" y="83"/>
                  </a:cubicBezTo>
                  <a:cubicBezTo>
                    <a:pt x="41" y="107"/>
                    <a:pt x="41" y="107"/>
                    <a:pt x="41" y="107"/>
                  </a:cubicBezTo>
                  <a:cubicBezTo>
                    <a:pt x="57" y="117"/>
                    <a:pt x="78" y="114"/>
                    <a:pt x="93" y="104"/>
                  </a:cubicBezTo>
                  <a:cubicBezTo>
                    <a:pt x="109" y="93"/>
                    <a:pt x="117" y="76"/>
                    <a:pt x="120" y="57"/>
                  </a:cubicBezTo>
                  <a:cubicBezTo>
                    <a:pt x="120" y="56"/>
                    <a:pt x="120" y="58"/>
                    <a:pt x="120" y="57"/>
                  </a:cubicBezTo>
                  <a:close/>
                </a:path>
              </a:pathLst>
            </a:custGeom>
            <a:solidFill>
              <a:schemeClr val="accent2">
                <a:lumMod val="75000"/>
              </a:schemeClr>
            </a:solidFill>
            <a:ln>
              <a:noFill/>
            </a:ln>
          </p:spPr>
          <p:txBody>
            <a:bodyPr lIns="121920" tIns="60960" rIns="121920" bIns="60960"/>
            <a:lstStyle/>
            <a:p>
              <a:pPr eaLnBrk="1" fontAlgn="auto" hangingPunct="1">
                <a:spcBef>
                  <a:spcPts val="0"/>
                </a:spcBef>
                <a:spcAft>
                  <a:spcPts val="0"/>
                </a:spcAft>
                <a:defRPr/>
              </a:pPr>
              <a:endParaRPr lang="en-US" sz="3200">
                <a:latin typeface="+mn-lt"/>
              </a:endParaRPr>
            </a:p>
          </p:txBody>
        </p:sp>
        <p:sp>
          <p:nvSpPr>
            <p:cNvPr id="122" name="Freeform 21">
              <a:extLst>
                <a:ext uri="{FF2B5EF4-FFF2-40B4-BE49-F238E27FC236}">
                  <a16:creationId xmlns:a16="http://schemas.microsoft.com/office/drawing/2014/main" id="{73D592C6-6336-8450-7B82-D6D50071B284}"/>
                </a:ext>
              </a:extLst>
            </p:cNvPr>
            <p:cNvSpPr>
              <a:spLocks/>
            </p:cNvSpPr>
            <p:nvPr/>
          </p:nvSpPr>
          <p:spPr bwMode="auto">
            <a:xfrm>
              <a:off x="2778060" y="4980486"/>
              <a:ext cx="631856" cy="187318"/>
            </a:xfrm>
            <a:custGeom>
              <a:avLst/>
              <a:gdLst>
                <a:gd name="T0" fmla="*/ 151 w 364"/>
                <a:gd name="T1" fmla="*/ 121 h 121"/>
                <a:gd name="T2" fmla="*/ 0 w 364"/>
                <a:gd name="T3" fmla="*/ 33 h 121"/>
                <a:gd name="T4" fmla="*/ 213 w 364"/>
                <a:gd name="T5" fmla="*/ 0 h 121"/>
                <a:gd name="T6" fmla="*/ 364 w 364"/>
                <a:gd name="T7" fmla="*/ 88 h 121"/>
                <a:gd name="T8" fmla="*/ 151 w 364"/>
                <a:gd name="T9" fmla="*/ 121 h 121"/>
              </a:gdLst>
              <a:ahLst/>
              <a:cxnLst>
                <a:cxn ang="0">
                  <a:pos x="T0" y="T1"/>
                </a:cxn>
                <a:cxn ang="0">
                  <a:pos x="T2" y="T3"/>
                </a:cxn>
                <a:cxn ang="0">
                  <a:pos x="T4" y="T5"/>
                </a:cxn>
                <a:cxn ang="0">
                  <a:pos x="T6" y="T7"/>
                </a:cxn>
                <a:cxn ang="0">
                  <a:pos x="T8" y="T9"/>
                </a:cxn>
              </a:cxnLst>
              <a:rect l="0" t="0" r="r" b="b"/>
              <a:pathLst>
                <a:path w="364" h="121">
                  <a:moveTo>
                    <a:pt x="151" y="121"/>
                  </a:moveTo>
                  <a:lnTo>
                    <a:pt x="0" y="33"/>
                  </a:lnTo>
                  <a:lnTo>
                    <a:pt x="213" y="0"/>
                  </a:lnTo>
                  <a:lnTo>
                    <a:pt x="364" y="88"/>
                  </a:lnTo>
                  <a:lnTo>
                    <a:pt x="151" y="121"/>
                  </a:lnTo>
                  <a:close/>
                </a:path>
              </a:pathLst>
            </a:custGeom>
            <a:solidFill>
              <a:schemeClr val="accent2">
                <a:lumMod val="75000"/>
              </a:schemeClr>
            </a:solidFill>
            <a:ln>
              <a:noFill/>
            </a:ln>
          </p:spPr>
          <p:txBody>
            <a:bodyPr lIns="121920" tIns="60960" rIns="121920" bIns="60960"/>
            <a:lstStyle/>
            <a:p>
              <a:pPr eaLnBrk="1" fontAlgn="auto" hangingPunct="1">
                <a:spcBef>
                  <a:spcPts val="0"/>
                </a:spcBef>
                <a:spcAft>
                  <a:spcPts val="0"/>
                </a:spcAft>
                <a:defRPr/>
              </a:pPr>
              <a:endParaRPr lang="en-US" sz="3200">
                <a:latin typeface="+mn-lt"/>
              </a:endParaRPr>
            </a:p>
          </p:txBody>
        </p:sp>
        <p:sp>
          <p:nvSpPr>
            <p:cNvPr id="123" name="Freeform 22">
              <a:extLst>
                <a:ext uri="{FF2B5EF4-FFF2-40B4-BE49-F238E27FC236}">
                  <a16:creationId xmlns:a16="http://schemas.microsoft.com/office/drawing/2014/main" id="{146F6D50-0759-43CC-5D57-AFB9819FDFC8}"/>
                </a:ext>
              </a:extLst>
            </p:cNvPr>
            <p:cNvSpPr>
              <a:spLocks/>
            </p:cNvSpPr>
            <p:nvPr/>
          </p:nvSpPr>
          <p:spPr bwMode="auto">
            <a:xfrm>
              <a:off x="2792348" y="5023347"/>
              <a:ext cx="266713" cy="1558865"/>
            </a:xfrm>
            <a:custGeom>
              <a:avLst/>
              <a:gdLst>
                <a:gd name="T0" fmla="*/ 154 w 154"/>
                <a:gd name="T1" fmla="*/ 989 h 989"/>
                <a:gd name="T2" fmla="*/ 7 w 154"/>
                <a:gd name="T3" fmla="*/ 893 h 989"/>
                <a:gd name="T4" fmla="*/ 0 w 154"/>
                <a:gd name="T5" fmla="*/ 0 h 989"/>
                <a:gd name="T6" fmla="*/ 151 w 154"/>
                <a:gd name="T7" fmla="*/ 88 h 989"/>
                <a:gd name="T8" fmla="*/ 154 w 154"/>
                <a:gd name="T9" fmla="*/ 989 h 989"/>
              </a:gdLst>
              <a:ahLst/>
              <a:cxnLst>
                <a:cxn ang="0">
                  <a:pos x="T0" y="T1"/>
                </a:cxn>
                <a:cxn ang="0">
                  <a:pos x="T2" y="T3"/>
                </a:cxn>
                <a:cxn ang="0">
                  <a:pos x="T4" y="T5"/>
                </a:cxn>
                <a:cxn ang="0">
                  <a:pos x="T6" y="T7"/>
                </a:cxn>
                <a:cxn ang="0">
                  <a:pos x="T8" y="T9"/>
                </a:cxn>
              </a:cxnLst>
              <a:rect l="0" t="0" r="r" b="b"/>
              <a:pathLst>
                <a:path w="154" h="989">
                  <a:moveTo>
                    <a:pt x="154" y="989"/>
                  </a:moveTo>
                  <a:lnTo>
                    <a:pt x="7" y="893"/>
                  </a:lnTo>
                  <a:lnTo>
                    <a:pt x="0" y="0"/>
                  </a:lnTo>
                  <a:lnTo>
                    <a:pt x="151" y="88"/>
                  </a:lnTo>
                  <a:lnTo>
                    <a:pt x="154" y="989"/>
                  </a:lnTo>
                  <a:close/>
                </a:path>
              </a:pathLst>
            </a:custGeom>
            <a:solidFill>
              <a:schemeClr val="accent2">
                <a:lumMod val="75000"/>
              </a:schemeClr>
            </a:solidFill>
            <a:ln>
              <a:noFill/>
            </a:ln>
          </p:spPr>
          <p:txBody>
            <a:bodyPr lIns="121920" tIns="60960" rIns="121920" bIns="60960"/>
            <a:lstStyle/>
            <a:p>
              <a:pPr eaLnBrk="1" fontAlgn="auto" hangingPunct="1">
                <a:spcBef>
                  <a:spcPts val="0"/>
                </a:spcBef>
                <a:spcAft>
                  <a:spcPts val="0"/>
                </a:spcAft>
                <a:defRPr/>
              </a:pPr>
              <a:endParaRPr lang="en-US" sz="3200">
                <a:latin typeface="+mn-lt"/>
              </a:endParaRPr>
            </a:p>
          </p:txBody>
        </p:sp>
        <p:sp>
          <p:nvSpPr>
            <p:cNvPr id="23585" name="Freeform 30">
              <a:extLst>
                <a:ext uri="{FF2B5EF4-FFF2-40B4-BE49-F238E27FC236}">
                  <a16:creationId xmlns:a16="http://schemas.microsoft.com/office/drawing/2014/main" id="{0CBF367B-752E-AE7A-6034-16B1CBC120A9}"/>
                </a:ext>
              </a:extLst>
            </p:cNvPr>
            <p:cNvSpPr>
              <a:spLocks/>
            </p:cNvSpPr>
            <p:nvPr/>
          </p:nvSpPr>
          <p:spPr bwMode="auto">
            <a:xfrm>
              <a:off x="2995995" y="5012629"/>
              <a:ext cx="1734787" cy="1569583"/>
            </a:xfrm>
            <a:custGeom>
              <a:avLst/>
              <a:gdLst>
                <a:gd name="T0" fmla="*/ 2147483646 w 272"/>
                <a:gd name="T1" fmla="*/ 0 h 274"/>
                <a:gd name="T2" fmla="*/ 2147483646 w 272"/>
                <a:gd name="T3" fmla="*/ 2147483646 h 274"/>
                <a:gd name="T4" fmla="*/ 2147483646 w 272"/>
                <a:gd name="T5" fmla="*/ 2147483646 h 274"/>
                <a:gd name="T6" fmla="*/ 2147483646 w 272"/>
                <a:gd name="T7" fmla="*/ 2147483646 h 274"/>
                <a:gd name="T8" fmla="*/ 2147483646 w 272"/>
                <a:gd name="T9" fmla="*/ 2147483646 h 274"/>
                <a:gd name="T10" fmla="*/ 2147483646 w 272"/>
                <a:gd name="T11" fmla="*/ 2147483646 h 274"/>
                <a:gd name="T12" fmla="*/ 2147483646 w 272"/>
                <a:gd name="T13" fmla="*/ 2147483646 h 274"/>
                <a:gd name="T14" fmla="*/ 2147483646 w 272"/>
                <a:gd name="T15" fmla="*/ 2147483646 h 274"/>
                <a:gd name="T16" fmla="*/ 2147483646 w 272"/>
                <a:gd name="T17" fmla="*/ 2147483646 h 274"/>
                <a:gd name="T18" fmla="*/ 2147483646 w 272"/>
                <a:gd name="T19" fmla="*/ 2147483646 h 274"/>
                <a:gd name="T20" fmla="*/ 2147483646 w 272"/>
                <a:gd name="T21" fmla="*/ 2147483646 h 274"/>
                <a:gd name="T22" fmla="*/ 2147483646 w 272"/>
                <a:gd name="T23" fmla="*/ 2147483646 h 274"/>
                <a:gd name="T24" fmla="*/ 2147483646 w 272"/>
                <a:gd name="T25" fmla="*/ 2147483646 h 274"/>
                <a:gd name="T26" fmla="*/ 2147483646 w 272"/>
                <a:gd name="T27" fmla="*/ 2147483646 h 274"/>
                <a:gd name="T28" fmla="*/ 2147483646 w 272"/>
                <a:gd name="T29" fmla="*/ 2147483646 h 274"/>
                <a:gd name="T30" fmla="*/ 2147483646 w 272"/>
                <a:gd name="T31" fmla="*/ 2147483646 h 274"/>
                <a:gd name="T32" fmla="*/ 2147483646 w 272"/>
                <a:gd name="T33" fmla="*/ 2147483646 h 274"/>
                <a:gd name="T34" fmla="*/ 2147483646 w 272"/>
                <a:gd name="T35" fmla="*/ 2147483646 h 274"/>
                <a:gd name="T36" fmla="*/ 2147483646 w 272"/>
                <a:gd name="T37" fmla="*/ 2147483646 h 274"/>
                <a:gd name="T38" fmla="*/ 2147483646 w 272"/>
                <a:gd name="T39" fmla="*/ 2147483646 h 274"/>
                <a:gd name="T40" fmla="*/ 2147483646 w 272"/>
                <a:gd name="T41" fmla="*/ 2147483646 h 274"/>
                <a:gd name="T42" fmla="*/ 0 w 272"/>
                <a:gd name="T43" fmla="*/ 2147483646 h 274"/>
                <a:gd name="T44" fmla="*/ 2147483646 w 272"/>
                <a:gd name="T45" fmla="*/ 2147483646 h 274"/>
                <a:gd name="T46" fmla="*/ 2147483646 w 272"/>
                <a:gd name="T47" fmla="*/ 2147483646 h 274"/>
                <a:gd name="T48" fmla="*/ 2147483646 w 272"/>
                <a:gd name="T49" fmla="*/ 2147483646 h 274"/>
                <a:gd name="T50" fmla="*/ 2147483646 w 272"/>
                <a:gd name="T51" fmla="*/ 2147483646 h 274"/>
                <a:gd name="T52" fmla="*/ 2147483646 w 272"/>
                <a:gd name="T53" fmla="*/ 2147483646 h 274"/>
                <a:gd name="T54" fmla="*/ 2147483646 w 272"/>
                <a:gd name="T55" fmla="*/ 2147483646 h 274"/>
                <a:gd name="T56" fmla="*/ 2147483646 w 272"/>
                <a:gd name="T57" fmla="*/ 2147483646 h 274"/>
                <a:gd name="T58" fmla="*/ 2147483646 w 272"/>
                <a:gd name="T59" fmla="*/ 2147483646 h 274"/>
                <a:gd name="T60" fmla="*/ 2147483646 w 272"/>
                <a:gd name="T61" fmla="*/ 2147483646 h 274"/>
                <a:gd name="T62" fmla="*/ 2147483646 w 272"/>
                <a:gd name="T63" fmla="*/ 2147483646 h 274"/>
                <a:gd name="T64" fmla="*/ 2147483646 w 272"/>
                <a:gd name="T65" fmla="*/ 2147483646 h 274"/>
                <a:gd name="T66" fmla="*/ 2147483646 w 272"/>
                <a:gd name="T67" fmla="*/ 2147483646 h 274"/>
                <a:gd name="T68" fmla="*/ 2147483646 w 272"/>
                <a:gd name="T69" fmla="*/ 2147483646 h 274"/>
                <a:gd name="T70" fmla="*/ 2147483646 w 272"/>
                <a:gd name="T71" fmla="*/ 2147483646 h 274"/>
                <a:gd name="T72" fmla="*/ 2147483646 w 272"/>
                <a:gd name="T73" fmla="*/ 0 h 27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72" h="274">
                  <a:moveTo>
                    <a:pt x="199" y="0"/>
                  </a:moveTo>
                  <a:cubicBezTo>
                    <a:pt x="199" y="35"/>
                    <a:pt x="199" y="71"/>
                    <a:pt x="199" y="107"/>
                  </a:cubicBezTo>
                  <a:cubicBezTo>
                    <a:pt x="203" y="102"/>
                    <a:pt x="207" y="97"/>
                    <a:pt x="213" y="93"/>
                  </a:cubicBezTo>
                  <a:cubicBezTo>
                    <a:pt x="215" y="92"/>
                    <a:pt x="217" y="91"/>
                    <a:pt x="219" y="90"/>
                  </a:cubicBezTo>
                  <a:cubicBezTo>
                    <a:pt x="221" y="89"/>
                    <a:pt x="223" y="88"/>
                    <a:pt x="225" y="87"/>
                  </a:cubicBezTo>
                  <a:cubicBezTo>
                    <a:pt x="227" y="87"/>
                    <a:pt x="229" y="86"/>
                    <a:pt x="231" y="86"/>
                  </a:cubicBezTo>
                  <a:cubicBezTo>
                    <a:pt x="237" y="85"/>
                    <a:pt x="242" y="85"/>
                    <a:pt x="247" y="87"/>
                  </a:cubicBezTo>
                  <a:cubicBezTo>
                    <a:pt x="252" y="88"/>
                    <a:pt x="256" y="91"/>
                    <a:pt x="260" y="94"/>
                  </a:cubicBezTo>
                  <a:cubicBezTo>
                    <a:pt x="264" y="98"/>
                    <a:pt x="267" y="102"/>
                    <a:pt x="269" y="107"/>
                  </a:cubicBezTo>
                  <a:cubicBezTo>
                    <a:pt x="271" y="112"/>
                    <a:pt x="272" y="117"/>
                    <a:pt x="272" y="123"/>
                  </a:cubicBezTo>
                  <a:cubicBezTo>
                    <a:pt x="272" y="129"/>
                    <a:pt x="271" y="135"/>
                    <a:pt x="269" y="141"/>
                  </a:cubicBezTo>
                  <a:cubicBezTo>
                    <a:pt x="266" y="147"/>
                    <a:pt x="263" y="152"/>
                    <a:pt x="260" y="156"/>
                  </a:cubicBezTo>
                  <a:cubicBezTo>
                    <a:pt x="256" y="161"/>
                    <a:pt x="252" y="165"/>
                    <a:pt x="247" y="168"/>
                  </a:cubicBezTo>
                  <a:cubicBezTo>
                    <a:pt x="242" y="171"/>
                    <a:pt x="237" y="173"/>
                    <a:pt x="231" y="174"/>
                  </a:cubicBezTo>
                  <a:cubicBezTo>
                    <a:pt x="229" y="174"/>
                    <a:pt x="227" y="174"/>
                    <a:pt x="224" y="174"/>
                  </a:cubicBezTo>
                  <a:cubicBezTo>
                    <a:pt x="222" y="174"/>
                    <a:pt x="220" y="174"/>
                    <a:pt x="218" y="173"/>
                  </a:cubicBezTo>
                  <a:cubicBezTo>
                    <a:pt x="216" y="173"/>
                    <a:pt x="214" y="172"/>
                    <a:pt x="212" y="172"/>
                  </a:cubicBezTo>
                  <a:cubicBezTo>
                    <a:pt x="211" y="171"/>
                    <a:pt x="209" y="170"/>
                    <a:pt x="207" y="169"/>
                  </a:cubicBezTo>
                  <a:cubicBezTo>
                    <a:pt x="204" y="167"/>
                    <a:pt x="201" y="165"/>
                    <a:pt x="199" y="162"/>
                  </a:cubicBezTo>
                  <a:cubicBezTo>
                    <a:pt x="199" y="189"/>
                    <a:pt x="199" y="215"/>
                    <a:pt x="199" y="242"/>
                  </a:cubicBezTo>
                  <a:cubicBezTo>
                    <a:pt x="1" y="274"/>
                    <a:pt x="1" y="274"/>
                    <a:pt x="1" y="274"/>
                  </a:cubicBezTo>
                  <a:cubicBezTo>
                    <a:pt x="0" y="29"/>
                    <a:pt x="0" y="29"/>
                    <a:pt x="0" y="29"/>
                  </a:cubicBezTo>
                  <a:cubicBezTo>
                    <a:pt x="58" y="20"/>
                    <a:pt x="58" y="20"/>
                    <a:pt x="58" y="20"/>
                  </a:cubicBezTo>
                  <a:cubicBezTo>
                    <a:pt x="57" y="22"/>
                    <a:pt x="56" y="25"/>
                    <a:pt x="55" y="27"/>
                  </a:cubicBezTo>
                  <a:cubicBezTo>
                    <a:pt x="54" y="30"/>
                    <a:pt x="53" y="32"/>
                    <a:pt x="52" y="35"/>
                  </a:cubicBezTo>
                  <a:cubicBezTo>
                    <a:pt x="51" y="38"/>
                    <a:pt x="51" y="40"/>
                    <a:pt x="51" y="43"/>
                  </a:cubicBezTo>
                  <a:cubicBezTo>
                    <a:pt x="50" y="45"/>
                    <a:pt x="50" y="48"/>
                    <a:pt x="50" y="51"/>
                  </a:cubicBezTo>
                  <a:cubicBezTo>
                    <a:pt x="50" y="58"/>
                    <a:pt x="51" y="65"/>
                    <a:pt x="54" y="71"/>
                  </a:cubicBezTo>
                  <a:cubicBezTo>
                    <a:pt x="57" y="77"/>
                    <a:pt x="60" y="82"/>
                    <a:pt x="65" y="87"/>
                  </a:cubicBezTo>
                  <a:cubicBezTo>
                    <a:pt x="69" y="91"/>
                    <a:pt x="75" y="94"/>
                    <a:pt x="81" y="96"/>
                  </a:cubicBezTo>
                  <a:cubicBezTo>
                    <a:pt x="87" y="97"/>
                    <a:pt x="93" y="98"/>
                    <a:pt x="100" y="97"/>
                  </a:cubicBezTo>
                  <a:cubicBezTo>
                    <a:pt x="107" y="96"/>
                    <a:pt x="114" y="93"/>
                    <a:pt x="120" y="90"/>
                  </a:cubicBezTo>
                  <a:cubicBezTo>
                    <a:pt x="126" y="86"/>
                    <a:pt x="131" y="81"/>
                    <a:pt x="136" y="76"/>
                  </a:cubicBezTo>
                  <a:cubicBezTo>
                    <a:pt x="140" y="70"/>
                    <a:pt x="144" y="64"/>
                    <a:pt x="146" y="57"/>
                  </a:cubicBezTo>
                  <a:cubicBezTo>
                    <a:pt x="149" y="51"/>
                    <a:pt x="150" y="43"/>
                    <a:pt x="150" y="36"/>
                  </a:cubicBezTo>
                  <a:cubicBezTo>
                    <a:pt x="150" y="26"/>
                    <a:pt x="147" y="16"/>
                    <a:pt x="142" y="8"/>
                  </a:cubicBezTo>
                  <a:lnTo>
                    <a:pt x="199" y="0"/>
                  </a:lnTo>
                  <a:close/>
                </a:path>
              </a:pathLst>
            </a:custGeom>
            <a:solidFill>
              <a:schemeClr val="accent2"/>
            </a:solidFill>
            <a:ln w="38100">
              <a:solidFill>
                <a:schemeClr val="bg1"/>
              </a:solidFill>
              <a:round/>
              <a:headEnd/>
              <a:tailEnd/>
            </a:ln>
          </p:spPr>
          <p:txBody>
            <a:bodyPr lIns="121920" tIns="60960" rIns="121920" bIns="60960"/>
            <a:lstStyle/>
            <a:p>
              <a:endParaRPr lang="en-GB"/>
            </a:p>
          </p:txBody>
        </p:sp>
      </p:grpSp>
      <p:grpSp>
        <p:nvGrpSpPr>
          <p:cNvPr id="23560" name="Grup 9">
            <a:extLst>
              <a:ext uri="{FF2B5EF4-FFF2-40B4-BE49-F238E27FC236}">
                <a16:creationId xmlns:a16="http://schemas.microsoft.com/office/drawing/2014/main" id="{C0C81C85-9DCE-B46F-DDAB-67078B29BD5B}"/>
              </a:ext>
            </a:extLst>
          </p:cNvPr>
          <p:cNvGrpSpPr>
            <a:grpSpLocks/>
          </p:cNvGrpSpPr>
          <p:nvPr/>
        </p:nvGrpSpPr>
        <p:grpSpPr bwMode="auto">
          <a:xfrm>
            <a:off x="5559425" y="2016125"/>
            <a:ext cx="2716213" cy="2273300"/>
            <a:chOff x="5473986" y="2079986"/>
            <a:chExt cx="2716677" cy="2274104"/>
          </a:xfrm>
        </p:grpSpPr>
        <p:sp>
          <p:nvSpPr>
            <p:cNvPr id="106" name="Freeform 5">
              <a:extLst>
                <a:ext uri="{FF2B5EF4-FFF2-40B4-BE49-F238E27FC236}">
                  <a16:creationId xmlns:a16="http://schemas.microsoft.com/office/drawing/2014/main" id="{57B3CB1B-D929-EC8C-86D8-56735BAC4D3F}"/>
                </a:ext>
              </a:extLst>
            </p:cNvPr>
            <p:cNvSpPr>
              <a:spLocks/>
            </p:cNvSpPr>
            <p:nvPr/>
          </p:nvSpPr>
          <p:spPr bwMode="auto">
            <a:xfrm>
              <a:off x="5945555" y="2079986"/>
              <a:ext cx="274684" cy="1173578"/>
            </a:xfrm>
            <a:custGeom>
              <a:avLst/>
              <a:gdLst>
                <a:gd name="T0" fmla="*/ 0 w 158"/>
                <a:gd name="T1" fmla="*/ 0 h 753"/>
                <a:gd name="T2" fmla="*/ 0 w 158"/>
                <a:gd name="T3" fmla="*/ 625 h 753"/>
                <a:gd name="T4" fmla="*/ 0 w 158"/>
                <a:gd name="T5" fmla="*/ 673 h 753"/>
                <a:gd name="T6" fmla="*/ 154 w 158"/>
                <a:gd name="T7" fmla="*/ 753 h 753"/>
                <a:gd name="T8" fmla="*/ 154 w 158"/>
                <a:gd name="T9" fmla="*/ 706 h 753"/>
                <a:gd name="T10" fmla="*/ 158 w 158"/>
                <a:gd name="T11" fmla="*/ 55 h 753"/>
                <a:gd name="T12" fmla="*/ 0 w 158"/>
                <a:gd name="T13" fmla="*/ 0 h 753"/>
              </a:gdLst>
              <a:ahLst/>
              <a:cxnLst>
                <a:cxn ang="0">
                  <a:pos x="T0" y="T1"/>
                </a:cxn>
                <a:cxn ang="0">
                  <a:pos x="T2" y="T3"/>
                </a:cxn>
                <a:cxn ang="0">
                  <a:pos x="T4" y="T5"/>
                </a:cxn>
                <a:cxn ang="0">
                  <a:pos x="T6" y="T7"/>
                </a:cxn>
                <a:cxn ang="0">
                  <a:pos x="T8" y="T9"/>
                </a:cxn>
                <a:cxn ang="0">
                  <a:pos x="T10" y="T11"/>
                </a:cxn>
                <a:cxn ang="0">
                  <a:pos x="T12" y="T13"/>
                </a:cxn>
              </a:cxnLst>
              <a:rect l="0" t="0" r="r" b="b"/>
              <a:pathLst>
                <a:path w="158" h="753">
                  <a:moveTo>
                    <a:pt x="0" y="0"/>
                  </a:moveTo>
                  <a:lnTo>
                    <a:pt x="0" y="625"/>
                  </a:lnTo>
                  <a:lnTo>
                    <a:pt x="0" y="673"/>
                  </a:lnTo>
                  <a:lnTo>
                    <a:pt x="154" y="753"/>
                  </a:lnTo>
                  <a:lnTo>
                    <a:pt x="154" y="706"/>
                  </a:lnTo>
                  <a:lnTo>
                    <a:pt x="158" y="55"/>
                  </a:lnTo>
                  <a:lnTo>
                    <a:pt x="0" y="0"/>
                  </a:lnTo>
                  <a:close/>
                </a:path>
              </a:pathLst>
            </a:custGeom>
            <a:solidFill>
              <a:schemeClr val="accent3">
                <a:lumMod val="75000"/>
              </a:schemeClr>
            </a:solidFill>
            <a:ln>
              <a:noFill/>
            </a:ln>
          </p:spPr>
          <p:txBody>
            <a:bodyPr lIns="121920" tIns="60960" rIns="121920" bIns="60960"/>
            <a:lstStyle/>
            <a:p>
              <a:pPr eaLnBrk="1" fontAlgn="auto" hangingPunct="1">
                <a:spcBef>
                  <a:spcPts val="0"/>
                </a:spcBef>
                <a:spcAft>
                  <a:spcPts val="0"/>
                </a:spcAft>
                <a:defRPr/>
              </a:pPr>
              <a:endParaRPr lang="en-US" sz="3200">
                <a:latin typeface="+mn-lt"/>
              </a:endParaRPr>
            </a:p>
          </p:txBody>
        </p:sp>
        <p:sp>
          <p:nvSpPr>
            <p:cNvPr id="117" name="Freeform 16">
              <a:extLst>
                <a:ext uri="{FF2B5EF4-FFF2-40B4-BE49-F238E27FC236}">
                  <a16:creationId xmlns:a16="http://schemas.microsoft.com/office/drawing/2014/main" id="{939394EE-61D6-E3B5-E1BB-44000D116EC4}"/>
                </a:ext>
              </a:extLst>
            </p:cNvPr>
            <p:cNvSpPr>
              <a:spLocks/>
            </p:cNvSpPr>
            <p:nvPr/>
          </p:nvSpPr>
          <p:spPr bwMode="auto">
            <a:xfrm>
              <a:off x="5956668" y="3444131"/>
              <a:ext cx="266746" cy="909959"/>
            </a:xfrm>
            <a:custGeom>
              <a:avLst/>
              <a:gdLst>
                <a:gd name="T0" fmla="*/ 0 w 154"/>
                <a:gd name="T1" fmla="*/ 0 h 584"/>
                <a:gd name="T2" fmla="*/ 0 w 154"/>
                <a:gd name="T3" fmla="*/ 48 h 584"/>
                <a:gd name="T4" fmla="*/ 0 w 154"/>
                <a:gd name="T5" fmla="*/ 500 h 584"/>
                <a:gd name="T6" fmla="*/ 154 w 154"/>
                <a:gd name="T7" fmla="*/ 584 h 584"/>
                <a:gd name="T8" fmla="*/ 154 w 154"/>
                <a:gd name="T9" fmla="*/ 128 h 584"/>
                <a:gd name="T10" fmla="*/ 154 w 154"/>
                <a:gd name="T11" fmla="*/ 84 h 584"/>
                <a:gd name="T12" fmla="*/ 0 w 154"/>
                <a:gd name="T13" fmla="*/ 0 h 584"/>
              </a:gdLst>
              <a:ahLst/>
              <a:cxnLst>
                <a:cxn ang="0">
                  <a:pos x="T0" y="T1"/>
                </a:cxn>
                <a:cxn ang="0">
                  <a:pos x="T2" y="T3"/>
                </a:cxn>
                <a:cxn ang="0">
                  <a:pos x="T4" y="T5"/>
                </a:cxn>
                <a:cxn ang="0">
                  <a:pos x="T6" y="T7"/>
                </a:cxn>
                <a:cxn ang="0">
                  <a:pos x="T8" y="T9"/>
                </a:cxn>
                <a:cxn ang="0">
                  <a:pos x="T10" y="T11"/>
                </a:cxn>
                <a:cxn ang="0">
                  <a:pos x="T12" y="T13"/>
                </a:cxn>
              </a:cxnLst>
              <a:rect l="0" t="0" r="r" b="b"/>
              <a:pathLst>
                <a:path w="154" h="584">
                  <a:moveTo>
                    <a:pt x="0" y="0"/>
                  </a:moveTo>
                  <a:lnTo>
                    <a:pt x="0" y="48"/>
                  </a:lnTo>
                  <a:lnTo>
                    <a:pt x="0" y="500"/>
                  </a:lnTo>
                  <a:lnTo>
                    <a:pt x="154" y="584"/>
                  </a:lnTo>
                  <a:lnTo>
                    <a:pt x="154" y="128"/>
                  </a:lnTo>
                  <a:lnTo>
                    <a:pt x="154" y="84"/>
                  </a:lnTo>
                  <a:lnTo>
                    <a:pt x="0" y="0"/>
                  </a:lnTo>
                  <a:close/>
                </a:path>
              </a:pathLst>
            </a:custGeom>
            <a:solidFill>
              <a:schemeClr val="accent3">
                <a:lumMod val="75000"/>
              </a:schemeClr>
            </a:solidFill>
            <a:ln>
              <a:noFill/>
            </a:ln>
          </p:spPr>
          <p:txBody>
            <a:bodyPr lIns="121920" tIns="60960" rIns="121920" bIns="60960"/>
            <a:lstStyle/>
            <a:p>
              <a:pPr eaLnBrk="1" fontAlgn="auto" hangingPunct="1">
                <a:spcBef>
                  <a:spcPts val="0"/>
                </a:spcBef>
                <a:spcAft>
                  <a:spcPts val="0"/>
                </a:spcAft>
                <a:defRPr/>
              </a:pPr>
              <a:endParaRPr lang="en-US" sz="3200">
                <a:latin typeface="+mn-lt"/>
              </a:endParaRPr>
            </a:p>
          </p:txBody>
        </p:sp>
        <p:sp>
          <p:nvSpPr>
            <p:cNvPr id="121" name="Freeform 20">
              <a:extLst>
                <a:ext uri="{FF2B5EF4-FFF2-40B4-BE49-F238E27FC236}">
                  <a16:creationId xmlns:a16="http://schemas.microsoft.com/office/drawing/2014/main" id="{DDCAE081-C76D-C686-182D-63E5294579C0}"/>
                </a:ext>
              </a:extLst>
            </p:cNvPr>
            <p:cNvSpPr>
              <a:spLocks/>
            </p:cNvSpPr>
            <p:nvPr/>
          </p:nvSpPr>
          <p:spPr bwMode="auto">
            <a:xfrm>
              <a:off x="5473986" y="3013766"/>
              <a:ext cx="670039" cy="657457"/>
            </a:xfrm>
            <a:custGeom>
              <a:avLst/>
              <a:gdLst>
                <a:gd name="T0" fmla="*/ 42 w 105"/>
                <a:gd name="T1" fmla="*/ 74 h 115"/>
                <a:gd name="T2" fmla="*/ 49 w 105"/>
                <a:gd name="T3" fmla="*/ 54 h 115"/>
                <a:gd name="T4" fmla="*/ 49 w 105"/>
                <a:gd name="T5" fmla="*/ 54 h 115"/>
                <a:gd name="T6" fmla="*/ 105 w 105"/>
                <a:gd name="T7" fmla="*/ 32 h 115"/>
                <a:gd name="T8" fmla="*/ 105 w 105"/>
                <a:gd name="T9" fmla="*/ 32 h 115"/>
                <a:gd name="T10" fmla="*/ 105 w 105"/>
                <a:gd name="T11" fmla="*/ 32 h 115"/>
                <a:gd name="T12" fmla="*/ 94 w 105"/>
                <a:gd name="T13" fmla="*/ 27 h 115"/>
                <a:gd name="T14" fmla="*/ 62 w 105"/>
                <a:gd name="T15" fmla="*/ 11 h 115"/>
                <a:gd name="T16" fmla="*/ 62 w 105"/>
                <a:gd name="T17" fmla="*/ 11 h 115"/>
                <a:gd name="T18" fmla="*/ 62 w 105"/>
                <a:gd name="T19" fmla="*/ 11 h 115"/>
                <a:gd name="T20" fmla="*/ 62 w 105"/>
                <a:gd name="T21" fmla="*/ 11 h 115"/>
                <a:gd name="T22" fmla="*/ 62 w 105"/>
                <a:gd name="T23" fmla="*/ 11 h 115"/>
                <a:gd name="T24" fmla="*/ 7 w 105"/>
                <a:gd name="T25" fmla="*/ 32 h 115"/>
                <a:gd name="T26" fmla="*/ 0 w 105"/>
                <a:gd name="T27" fmla="*/ 56 h 115"/>
                <a:gd name="T28" fmla="*/ 20 w 105"/>
                <a:gd name="T29" fmla="*/ 93 h 115"/>
                <a:gd name="T30" fmla="*/ 62 w 105"/>
                <a:gd name="T31" fmla="*/ 115 h 115"/>
                <a:gd name="T32" fmla="*/ 42 w 105"/>
                <a:gd name="T33" fmla="*/ 74 h 115"/>
                <a:gd name="T34" fmla="*/ 42 w 105"/>
                <a:gd name="T35" fmla="*/ 7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15">
                  <a:moveTo>
                    <a:pt x="42" y="74"/>
                  </a:moveTo>
                  <a:cubicBezTo>
                    <a:pt x="43" y="67"/>
                    <a:pt x="45" y="60"/>
                    <a:pt x="49" y="54"/>
                  </a:cubicBezTo>
                  <a:cubicBezTo>
                    <a:pt x="49" y="54"/>
                    <a:pt x="49" y="54"/>
                    <a:pt x="49" y="54"/>
                  </a:cubicBezTo>
                  <a:cubicBezTo>
                    <a:pt x="60" y="35"/>
                    <a:pt x="84" y="22"/>
                    <a:pt x="105" y="32"/>
                  </a:cubicBezTo>
                  <a:cubicBezTo>
                    <a:pt x="105" y="32"/>
                    <a:pt x="105" y="32"/>
                    <a:pt x="105" y="32"/>
                  </a:cubicBezTo>
                  <a:cubicBezTo>
                    <a:pt x="105" y="32"/>
                    <a:pt x="105" y="32"/>
                    <a:pt x="105" y="32"/>
                  </a:cubicBezTo>
                  <a:cubicBezTo>
                    <a:pt x="94" y="27"/>
                    <a:pt x="94" y="27"/>
                    <a:pt x="94" y="27"/>
                  </a:cubicBezTo>
                  <a:cubicBezTo>
                    <a:pt x="62" y="11"/>
                    <a:pt x="62" y="11"/>
                    <a:pt x="62" y="11"/>
                  </a:cubicBezTo>
                  <a:cubicBezTo>
                    <a:pt x="62" y="11"/>
                    <a:pt x="62" y="11"/>
                    <a:pt x="62" y="11"/>
                  </a:cubicBezTo>
                  <a:cubicBezTo>
                    <a:pt x="62" y="11"/>
                    <a:pt x="62" y="11"/>
                    <a:pt x="62" y="11"/>
                  </a:cubicBezTo>
                  <a:cubicBezTo>
                    <a:pt x="62" y="11"/>
                    <a:pt x="62" y="11"/>
                    <a:pt x="62" y="11"/>
                  </a:cubicBezTo>
                  <a:cubicBezTo>
                    <a:pt x="62" y="11"/>
                    <a:pt x="62" y="11"/>
                    <a:pt x="62" y="11"/>
                  </a:cubicBezTo>
                  <a:cubicBezTo>
                    <a:pt x="42" y="0"/>
                    <a:pt x="18" y="13"/>
                    <a:pt x="7" y="32"/>
                  </a:cubicBezTo>
                  <a:cubicBezTo>
                    <a:pt x="3" y="39"/>
                    <a:pt x="0" y="47"/>
                    <a:pt x="0" y="56"/>
                  </a:cubicBezTo>
                  <a:cubicBezTo>
                    <a:pt x="0" y="71"/>
                    <a:pt x="6" y="86"/>
                    <a:pt x="20" y="93"/>
                  </a:cubicBezTo>
                  <a:cubicBezTo>
                    <a:pt x="62" y="115"/>
                    <a:pt x="62" y="115"/>
                    <a:pt x="62" y="115"/>
                  </a:cubicBezTo>
                  <a:cubicBezTo>
                    <a:pt x="47" y="107"/>
                    <a:pt x="40" y="90"/>
                    <a:pt x="42" y="74"/>
                  </a:cubicBezTo>
                  <a:cubicBezTo>
                    <a:pt x="42" y="73"/>
                    <a:pt x="42" y="74"/>
                    <a:pt x="42" y="74"/>
                  </a:cubicBezTo>
                  <a:close/>
                </a:path>
              </a:pathLst>
            </a:custGeom>
            <a:solidFill>
              <a:schemeClr val="accent3">
                <a:lumMod val="75000"/>
              </a:schemeClr>
            </a:solidFill>
            <a:ln>
              <a:noFill/>
            </a:ln>
          </p:spPr>
          <p:txBody>
            <a:bodyPr lIns="121920" tIns="60960" rIns="121920" bIns="60960"/>
            <a:lstStyle/>
            <a:p>
              <a:pPr eaLnBrk="1" fontAlgn="auto" hangingPunct="1">
                <a:spcBef>
                  <a:spcPts val="0"/>
                </a:spcBef>
                <a:spcAft>
                  <a:spcPts val="0"/>
                </a:spcAft>
                <a:defRPr/>
              </a:pPr>
              <a:endParaRPr lang="en-US" sz="3200">
                <a:latin typeface="+mn-lt"/>
              </a:endParaRPr>
            </a:p>
          </p:txBody>
        </p:sp>
        <p:sp>
          <p:nvSpPr>
            <p:cNvPr id="131" name="Freeform 32">
              <a:extLst>
                <a:ext uri="{FF2B5EF4-FFF2-40B4-BE49-F238E27FC236}">
                  <a16:creationId xmlns:a16="http://schemas.microsoft.com/office/drawing/2014/main" id="{E0997D5D-7F5F-2B4A-22C6-C8CC5ED1E43C}"/>
                </a:ext>
              </a:extLst>
            </p:cNvPr>
            <p:cNvSpPr>
              <a:spLocks/>
            </p:cNvSpPr>
            <p:nvPr/>
          </p:nvSpPr>
          <p:spPr bwMode="auto">
            <a:xfrm>
              <a:off x="5740732" y="2165741"/>
              <a:ext cx="2449931" cy="2186761"/>
            </a:xfrm>
            <a:custGeom>
              <a:avLst/>
              <a:gdLst>
                <a:gd name="T0" fmla="*/ 75 w 384"/>
                <a:gd name="T1" fmla="*/ 0 h 382"/>
                <a:gd name="T2" fmla="*/ 384 w 384"/>
                <a:gd name="T3" fmla="*/ 293 h 382"/>
                <a:gd name="T4" fmla="*/ 269 w 384"/>
                <a:gd name="T5" fmla="*/ 309 h 382"/>
                <a:gd name="T6" fmla="*/ 268 w 384"/>
                <a:gd name="T7" fmla="*/ 354 h 382"/>
                <a:gd name="T8" fmla="*/ 213 w 384"/>
                <a:gd name="T9" fmla="*/ 362 h 382"/>
                <a:gd name="T10" fmla="*/ 216 w 384"/>
                <a:gd name="T11" fmla="*/ 356 h 382"/>
                <a:gd name="T12" fmla="*/ 219 w 384"/>
                <a:gd name="T13" fmla="*/ 349 h 382"/>
                <a:gd name="T14" fmla="*/ 220 w 384"/>
                <a:gd name="T15" fmla="*/ 342 h 382"/>
                <a:gd name="T16" fmla="*/ 220 w 384"/>
                <a:gd name="T17" fmla="*/ 334 h 382"/>
                <a:gd name="T18" fmla="*/ 217 w 384"/>
                <a:gd name="T19" fmla="*/ 314 h 382"/>
                <a:gd name="T20" fmla="*/ 207 w 384"/>
                <a:gd name="T21" fmla="*/ 299 h 382"/>
                <a:gd name="T22" fmla="*/ 191 w 384"/>
                <a:gd name="T23" fmla="*/ 290 h 382"/>
                <a:gd name="T24" fmla="*/ 172 w 384"/>
                <a:gd name="T25" fmla="*/ 288 h 382"/>
                <a:gd name="T26" fmla="*/ 153 w 384"/>
                <a:gd name="T27" fmla="*/ 295 h 382"/>
                <a:gd name="T28" fmla="*/ 137 w 384"/>
                <a:gd name="T29" fmla="*/ 309 h 382"/>
                <a:gd name="T30" fmla="*/ 127 w 384"/>
                <a:gd name="T31" fmla="*/ 327 h 382"/>
                <a:gd name="T32" fmla="*/ 123 w 384"/>
                <a:gd name="T33" fmla="*/ 348 h 382"/>
                <a:gd name="T34" fmla="*/ 130 w 384"/>
                <a:gd name="T35" fmla="*/ 374 h 382"/>
                <a:gd name="T36" fmla="*/ 74 w 384"/>
                <a:gd name="T37" fmla="*/ 382 h 382"/>
                <a:gd name="T38" fmla="*/ 74 w 384"/>
                <a:gd name="T39" fmla="*/ 246 h 382"/>
                <a:gd name="T40" fmla="*/ 60 w 384"/>
                <a:gd name="T41" fmla="*/ 260 h 382"/>
                <a:gd name="T42" fmla="*/ 54 w 384"/>
                <a:gd name="T43" fmla="*/ 263 h 382"/>
                <a:gd name="T44" fmla="*/ 48 w 384"/>
                <a:gd name="T45" fmla="*/ 266 h 382"/>
                <a:gd name="T46" fmla="*/ 42 w 384"/>
                <a:gd name="T47" fmla="*/ 267 h 382"/>
                <a:gd name="T48" fmla="*/ 25 w 384"/>
                <a:gd name="T49" fmla="*/ 266 h 382"/>
                <a:gd name="T50" fmla="*/ 12 w 384"/>
                <a:gd name="T51" fmla="*/ 258 h 382"/>
                <a:gd name="T52" fmla="*/ 3 w 384"/>
                <a:gd name="T53" fmla="*/ 245 h 382"/>
                <a:gd name="T54" fmla="*/ 0 w 384"/>
                <a:gd name="T55" fmla="*/ 228 h 382"/>
                <a:gd name="T56" fmla="*/ 3 w 384"/>
                <a:gd name="T57" fmla="*/ 210 h 382"/>
                <a:gd name="T58" fmla="*/ 12 w 384"/>
                <a:gd name="T59" fmla="*/ 194 h 382"/>
                <a:gd name="T60" fmla="*/ 25 w 384"/>
                <a:gd name="T61" fmla="*/ 183 h 382"/>
                <a:gd name="T62" fmla="*/ 42 w 384"/>
                <a:gd name="T63" fmla="*/ 177 h 382"/>
                <a:gd name="T64" fmla="*/ 48 w 384"/>
                <a:gd name="T65" fmla="*/ 177 h 382"/>
                <a:gd name="T66" fmla="*/ 55 w 384"/>
                <a:gd name="T67" fmla="*/ 178 h 382"/>
                <a:gd name="T68" fmla="*/ 61 w 384"/>
                <a:gd name="T69" fmla="*/ 179 h 382"/>
                <a:gd name="T70" fmla="*/ 66 w 384"/>
                <a:gd name="T71" fmla="*/ 182 h 382"/>
                <a:gd name="T72" fmla="*/ 74 w 384"/>
                <a:gd name="T73" fmla="*/ 190 h 382"/>
                <a:gd name="T74" fmla="*/ 75 w 384"/>
                <a:gd name="T75" fmla="*/ 4 h 382"/>
                <a:gd name="T76" fmla="*/ 75 w 384"/>
                <a:gd name="T77"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4" h="382">
                  <a:moveTo>
                    <a:pt x="75" y="0"/>
                  </a:moveTo>
                  <a:cubicBezTo>
                    <a:pt x="384" y="293"/>
                    <a:pt x="384" y="293"/>
                    <a:pt x="384" y="293"/>
                  </a:cubicBezTo>
                  <a:cubicBezTo>
                    <a:pt x="269" y="309"/>
                    <a:pt x="269" y="309"/>
                    <a:pt x="269" y="309"/>
                  </a:cubicBezTo>
                  <a:cubicBezTo>
                    <a:pt x="268" y="354"/>
                    <a:pt x="268" y="354"/>
                    <a:pt x="268" y="354"/>
                  </a:cubicBezTo>
                  <a:cubicBezTo>
                    <a:pt x="213" y="362"/>
                    <a:pt x="213" y="362"/>
                    <a:pt x="213" y="362"/>
                  </a:cubicBezTo>
                  <a:cubicBezTo>
                    <a:pt x="215" y="360"/>
                    <a:pt x="216" y="358"/>
                    <a:pt x="216" y="356"/>
                  </a:cubicBezTo>
                  <a:cubicBezTo>
                    <a:pt x="217" y="353"/>
                    <a:pt x="218" y="351"/>
                    <a:pt x="219" y="349"/>
                  </a:cubicBezTo>
                  <a:cubicBezTo>
                    <a:pt x="219" y="346"/>
                    <a:pt x="220" y="344"/>
                    <a:pt x="220" y="342"/>
                  </a:cubicBezTo>
                  <a:cubicBezTo>
                    <a:pt x="220" y="339"/>
                    <a:pt x="220" y="337"/>
                    <a:pt x="220" y="334"/>
                  </a:cubicBezTo>
                  <a:cubicBezTo>
                    <a:pt x="221" y="327"/>
                    <a:pt x="219" y="320"/>
                    <a:pt x="217" y="314"/>
                  </a:cubicBezTo>
                  <a:cubicBezTo>
                    <a:pt x="214" y="308"/>
                    <a:pt x="211" y="303"/>
                    <a:pt x="207" y="299"/>
                  </a:cubicBezTo>
                  <a:cubicBezTo>
                    <a:pt x="202" y="295"/>
                    <a:pt x="197" y="291"/>
                    <a:pt x="191" y="290"/>
                  </a:cubicBezTo>
                  <a:cubicBezTo>
                    <a:pt x="185" y="288"/>
                    <a:pt x="179" y="287"/>
                    <a:pt x="172" y="288"/>
                  </a:cubicBezTo>
                  <a:cubicBezTo>
                    <a:pt x="165" y="289"/>
                    <a:pt x="159" y="291"/>
                    <a:pt x="153" y="295"/>
                  </a:cubicBezTo>
                  <a:cubicBezTo>
                    <a:pt x="147" y="298"/>
                    <a:pt x="142" y="303"/>
                    <a:pt x="137" y="309"/>
                  </a:cubicBezTo>
                  <a:cubicBezTo>
                    <a:pt x="133" y="314"/>
                    <a:pt x="129" y="320"/>
                    <a:pt x="127" y="327"/>
                  </a:cubicBezTo>
                  <a:cubicBezTo>
                    <a:pt x="124" y="334"/>
                    <a:pt x="123" y="341"/>
                    <a:pt x="123" y="348"/>
                  </a:cubicBezTo>
                  <a:cubicBezTo>
                    <a:pt x="123" y="357"/>
                    <a:pt x="125" y="366"/>
                    <a:pt x="130" y="374"/>
                  </a:cubicBezTo>
                  <a:cubicBezTo>
                    <a:pt x="74" y="382"/>
                    <a:pt x="74" y="382"/>
                    <a:pt x="74" y="382"/>
                  </a:cubicBezTo>
                  <a:cubicBezTo>
                    <a:pt x="74" y="337"/>
                    <a:pt x="74" y="291"/>
                    <a:pt x="74" y="246"/>
                  </a:cubicBezTo>
                  <a:cubicBezTo>
                    <a:pt x="70" y="251"/>
                    <a:pt x="66" y="256"/>
                    <a:pt x="60" y="260"/>
                  </a:cubicBezTo>
                  <a:cubicBezTo>
                    <a:pt x="58" y="261"/>
                    <a:pt x="57" y="262"/>
                    <a:pt x="54" y="263"/>
                  </a:cubicBezTo>
                  <a:cubicBezTo>
                    <a:pt x="52" y="264"/>
                    <a:pt x="50" y="265"/>
                    <a:pt x="48" y="266"/>
                  </a:cubicBezTo>
                  <a:cubicBezTo>
                    <a:pt x="46" y="266"/>
                    <a:pt x="44" y="267"/>
                    <a:pt x="42" y="267"/>
                  </a:cubicBezTo>
                  <a:cubicBezTo>
                    <a:pt x="36" y="268"/>
                    <a:pt x="30" y="267"/>
                    <a:pt x="25" y="266"/>
                  </a:cubicBezTo>
                  <a:cubicBezTo>
                    <a:pt x="20" y="264"/>
                    <a:pt x="16" y="262"/>
                    <a:pt x="12" y="258"/>
                  </a:cubicBezTo>
                  <a:cubicBezTo>
                    <a:pt x="8" y="254"/>
                    <a:pt x="5" y="250"/>
                    <a:pt x="3" y="245"/>
                  </a:cubicBezTo>
                  <a:cubicBezTo>
                    <a:pt x="1" y="240"/>
                    <a:pt x="0" y="234"/>
                    <a:pt x="0" y="228"/>
                  </a:cubicBezTo>
                  <a:cubicBezTo>
                    <a:pt x="0" y="222"/>
                    <a:pt x="1" y="215"/>
                    <a:pt x="3" y="210"/>
                  </a:cubicBezTo>
                  <a:cubicBezTo>
                    <a:pt x="5" y="204"/>
                    <a:pt x="8" y="199"/>
                    <a:pt x="12" y="194"/>
                  </a:cubicBezTo>
                  <a:cubicBezTo>
                    <a:pt x="16" y="190"/>
                    <a:pt x="20" y="186"/>
                    <a:pt x="25" y="183"/>
                  </a:cubicBezTo>
                  <a:cubicBezTo>
                    <a:pt x="30" y="180"/>
                    <a:pt x="36" y="178"/>
                    <a:pt x="42" y="177"/>
                  </a:cubicBezTo>
                  <a:cubicBezTo>
                    <a:pt x="44" y="177"/>
                    <a:pt x="46" y="177"/>
                    <a:pt x="48" y="177"/>
                  </a:cubicBezTo>
                  <a:cubicBezTo>
                    <a:pt x="51" y="177"/>
                    <a:pt x="53" y="177"/>
                    <a:pt x="55" y="178"/>
                  </a:cubicBezTo>
                  <a:cubicBezTo>
                    <a:pt x="57" y="178"/>
                    <a:pt x="59" y="179"/>
                    <a:pt x="61" y="179"/>
                  </a:cubicBezTo>
                  <a:cubicBezTo>
                    <a:pt x="62" y="180"/>
                    <a:pt x="64" y="181"/>
                    <a:pt x="66" y="182"/>
                  </a:cubicBezTo>
                  <a:cubicBezTo>
                    <a:pt x="69" y="184"/>
                    <a:pt x="72" y="187"/>
                    <a:pt x="74" y="190"/>
                  </a:cubicBezTo>
                  <a:cubicBezTo>
                    <a:pt x="74" y="128"/>
                    <a:pt x="75" y="66"/>
                    <a:pt x="75" y="4"/>
                  </a:cubicBezTo>
                  <a:cubicBezTo>
                    <a:pt x="75" y="3"/>
                    <a:pt x="75" y="1"/>
                    <a:pt x="75" y="0"/>
                  </a:cubicBezTo>
                  <a:close/>
                </a:path>
              </a:pathLst>
            </a:custGeom>
            <a:solidFill>
              <a:schemeClr val="accent3"/>
            </a:solidFill>
            <a:ln w="38100">
              <a:solidFill>
                <a:schemeClr val="bg1"/>
              </a:solidFill>
              <a:round/>
              <a:headEnd/>
              <a:tailEnd/>
            </a:ln>
          </p:spPr>
          <p:txBody>
            <a:bodyPr lIns="121920" tIns="60960" rIns="121920" bIns="60960"/>
            <a:lstStyle/>
            <a:p>
              <a:pPr eaLnBrk="1" fontAlgn="auto" hangingPunct="1">
                <a:spcBef>
                  <a:spcPts val="0"/>
                </a:spcBef>
                <a:spcAft>
                  <a:spcPts val="0"/>
                </a:spcAft>
                <a:defRPr/>
              </a:pPr>
              <a:endParaRPr lang="en-US" sz="3200">
                <a:latin typeface="+mn-lt"/>
              </a:endParaRPr>
            </a:p>
          </p:txBody>
        </p:sp>
      </p:grpSp>
      <p:grpSp>
        <p:nvGrpSpPr>
          <p:cNvPr id="23561" name="Grup 7">
            <a:extLst>
              <a:ext uri="{FF2B5EF4-FFF2-40B4-BE49-F238E27FC236}">
                <a16:creationId xmlns:a16="http://schemas.microsoft.com/office/drawing/2014/main" id="{8661B55B-19F3-FC7F-8217-B2BF7B6D3899}"/>
              </a:ext>
            </a:extLst>
          </p:cNvPr>
          <p:cNvGrpSpPr>
            <a:grpSpLocks/>
          </p:cNvGrpSpPr>
          <p:nvPr/>
        </p:nvGrpSpPr>
        <p:grpSpPr bwMode="auto">
          <a:xfrm>
            <a:off x="3727450" y="1973263"/>
            <a:ext cx="2322513" cy="2846387"/>
            <a:chOff x="3725321" y="2079986"/>
            <a:chExt cx="2322880" cy="2846137"/>
          </a:xfrm>
        </p:grpSpPr>
        <p:sp>
          <p:nvSpPr>
            <p:cNvPr id="124" name="Freeform 23">
              <a:extLst>
                <a:ext uri="{FF2B5EF4-FFF2-40B4-BE49-F238E27FC236}">
                  <a16:creationId xmlns:a16="http://schemas.microsoft.com/office/drawing/2014/main" id="{2E2A5720-9989-7279-ED12-69A521CEA01E}"/>
                </a:ext>
              </a:extLst>
            </p:cNvPr>
            <p:cNvSpPr>
              <a:spLocks/>
            </p:cNvSpPr>
            <p:nvPr/>
          </p:nvSpPr>
          <p:spPr bwMode="auto">
            <a:xfrm>
              <a:off x="4636690" y="4130856"/>
              <a:ext cx="263567" cy="401602"/>
            </a:xfrm>
            <a:custGeom>
              <a:avLst/>
              <a:gdLst>
                <a:gd name="T0" fmla="*/ 151 w 151"/>
                <a:gd name="T1" fmla="*/ 257 h 257"/>
                <a:gd name="T2" fmla="*/ 0 w 151"/>
                <a:gd name="T3" fmla="*/ 169 h 257"/>
                <a:gd name="T4" fmla="*/ 0 w 151"/>
                <a:gd name="T5" fmla="*/ 0 h 257"/>
                <a:gd name="T6" fmla="*/ 147 w 151"/>
                <a:gd name="T7" fmla="*/ 88 h 257"/>
                <a:gd name="T8" fmla="*/ 151 w 151"/>
                <a:gd name="T9" fmla="*/ 257 h 257"/>
              </a:gdLst>
              <a:ahLst/>
              <a:cxnLst>
                <a:cxn ang="0">
                  <a:pos x="T0" y="T1"/>
                </a:cxn>
                <a:cxn ang="0">
                  <a:pos x="T2" y="T3"/>
                </a:cxn>
                <a:cxn ang="0">
                  <a:pos x="T4" y="T5"/>
                </a:cxn>
                <a:cxn ang="0">
                  <a:pos x="T6" y="T7"/>
                </a:cxn>
                <a:cxn ang="0">
                  <a:pos x="T8" y="T9"/>
                </a:cxn>
              </a:cxnLst>
              <a:rect l="0" t="0" r="r" b="b"/>
              <a:pathLst>
                <a:path w="151" h="257">
                  <a:moveTo>
                    <a:pt x="151" y="257"/>
                  </a:moveTo>
                  <a:lnTo>
                    <a:pt x="0" y="169"/>
                  </a:lnTo>
                  <a:lnTo>
                    <a:pt x="0" y="0"/>
                  </a:lnTo>
                  <a:lnTo>
                    <a:pt x="147" y="88"/>
                  </a:lnTo>
                  <a:lnTo>
                    <a:pt x="151" y="257"/>
                  </a:lnTo>
                  <a:close/>
                </a:path>
              </a:pathLst>
            </a:custGeom>
            <a:solidFill>
              <a:schemeClr val="accent4">
                <a:lumMod val="75000"/>
              </a:schemeClr>
            </a:solidFill>
            <a:ln>
              <a:noFill/>
            </a:ln>
          </p:spPr>
          <p:txBody>
            <a:bodyPr lIns="121920" tIns="60960" rIns="121920" bIns="60960"/>
            <a:lstStyle/>
            <a:p>
              <a:pPr eaLnBrk="1" fontAlgn="auto" hangingPunct="1">
                <a:spcBef>
                  <a:spcPts val="0"/>
                </a:spcBef>
                <a:spcAft>
                  <a:spcPts val="0"/>
                </a:spcAft>
                <a:defRPr/>
              </a:pPr>
              <a:endParaRPr lang="en-US" sz="3200">
                <a:latin typeface="+mn-lt"/>
              </a:endParaRPr>
            </a:p>
          </p:txBody>
        </p:sp>
        <p:sp>
          <p:nvSpPr>
            <p:cNvPr id="125" name="Freeform 24">
              <a:extLst>
                <a:ext uri="{FF2B5EF4-FFF2-40B4-BE49-F238E27FC236}">
                  <a16:creationId xmlns:a16="http://schemas.microsoft.com/office/drawing/2014/main" id="{89476B3B-5906-98D6-672E-67E2A312AA57}"/>
                </a:ext>
              </a:extLst>
            </p:cNvPr>
            <p:cNvSpPr>
              <a:spLocks/>
            </p:cNvSpPr>
            <p:nvPr/>
          </p:nvSpPr>
          <p:spPr bwMode="auto">
            <a:xfrm>
              <a:off x="5257501" y="2079986"/>
              <a:ext cx="790700" cy="790506"/>
            </a:xfrm>
            <a:custGeom>
              <a:avLst/>
              <a:gdLst>
                <a:gd name="T0" fmla="*/ 151 w 522"/>
                <a:gd name="T1" fmla="*/ 496 h 496"/>
                <a:gd name="T2" fmla="*/ 0 w 522"/>
                <a:gd name="T3" fmla="*/ 415 h 496"/>
                <a:gd name="T4" fmla="*/ 367 w 522"/>
                <a:gd name="T5" fmla="*/ 0 h 496"/>
                <a:gd name="T6" fmla="*/ 522 w 522"/>
                <a:gd name="T7" fmla="*/ 55 h 496"/>
                <a:gd name="T8" fmla="*/ 151 w 522"/>
                <a:gd name="T9" fmla="*/ 496 h 496"/>
              </a:gdLst>
              <a:ahLst/>
              <a:cxnLst>
                <a:cxn ang="0">
                  <a:pos x="T0" y="T1"/>
                </a:cxn>
                <a:cxn ang="0">
                  <a:pos x="T2" y="T3"/>
                </a:cxn>
                <a:cxn ang="0">
                  <a:pos x="T4" y="T5"/>
                </a:cxn>
                <a:cxn ang="0">
                  <a:pos x="T6" y="T7"/>
                </a:cxn>
                <a:cxn ang="0">
                  <a:pos x="T8" y="T9"/>
                </a:cxn>
              </a:cxnLst>
              <a:rect l="0" t="0" r="r" b="b"/>
              <a:pathLst>
                <a:path w="522" h="496">
                  <a:moveTo>
                    <a:pt x="151" y="496"/>
                  </a:moveTo>
                  <a:lnTo>
                    <a:pt x="0" y="415"/>
                  </a:lnTo>
                  <a:lnTo>
                    <a:pt x="367" y="0"/>
                  </a:lnTo>
                  <a:lnTo>
                    <a:pt x="522" y="55"/>
                  </a:lnTo>
                  <a:lnTo>
                    <a:pt x="151" y="496"/>
                  </a:lnTo>
                  <a:close/>
                </a:path>
              </a:pathLst>
            </a:custGeom>
            <a:solidFill>
              <a:schemeClr val="accent4">
                <a:lumMod val="75000"/>
              </a:schemeClr>
            </a:solidFill>
            <a:ln>
              <a:noFill/>
            </a:ln>
          </p:spPr>
          <p:txBody>
            <a:bodyPr lIns="121920" tIns="60960" rIns="121920" bIns="60960"/>
            <a:lstStyle/>
            <a:p>
              <a:pPr eaLnBrk="1" fontAlgn="auto" hangingPunct="1">
                <a:spcBef>
                  <a:spcPts val="0"/>
                </a:spcBef>
                <a:spcAft>
                  <a:spcPts val="0"/>
                </a:spcAft>
                <a:defRPr/>
              </a:pPr>
              <a:endParaRPr lang="en-US" sz="3200">
                <a:latin typeface="+mn-lt"/>
              </a:endParaRPr>
            </a:p>
          </p:txBody>
        </p:sp>
        <p:sp>
          <p:nvSpPr>
            <p:cNvPr id="126" name="Freeform 25">
              <a:extLst>
                <a:ext uri="{FF2B5EF4-FFF2-40B4-BE49-F238E27FC236}">
                  <a16:creationId xmlns:a16="http://schemas.microsoft.com/office/drawing/2014/main" id="{56B3B791-A212-E69B-BCC4-2C7476AF4AB1}"/>
                </a:ext>
              </a:extLst>
            </p:cNvPr>
            <p:cNvSpPr>
              <a:spLocks/>
            </p:cNvSpPr>
            <p:nvPr/>
          </p:nvSpPr>
          <p:spPr bwMode="auto">
            <a:xfrm>
              <a:off x="3725321" y="3184789"/>
              <a:ext cx="1374992" cy="1180996"/>
            </a:xfrm>
            <a:custGeom>
              <a:avLst/>
              <a:gdLst>
                <a:gd name="T0" fmla="*/ 129 w 691"/>
                <a:gd name="T1" fmla="*/ 746 h 746"/>
                <a:gd name="T2" fmla="*/ 0 w 691"/>
                <a:gd name="T3" fmla="*/ 658 h 746"/>
                <a:gd name="T4" fmla="*/ 540 w 691"/>
                <a:gd name="T5" fmla="*/ 0 h 746"/>
                <a:gd name="T6" fmla="*/ 691 w 691"/>
                <a:gd name="T7" fmla="*/ 81 h 746"/>
                <a:gd name="T8" fmla="*/ 129 w 691"/>
                <a:gd name="T9" fmla="*/ 746 h 746"/>
              </a:gdLst>
              <a:ahLst/>
              <a:cxnLst>
                <a:cxn ang="0">
                  <a:pos x="T0" y="T1"/>
                </a:cxn>
                <a:cxn ang="0">
                  <a:pos x="T2" y="T3"/>
                </a:cxn>
                <a:cxn ang="0">
                  <a:pos x="T4" y="T5"/>
                </a:cxn>
                <a:cxn ang="0">
                  <a:pos x="T6" y="T7"/>
                </a:cxn>
                <a:cxn ang="0">
                  <a:pos x="T8" y="T9"/>
                </a:cxn>
              </a:cxnLst>
              <a:rect l="0" t="0" r="r" b="b"/>
              <a:pathLst>
                <a:path w="691" h="746">
                  <a:moveTo>
                    <a:pt x="129" y="746"/>
                  </a:moveTo>
                  <a:lnTo>
                    <a:pt x="0" y="658"/>
                  </a:lnTo>
                  <a:lnTo>
                    <a:pt x="540" y="0"/>
                  </a:lnTo>
                  <a:lnTo>
                    <a:pt x="691" y="81"/>
                  </a:lnTo>
                  <a:lnTo>
                    <a:pt x="129" y="746"/>
                  </a:lnTo>
                  <a:close/>
                </a:path>
              </a:pathLst>
            </a:custGeom>
            <a:solidFill>
              <a:schemeClr val="accent4">
                <a:lumMod val="75000"/>
              </a:schemeClr>
            </a:solidFill>
            <a:ln>
              <a:noFill/>
            </a:ln>
          </p:spPr>
          <p:txBody>
            <a:bodyPr lIns="121920" tIns="60960" rIns="121920" bIns="60960"/>
            <a:lstStyle/>
            <a:p>
              <a:pPr eaLnBrk="1" fontAlgn="auto" hangingPunct="1">
                <a:spcBef>
                  <a:spcPts val="0"/>
                </a:spcBef>
                <a:spcAft>
                  <a:spcPts val="0"/>
                </a:spcAft>
                <a:defRPr/>
              </a:pPr>
              <a:endParaRPr lang="en-US" sz="3200">
                <a:latin typeface="+mn-lt"/>
              </a:endParaRPr>
            </a:p>
          </p:txBody>
        </p:sp>
        <p:sp>
          <p:nvSpPr>
            <p:cNvPr id="127" name="Freeform 26">
              <a:extLst>
                <a:ext uri="{FF2B5EF4-FFF2-40B4-BE49-F238E27FC236}">
                  <a16:creationId xmlns:a16="http://schemas.microsoft.com/office/drawing/2014/main" id="{496AB82B-C1EC-F90B-E4F8-AB6AEE712989}"/>
                </a:ext>
              </a:extLst>
            </p:cNvPr>
            <p:cNvSpPr>
              <a:spLocks/>
            </p:cNvSpPr>
            <p:nvPr/>
          </p:nvSpPr>
          <p:spPr bwMode="auto">
            <a:xfrm>
              <a:off x="4768474" y="2459365"/>
              <a:ext cx="309611" cy="868287"/>
            </a:xfrm>
            <a:custGeom>
              <a:avLst/>
              <a:gdLst>
                <a:gd name="T0" fmla="*/ 154 w 154"/>
                <a:gd name="T1" fmla="*/ 558 h 558"/>
                <a:gd name="T2" fmla="*/ 3 w 154"/>
                <a:gd name="T3" fmla="*/ 477 h 558"/>
                <a:gd name="T4" fmla="*/ 0 w 154"/>
                <a:gd name="T5" fmla="*/ 0 h 558"/>
                <a:gd name="T6" fmla="*/ 150 w 154"/>
                <a:gd name="T7" fmla="*/ 58 h 558"/>
                <a:gd name="T8" fmla="*/ 154 w 154"/>
                <a:gd name="T9" fmla="*/ 558 h 558"/>
              </a:gdLst>
              <a:ahLst/>
              <a:cxnLst>
                <a:cxn ang="0">
                  <a:pos x="T0" y="T1"/>
                </a:cxn>
                <a:cxn ang="0">
                  <a:pos x="T2" y="T3"/>
                </a:cxn>
                <a:cxn ang="0">
                  <a:pos x="T4" y="T5"/>
                </a:cxn>
                <a:cxn ang="0">
                  <a:pos x="T6" y="T7"/>
                </a:cxn>
                <a:cxn ang="0">
                  <a:pos x="T8" y="T9"/>
                </a:cxn>
              </a:cxnLst>
              <a:rect l="0" t="0" r="r" b="b"/>
              <a:pathLst>
                <a:path w="154" h="558">
                  <a:moveTo>
                    <a:pt x="154" y="558"/>
                  </a:moveTo>
                  <a:lnTo>
                    <a:pt x="3" y="477"/>
                  </a:lnTo>
                  <a:lnTo>
                    <a:pt x="0" y="0"/>
                  </a:lnTo>
                  <a:lnTo>
                    <a:pt x="150" y="58"/>
                  </a:lnTo>
                  <a:lnTo>
                    <a:pt x="154" y="558"/>
                  </a:lnTo>
                  <a:close/>
                </a:path>
              </a:pathLst>
            </a:custGeom>
            <a:solidFill>
              <a:schemeClr val="accent4">
                <a:lumMod val="75000"/>
              </a:schemeClr>
            </a:solidFill>
            <a:ln>
              <a:noFill/>
            </a:ln>
          </p:spPr>
          <p:txBody>
            <a:bodyPr lIns="121920" tIns="60960" rIns="121920" bIns="60960"/>
            <a:lstStyle/>
            <a:p>
              <a:pPr eaLnBrk="1" fontAlgn="auto" hangingPunct="1">
                <a:spcBef>
                  <a:spcPts val="0"/>
                </a:spcBef>
                <a:spcAft>
                  <a:spcPts val="0"/>
                </a:spcAft>
                <a:defRPr/>
              </a:pPr>
              <a:endParaRPr lang="en-US" sz="3200">
                <a:latin typeface="+mn-lt"/>
              </a:endParaRPr>
            </a:p>
          </p:txBody>
        </p:sp>
        <p:sp>
          <p:nvSpPr>
            <p:cNvPr id="128" name="Freeform 27">
              <a:extLst>
                <a:ext uri="{FF2B5EF4-FFF2-40B4-BE49-F238E27FC236}">
                  <a16:creationId xmlns:a16="http://schemas.microsoft.com/office/drawing/2014/main" id="{684C8B23-0699-F977-04DE-FD3E8857C6E1}"/>
                </a:ext>
              </a:extLst>
            </p:cNvPr>
            <p:cNvSpPr>
              <a:spLocks/>
            </p:cNvSpPr>
            <p:nvPr/>
          </p:nvSpPr>
          <p:spPr bwMode="auto">
            <a:xfrm>
              <a:off x="4768474" y="2406982"/>
              <a:ext cx="622398" cy="142862"/>
            </a:xfrm>
            <a:custGeom>
              <a:avLst/>
              <a:gdLst>
                <a:gd name="T0" fmla="*/ 150 w 408"/>
                <a:gd name="T1" fmla="*/ 91 h 91"/>
                <a:gd name="T2" fmla="*/ 0 w 408"/>
                <a:gd name="T3" fmla="*/ 33 h 91"/>
                <a:gd name="T4" fmla="*/ 253 w 408"/>
                <a:gd name="T5" fmla="*/ 0 h 91"/>
                <a:gd name="T6" fmla="*/ 408 w 408"/>
                <a:gd name="T7" fmla="*/ 58 h 91"/>
                <a:gd name="T8" fmla="*/ 150 w 408"/>
                <a:gd name="T9" fmla="*/ 91 h 91"/>
              </a:gdLst>
              <a:ahLst/>
              <a:cxnLst>
                <a:cxn ang="0">
                  <a:pos x="T0" y="T1"/>
                </a:cxn>
                <a:cxn ang="0">
                  <a:pos x="T2" y="T3"/>
                </a:cxn>
                <a:cxn ang="0">
                  <a:pos x="T4" y="T5"/>
                </a:cxn>
                <a:cxn ang="0">
                  <a:pos x="T6" y="T7"/>
                </a:cxn>
                <a:cxn ang="0">
                  <a:pos x="T8" y="T9"/>
                </a:cxn>
              </a:cxnLst>
              <a:rect l="0" t="0" r="r" b="b"/>
              <a:pathLst>
                <a:path w="408" h="91">
                  <a:moveTo>
                    <a:pt x="150" y="91"/>
                  </a:moveTo>
                  <a:lnTo>
                    <a:pt x="0" y="33"/>
                  </a:lnTo>
                  <a:lnTo>
                    <a:pt x="253" y="0"/>
                  </a:lnTo>
                  <a:lnTo>
                    <a:pt x="408" y="58"/>
                  </a:lnTo>
                  <a:lnTo>
                    <a:pt x="150" y="91"/>
                  </a:lnTo>
                  <a:close/>
                </a:path>
              </a:pathLst>
            </a:custGeom>
            <a:solidFill>
              <a:schemeClr val="accent4"/>
            </a:solidFill>
            <a:ln>
              <a:noFill/>
            </a:ln>
          </p:spPr>
          <p:txBody>
            <a:bodyPr lIns="121920" tIns="60960" rIns="121920" bIns="60960"/>
            <a:lstStyle/>
            <a:p>
              <a:pPr eaLnBrk="1" fontAlgn="auto" hangingPunct="1">
                <a:spcBef>
                  <a:spcPts val="0"/>
                </a:spcBef>
                <a:spcAft>
                  <a:spcPts val="0"/>
                </a:spcAft>
                <a:defRPr/>
              </a:pPr>
              <a:endParaRPr lang="en-US" sz="3200">
                <a:latin typeface="+mn-lt"/>
              </a:endParaRPr>
            </a:p>
          </p:txBody>
        </p:sp>
        <p:sp>
          <p:nvSpPr>
            <p:cNvPr id="132" name="Freeform 33">
              <a:extLst>
                <a:ext uri="{FF2B5EF4-FFF2-40B4-BE49-F238E27FC236}">
                  <a16:creationId xmlns:a16="http://schemas.microsoft.com/office/drawing/2014/main" id="{0172CF24-50FF-6F56-DF16-8C6597ABAB27}"/>
                </a:ext>
              </a:extLst>
            </p:cNvPr>
            <p:cNvSpPr>
              <a:spLocks/>
            </p:cNvSpPr>
            <p:nvPr/>
          </p:nvSpPr>
          <p:spPr bwMode="auto">
            <a:xfrm>
              <a:off x="3966659" y="2172053"/>
              <a:ext cx="2059313" cy="2754070"/>
            </a:xfrm>
            <a:custGeom>
              <a:avLst/>
              <a:gdLst>
                <a:gd name="T0" fmla="*/ 323 w 323"/>
                <a:gd name="T1" fmla="*/ 0 h 481"/>
                <a:gd name="T2" fmla="*/ 323 w 323"/>
                <a:gd name="T3" fmla="*/ 171 h 481"/>
                <a:gd name="T4" fmla="*/ 317 w 323"/>
                <a:gd name="T5" fmla="*/ 168 h 481"/>
                <a:gd name="T6" fmla="*/ 311 w 323"/>
                <a:gd name="T7" fmla="*/ 167 h 481"/>
                <a:gd name="T8" fmla="*/ 305 w 323"/>
                <a:gd name="T9" fmla="*/ 167 h 481"/>
                <a:gd name="T10" fmla="*/ 299 w 323"/>
                <a:gd name="T11" fmla="*/ 167 h 481"/>
                <a:gd name="T12" fmla="*/ 279 w 323"/>
                <a:gd name="T13" fmla="*/ 174 h 481"/>
                <a:gd name="T14" fmla="*/ 263 w 323"/>
                <a:gd name="T15" fmla="*/ 188 h 481"/>
                <a:gd name="T16" fmla="*/ 252 w 323"/>
                <a:gd name="T17" fmla="*/ 206 h 481"/>
                <a:gd name="T18" fmla="*/ 248 w 323"/>
                <a:gd name="T19" fmla="*/ 228 h 481"/>
                <a:gd name="T20" fmla="*/ 252 w 323"/>
                <a:gd name="T21" fmla="*/ 248 h 481"/>
                <a:gd name="T22" fmla="*/ 263 w 323"/>
                <a:gd name="T23" fmla="*/ 264 h 481"/>
                <a:gd name="T24" fmla="*/ 279 w 323"/>
                <a:gd name="T25" fmla="*/ 274 h 481"/>
                <a:gd name="T26" fmla="*/ 299 w 323"/>
                <a:gd name="T27" fmla="*/ 275 h 481"/>
                <a:gd name="T28" fmla="*/ 323 w 323"/>
                <a:gd name="T29" fmla="*/ 265 h 481"/>
                <a:gd name="T30" fmla="*/ 322 w 323"/>
                <a:gd name="T31" fmla="*/ 383 h 481"/>
                <a:gd name="T32" fmla="*/ 244 w 323"/>
                <a:gd name="T33" fmla="*/ 394 h 481"/>
                <a:gd name="T34" fmla="*/ 254 w 323"/>
                <a:gd name="T35" fmla="*/ 401 h 481"/>
                <a:gd name="T36" fmla="*/ 259 w 323"/>
                <a:gd name="T37" fmla="*/ 407 h 481"/>
                <a:gd name="T38" fmla="*/ 262 w 323"/>
                <a:gd name="T39" fmla="*/ 414 h 481"/>
                <a:gd name="T40" fmla="*/ 264 w 323"/>
                <a:gd name="T41" fmla="*/ 421 h 481"/>
                <a:gd name="T42" fmla="*/ 265 w 323"/>
                <a:gd name="T43" fmla="*/ 429 h 481"/>
                <a:gd name="T44" fmla="*/ 262 w 323"/>
                <a:gd name="T45" fmla="*/ 447 h 481"/>
                <a:gd name="T46" fmla="*/ 253 w 323"/>
                <a:gd name="T47" fmla="*/ 463 h 481"/>
                <a:gd name="T48" fmla="*/ 239 w 323"/>
                <a:gd name="T49" fmla="*/ 474 h 481"/>
                <a:gd name="T50" fmla="*/ 223 w 323"/>
                <a:gd name="T51" fmla="*/ 480 h 481"/>
                <a:gd name="T52" fmla="*/ 207 w 323"/>
                <a:gd name="T53" fmla="*/ 479 h 481"/>
                <a:gd name="T54" fmla="*/ 194 w 323"/>
                <a:gd name="T55" fmla="*/ 471 h 481"/>
                <a:gd name="T56" fmla="*/ 185 w 323"/>
                <a:gd name="T57" fmla="*/ 459 h 481"/>
                <a:gd name="T58" fmla="*/ 181 w 323"/>
                <a:gd name="T59" fmla="*/ 442 h 481"/>
                <a:gd name="T60" fmla="*/ 182 w 323"/>
                <a:gd name="T61" fmla="*/ 433 h 481"/>
                <a:gd name="T62" fmla="*/ 184 w 323"/>
                <a:gd name="T63" fmla="*/ 425 h 481"/>
                <a:gd name="T64" fmla="*/ 187 w 323"/>
                <a:gd name="T65" fmla="*/ 418 h 481"/>
                <a:gd name="T66" fmla="*/ 192 w 323"/>
                <a:gd name="T67" fmla="*/ 411 h 481"/>
                <a:gd name="T68" fmla="*/ 202 w 323"/>
                <a:gd name="T69" fmla="*/ 400 h 481"/>
                <a:gd name="T70" fmla="*/ 123 w 323"/>
                <a:gd name="T71" fmla="*/ 412 h 481"/>
                <a:gd name="T72" fmla="*/ 122 w 323"/>
                <a:gd name="T73" fmla="*/ 366 h 481"/>
                <a:gd name="T74" fmla="*/ 0 w 323"/>
                <a:gd name="T75" fmla="*/ 383 h 481"/>
                <a:gd name="T76" fmla="*/ 153 w 323"/>
                <a:gd name="T77" fmla="*/ 202 h 481"/>
                <a:gd name="T78" fmla="*/ 152 w 323"/>
                <a:gd name="T79" fmla="*/ 66 h 481"/>
                <a:gd name="T80" fmla="*/ 222 w 323"/>
                <a:gd name="T81" fmla="*/ 57 h 481"/>
                <a:gd name="T82" fmla="*/ 222 w 323"/>
                <a:gd name="T83" fmla="*/ 120 h 481"/>
                <a:gd name="T84" fmla="*/ 323 w 323"/>
                <a:gd name="T85"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 h="481">
                  <a:moveTo>
                    <a:pt x="323" y="0"/>
                  </a:moveTo>
                  <a:cubicBezTo>
                    <a:pt x="323" y="171"/>
                    <a:pt x="323" y="171"/>
                    <a:pt x="323" y="171"/>
                  </a:cubicBezTo>
                  <a:cubicBezTo>
                    <a:pt x="321" y="170"/>
                    <a:pt x="319" y="169"/>
                    <a:pt x="317" y="168"/>
                  </a:cubicBezTo>
                  <a:cubicBezTo>
                    <a:pt x="315" y="168"/>
                    <a:pt x="313" y="167"/>
                    <a:pt x="311" y="167"/>
                  </a:cubicBezTo>
                  <a:cubicBezTo>
                    <a:pt x="309" y="167"/>
                    <a:pt x="307" y="167"/>
                    <a:pt x="305" y="167"/>
                  </a:cubicBezTo>
                  <a:cubicBezTo>
                    <a:pt x="303" y="167"/>
                    <a:pt x="301" y="167"/>
                    <a:pt x="299" y="167"/>
                  </a:cubicBezTo>
                  <a:cubicBezTo>
                    <a:pt x="292" y="168"/>
                    <a:pt x="285" y="170"/>
                    <a:pt x="279" y="174"/>
                  </a:cubicBezTo>
                  <a:cubicBezTo>
                    <a:pt x="273" y="177"/>
                    <a:pt x="268" y="182"/>
                    <a:pt x="263" y="188"/>
                  </a:cubicBezTo>
                  <a:cubicBezTo>
                    <a:pt x="259" y="193"/>
                    <a:pt x="255" y="199"/>
                    <a:pt x="252" y="206"/>
                  </a:cubicBezTo>
                  <a:cubicBezTo>
                    <a:pt x="250" y="213"/>
                    <a:pt x="248" y="220"/>
                    <a:pt x="248" y="228"/>
                  </a:cubicBezTo>
                  <a:cubicBezTo>
                    <a:pt x="248" y="235"/>
                    <a:pt x="250" y="242"/>
                    <a:pt x="252" y="248"/>
                  </a:cubicBezTo>
                  <a:cubicBezTo>
                    <a:pt x="255" y="255"/>
                    <a:pt x="259" y="260"/>
                    <a:pt x="263" y="264"/>
                  </a:cubicBezTo>
                  <a:cubicBezTo>
                    <a:pt x="268" y="268"/>
                    <a:pt x="273" y="272"/>
                    <a:pt x="279" y="274"/>
                  </a:cubicBezTo>
                  <a:cubicBezTo>
                    <a:pt x="285" y="275"/>
                    <a:pt x="292" y="276"/>
                    <a:pt x="299" y="275"/>
                  </a:cubicBezTo>
                  <a:cubicBezTo>
                    <a:pt x="307" y="274"/>
                    <a:pt x="316" y="270"/>
                    <a:pt x="323" y="265"/>
                  </a:cubicBezTo>
                  <a:cubicBezTo>
                    <a:pt x="322" y="383"/>
                    <a:pt x="322" y="383"/>
                    <a:pt x="322" y="383"/>
                  </a:cubicBezTo>
                  <a:cubicBezTo>
                    <a:pt x="296" y="386"/>
                    <a:pt x="270" y="390"/>
                    <a:pt x="244" y="394"/>
                  </a:cubicBezTo>
                  <a:cubicBezTo>
                    <a:pt x="248" y="396"/>
                    <a:pt x="252" y="398"/>
                    <a:pt x="254" y="401"/>
                  </a:cubicBezTo>
                  <a:cubicBezTo>
                    <a:pt x="256" y="403"/>
                    <a:pt x="258" y="405"/>
                    <a:pt x="259" y="407"/>
                  </a:cubicBezTo>
                  <a:cubicBezTo>
                    <a:pt x="260" y="409"/>
                    <a:pt x="261" y="411"/>
                    <a:pt x="262" y="414"/>
                  </a:cubicBezTo>
                  <a:cubicBezTo>
                    <a:pt x="263" y="416"/>
                    <a:pt x="264" y="419"/>
                    <a:pt x="264" y="421"/>
                  </a:cubicBezTo>
                  <a:cubicBezTo>
                    <a:pt x="265" y="424"/>
                    <a:pt x="265" y="427"/>
                    <a:pt x="265" y="429"/>
                  </a:cubicBezTo>
                  <a:cubicBezTo>
                    <a:pt x="265" y="435"/>
                    <a:pt x="264" y="441"/>
                    <a:pt x="262" y="447"/>
                  </a:cubicBezTo>
                  <a:cubicBezTo>
                    <a:pt x="259" y="453"/>
                    <a:pt x="256" y="458"/>
                    <a:pt x="253" y="463"/>
                  </a:cubicBezTo>
                  <a:cubicBezTo>
                    <a:pt x="249" y="467"/>
                    <a:pt x="244" y="471"/>
                    <a:pt x="239" y="474"/>
                  </a:cubicBezTo>
                  <a:cubicBezTo>
                    <a:pt x="234" y="477"/>
                    <a:pt x="229" y="479"/>
                    <a:pt x="223" y="480"/>
                  </a:cubicBezTo>
                  <a:cubicBezTo>
                    <a:pt x="218" y="481"/>
                    <a:pt x="212" y="480"/>
                    <a:pt x="207" y="479"/>
                  </a:cubicBezTo>
                  <a:cubicBezTo>
                    <a:pt x="202" y="477"/>
                    <a:pt x="198" y="475"/>
                    <a:pt x="194" y="471"/>
                  </a:cubicBezTo>
                  <a:cubicBezTo>
                    <a:pt x="190" y="468"/>
                    <a:pt x="187" y="464"/>
                    <a:pt x="185" y="459"/>
                  </a:cubicBezTo>
                  <a:cubicBezTo>
                    <a:pt x="183" y="454"/>
                    <a:pt x="181" y="448"/>
                    <a:pt x="181" y="442"/>
                  </a:cubicBezTo>
                  <a:cubicBezTo>
                    <a:pt x="181" y="439"/>
                    <a:pt x="182" y="436"/>
                    <a:pt x="182" y="433"/>
                  </a:cubicBezTo>
                  <a:cubicBezTo>
                    <a:pt x="183" y="431"/>
                    <a:pt x="183" y="428"/>
                    <a:pt x="184" y="425"/>
                  </a:cubicBezTo>
                  <a:cubicBezTo>
                    <a:pt x="185" y="423"/>
                    <a:pt x="186" y="420"/>
                    <a:pt x="187" y="418"/>
                  </a:cubicBezTo>
                  <a:cubicBezTo>
                    <a:pt x="189" y="415"/>
                    <a:pt x="190" y="413"/>
                    <a:pt x="192" y="411"/>
                  </a:cubicBezTo>
                  <a:cubicBezTo>
                    <a:pt x="195" y="407"/>
                    <a:pt x="198" y="403"/>
                    <a:pt x="202" y="400"/>
                  </a:cubicBezTo>
                  <a:cubicBezTo>
                    <a:pt x="176" y="404"/>
                    <a:pt x="149" y="408"/>
                    <a:pt x="123" y="412"/>
                  </a:cubicBezTo>
                  <a:cubicBezTo>
                    <a:pt x="122" y="366"/>
                    <a:pt x="122" y="366"/>
                    <a:pt x="122" y="366"/>
                  </a:cubicBezTo>
                  <a:cubicBezTo>
                    <a:pt x="0" y="383"/>
                    <a:pt x="0" y="383"/>
                    <a:pt x="0" y="383"/>
                  </a:cubicBezTo>
                  <a:cubicBezTo>
                    <a:pt x="153" y="202"/>
                    <a:pt x="153" y="202"/>
                    <a:pt x="153" y="202"/>
                  </a:cubicBezTo>
                  <a:cubicBezTo>
                    <a:pt x="152" y="66"/>
                    <a:pt x="152" y="66"/>
                    <a:pt x="152" y="66"/>
                  </a:cubicBezTo>
                  <a:cubicBezTo>
                    <a:pt x="222" y="57"/>
                    <a:pt x="222" y="57"/>
                    <a:pt x="222" y="57"/>
                  </a:cubicBezTo>
                  <a:cubicBezTo>
                    <a:pt x="222" y="120"/>
                    <a:pt x="222" y="120"/>
                    <a:pt x="222" y="120"/>
                  </a:cubicBezTo>
                  <a:lnTo>
                    <a:pt x="323" y="0"/>
                  </a:lnTo>
                  <a:close/>
                </a:path>
              </a:pathLst>
            </a:custGeom>
            <a:solidFill>
              <a:schemeClr val="accent4"/>
            </a:solidFill>
            <a:ln w="38100">
              <a:solidFill>
                <a:schemeClr val="bg1"/>
              </a:solidFill>
              <a:round/>
              <a:headEnd/>
              <a:tailEnd/>
            </a:ln>
          </p:spPr>
          <p:txBody>
            <a:bodyPr lIns="121920" tIns="60960" rIns="121920" bIns="60960"/>
            <a:lstStyle/>
            <a:p>
              <a:pPr eaLnBrk="1" fontAlgn="auto" hangingPunct="1">
                <a:spcBef>
                  <a:spcPts val="0"/>
                </a:spcBef>
                <a:spcAft>
                  <a:spcPts val="0"/>
                </a:spcAft>
                <a:defRPr/>
              </a:pPr>
              <a:endParaRPr lang="en-US" sz="3200">
                <a:latin typeface="+mn-lt"/>
              </a:endParaRPr>
            </a:p>
          </p:txBody>
        </p:sp>
      </p:grpSp>
      <p:sp>
        <p:nvSpPr>
          <p:cNvPr id="23562" name="TextBox 39">
            <a:extLst>
              <a:ext uri="{FF2B5EF4-FFF2-40B4-BE49-F238E27FC236}">
                <a16:creationId xmlns:a16="http://schemas.microsoft.com/office/drawing/2014/main" id="{D7E48221-ABCC-71F6-4562-035D820F9BE3}"/>
              </a:ext>
            </a:extLst>
          </p:cNvPr>
          <p:cNvSpPr txBox="1">
            <a:spLocks noChangeArrowheads="1"/>
          </p:cNvSpPr>
          <p:nvPr/>
        </p:nvSpPr>
        <p:spPr bwMode="auto">
          <a:xfrm>
            <a:off x="7910513" y="4727575"/>
            <a:ext cx="3048000"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r>
              <a:rPr lang="tr-TR" altLang="tr-TR" b="1">
                <a:solidFill>
                  <a:srgbClr val="AD119B"/>
                </a:solidFill>
                <a:latin typeface="Open Sans" panose="020B0606030504020204" pitchFamily="34" charset="0"/>
                <a:cs typeface="Open Sans" panose="020B0606030504020204" pitchFamily="34" charset="0"/>
              </a:rPr>
              <a:t>ÖZEL PROJELER / DANIŞMANLIK</a:t>
            </a:r>
            <a:endParaRPr lang="id-ID" altLang="tr-TR" b="1">
              <a:solidFill>
                <a:srgbClr val="AD119B"/>
              </a:solidFill>
              <a:latin typeface="Open Sans" panose="020B0606030504020204" pitchFamily="34" charset="0"/>
              <a:cs typeface="Open Sans" panose="020B0606030504020204" pitchFamily="34" charset="0"/>
            </a:endParaRPr>
          </a:p>
        </p:txBody>
      </p:sp>
      <p:sp>
        <p:nvSpPr>
          <p:cNvPr id="23563" name="TextBox 39">
            <a:extLst>
              <a:ext uri="{FF2B5EF4-FFF2-40B4-BE49-F238E27FC236}">
                <a16:creationId xmlns:a16="http://schemas.microsoft.com/office/drawing/2014/main" id="{A5B14A74-07FB-B78A-1F43-6BD4D5E7AC10}"/>
              </a:ext>
            </a:extLst>
          </p:cNvPr>
          <p:cNvSpPr txBox="1">
            <a:spLocks noChangeArrowheads="1"/>
          </p:cNvSpPr>
          <p:nvPr/>
        </p:nvSpPr>
        <p:spPr bwMode="auto">
          <a:xfrm>
            <a:off x="7816850" y="2419350"/>
            <a:ext cx="4165600"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r>
              <a:rPr lang="tr-TR" altLang="tr-TR" b="1">
                <a:solidFill>
                  <a:srgbClr val="AD119B"/>
                </a:solidFill>
                <a:latin typeface="Open Sans" panose="020B0606030504020204" pitchFamily="34" charset="0"/>
                <a:cs typeface="Open Sans" panose="020B0606030504020204" pitchFamily="34" charset="0"/>
              </a:rPr>
              <a:t>MAKİNE ve TEÇHİZAT DEĞERLEME</a:t>
            </a:r>
            <a:endParaRPr lang="id-ID" altLang="tr-TR" b="1">
              <a:solidFill>
                <a:srgbClr val="AD119B"/>
              </a:solidFill>
              <a:latin typeface="Open Sans" panose="020B0606030504020204" pitchFamily="34" charset="0"/>
              <a:cs typeface="Open Sans" panose="020B0606030504020204" pitchFamily="34" charset="0"/>
            </a:endParaRPr>
          </a:p>
        </p:txBody>
      </p:sp>
      <p:sp>
        <p:nvSpPr>
          <p:cNvPr id="23564" name="TextBox 39">
            <a:extLst>
              <a:ext uri="{FF2B5EF4-FFF2-40B4-BE49-F238E27FC236}">
                <a16:creationId xmlns:a16="http://schemas.microsoft.com/office/drawing/2014/main" id="{EA455BA0-7409-31DC-7827-E3259407C872}"/>
              </a:ext>
            </a:extLst>
          </p:cNvPr>
          <p:cNvSpPr txBox="1">
            <a:spLocks noChangeArrowheads="1"/>
          </p:cNvSpPr>
          <p:nvPr/>
        </p:nvSpPr>
        <p:spPr bwMode="auto">
          <a:xfrm>
            <a:off x="784225" y="2524125"/>
            <a:ext cx="3455988"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r" eaLnBrk="1" hangingPunct="1">
              <a:lnSpc>
                <a:spcPct val="100000"/>
              </a:lnSpc>
              <a:spcBef>
                <a:spcPct val="0"/>
              </a:spcBef>
              <a:buFontTx/>
              <a:buNone/>
            </a:pPr>
            <a:r>
              <a:rPr lang="tr-TR" altLang="tr-TR" b="1">
                <a:solidFill>
                  <a:srgbClr val="AD119B"/>
                </a:solidFill>
                <a:latin typeface="Open Sans" panose="020B0606030504020204" pitchFamily="34" charset="0"/>
                <a:cs typeface="Open Sans" panose="020B0606030504020204" pitchFamily="34" charset="0"/>
              </a:rPr>
              <a:t>GAYRİMENKUL DEĞERLEME</a:t>
            </a:r>
            <a:endParaRPr lang="id-ID" altLang="tr-TR" b="1">
              <a:solidFill>
                <a:srgbClr val="AD119B"/>
              </a:solidFill>
              <a:latin typeface="Open Sans" panose="020B0606030504020204" pitchFamily="34" charset="0"/>
              <a:cs typeface="Open Sans" panose="020B0606030504020204" pitchFamily="34" charset="0"/>
            </a:endParaRPr>
          </a:p>
        </p:txBody>
      </p:sp>
      <p:sp>
        <p:nvSpPr>
          <p:cNvPr id="23565" name="TextBox 39">
            <a:extLst>
              <a:ext uri="{FF2B5EF4-FFF2-40B4-BE49-F238E27FC236}">
                <a16:creationId xmlns:a16="http://schemas.microsoft.com/office/drawing/2014/main" id="{2CC845BD-D7A8-38EF-41A1-5ACA599A1494}"/>
              </a:ext>
            </a:extLst>
          </p:cNvPr>
          <p:cNvSpPr txBox="1">
            <a:spLocks noChangeArrowheads="1"/>
          </p:cNvSpPr>
          <p:nvPr/>
        </p:nvSpPr>
        <p:spPr bwMode="auto">
          <a:xfrm>
            <a:off x="-26988" y="4776788"/>
            <a:ext cx="4267201"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r" eaLnBrk="1" hangingPunct="1">
              <a:lnSpc>
                <a:spcPct val="100000"/>
              </a:lnSpc>
              <a:spcBef>
                <a:spcPct val="0"/>
              </a:spcBef>
              <a:buFontTx/>
              <a:buNone/>
            </a:pPr>
            <a:r>
              <a:rPr lang="tr-TR" altLang="tr-TR" b="1">
                <a:solidFill>
                  <a:srgbClr val="AD119B"/>
                </a:solidFill>
                <a:latin typeface="Open Sans" panose="020B0606030504020204" pitchFamily="34" charset="0"/>
                <a:cs typeface="Open Sans" panose="020B0606030504020204" pitchFamily="34" charset="0"/>
              </a:rPr>
              <a:t>KENTSEL DÖNÜŞÜM </a:t>
            </a:r>
          </a:p>
          <a:p>
            <a:pPr algn="r" eaLnBrk="1" hangingPunct="1">
              <a:lnSpc>
                <a:spcPct val="100000"/>
              </a:lnSpc>
              <a:spcBef>
                <a:spcPct val="0"/>
              </a:spcBef>
              <a:buFontTx/>
              <a:buNone/>
            </a:pPr>
            <a:r>
              <a:rPr lang="tr-TR" altLang="tr-TR" sz="1400" b="1">
                <a:solidFill>
                  <a:srgbClr val="AD119B"/>
                </a:solidFill>
                <a:latin typeface="Open Sans" panose="020B0606030504020204" pitchFamily="34" charset="0"/>
                <a:cs typeface="Open Sans" panose="020B0606030504020204" pitchFamily="34" charset="0"/>
              </a:rPr>
              <a:t>(ŞEREFİYE+DEĞERLEME)</a:t>
            </a:r>
            <a:endParaRPr lang="id-ID" altLang="tr-TR" sz="1400" b="1">
              <a:solidFill>
                <a:srgbClr val="AD119B"/>
              </a:solidFill>
              <a:latin typeface="Open Sans" panose="020B0606030504020204" pitchFamily="34" charset="0"/>
              <a:cs typeface="Open Sans" panose="020B0606030504020204" pitchFamily="34" charset="0"/>
            </a:endParaRPr>
          </a:p>
        </p:txBody>
      </p:sp>
      <p:sp>
        <p:nvSpPr>
          <p:cNvPr id="143" name="Freeform 151">
            <a:extLst>
              <a:ext uri="{FF2B5EF4-FFF2-40B4-BE49-F238E27FC236}">
                <a16:creationId xmlns:a16="http://schemas.microsoft.com/office/drawing/2014/main" id="{5F259438-EF1A-9329-69BF-37AB4F648DEF}"/>
              </a:ext>
            </a:extLst>
          </p:cNvPr>
          <p:cNvSpPr>
            <a:spLocks noChangeArrowheads="1"/>
          </p:cNvSpPr>
          <p:nvPr/>
        </p:nvSpPr>
        <p:spPr bwMode="auto">
          <a:xfrm>
            <a:off x="5098263" y="5219870"/>
            <a:ext cx="647316" cy="376454"/>
          </a:xfrm>
          <a:custGeom>
            <a:avLst/>
            <a:gdLst>
              <a:gd name="T0" fmla="*/ 55847 w 497"/>
              <a:gd name="T1" fmla="*/ 98187 h 293"/>
              <a:gd name="T2" fmla="*/ 55847 w 497"/>
              <a:gd name="T3" fmla="*/ 98187 h 293"/>
              <a:gd name="T4" fmla="*/ 55847 w 497"/>
              <a:gd name="T5" fmla="*/ 43095 h 293"/>
              <a:gd name="T6" fmla="*/ 79717 w 497"/>
              <a:gd name="T7" fmla="*/ 43095 h 293"/>
              <a:gd name="T8" fmla="*/ 39633 w 497"/>
              <a:gd name="T9" fmla="*/ 0 h 293"/>
              <a:gd name="T10" fmla="*/ 0 w 497"/>
              <a:gd name="T11" fmla="*/ 43095 h 293"/>
              <a:gd name="T12" fmla="*/ 23870 w 497"/>
              <a:gd name="T13" fmla="*/ 43095 h 293"/>
              <a:gd name="T14" fmla="*/ 23870 w 497"/>
              <a:gd name="T15" fmla="*/ 110182 h 293"/>
              <a:gd name="T16" fmla="*/ 43686 w 497"/>
              <a:gd name="T17" fmla="*/ 129731 h 293"/>
              <a:gd name="T18" fmla="*/ 143670 w 497"/>
              <a:gd name="T19" fmla="*/ 129731 h 293"/>
              <a:gd name="T20" fmla="*/ 115296 w 497"/>
              <a:gd name="T21" fmla="*/ 98187 h 293"/>
              <a:gd name="T22" fmla="*/ 55847 w 497"/>
              <a:gd name="T23" fmla="*/ 98187 h 293"/>
              <a:gd name="T24" fmla="*/ 199517 w 497"/>
              <a:gd name="T25" fmla="*/ 86635 h 293"/>
              <a:gd name="T26" fmla="*/ 199517 w 497"/>
              <a:gd name="T27" fmla="*/ 86635 h 293"/>
              <a:gd name="T28" fmla="*/ 199517 w 497"/>
              <a:gd name="T29" fmla="*/ 19548 h 293"/>
              <a:gd name="T30" fmla="*/ 179700 w 497"/>
              <a:gd name="T31" fmla="*/ 0 h 293"/>
              <a:gd name="T32" fmla="*/ 79717 w 497"/>
              <a:gd name="T33" fmla="*/ 0 h 293"/>
              <a:gd name="T34" fmla="*/ 107640 w 497"/>
              <a:gd name="T35" fmla="*/ 27101 h 293"/>
              <a:gd name="T36" fmla="*/ 167540 w 497"/>
              <a:gd name="T37" fmla="*/ 27101 h 293"/>
              <a:gd name="T38" fmla="*/ 167540 w 497"/>
              <a:gd name="T39" fmla="*/ 86635 h 293"/>
              <a:gd name="T40" fmla="*/ 143670 w 497"/>
              <a:gd name="T41" fmla="*/ 86635 h 293"/>
              <a:gd name="T42" fmla="*/ 183303 w 497"/>
              <a:gd name="T43" fmla="*/ 129731 h 293"/>
              <a:gd name="T44" fmla="*/ 223387 w 497"/>
              <a:gd name="T45" fmla="*/ 86635 h 293"/>
              <a:gd name="T46" fmla="*/ 199517 w 497"/>
              <a:gd name="T47" fmla="*/ 86635 h 29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97" h="293">
                <a:moveTo>
                  <a:pt x="124" y="221"/>
                </a:moveTo>
                <a:lnTo>
                  <a:pt x="124" y="221"/>
                </a:lnTo>
                <a:cubicBezTo>
                  <a:pt x="124" y="97"/>
                  <a:pt x="124" y="97"/>
                  <a:pt x="124" y="97"/>
                </a:cubicBezTo>
                <a:cubicBezTo>
                  <a:pt x="177" y="97"/>
                  <a:pt x="177" y="97"/>
                  <a:pt x="177" y="97"/>
                </a:cubicBezTo>
                <a:cubicBezTo>
                  <a:pt x="88" y="0"/>
                  <a:pt x="88" y="0"/>
                  <a:pt x="88" y="0"/>
                </a:cubicBezTo>
                <a:cubicBezTo>
                  <a:pt x="0" y="97"/>
                  <a:pt x="0" y="97"/>
                  <a:pt x="0" y="97"/>
                </a:cubicBezTo>
                <a:cubicBezTo>
                  <a:pt x="53" y="97"/>
                  <a:pt x="53" y="97"/>
                  <a:pt x="53" y="97"/>
                </a:cubicBezTo>
                <a:cubicBezTo>
                  <a:pt x="53" y="248"/>
                  <a:pt x="53" y="248"/>
                  <a:pt x="53" y="248"/>
                </a:cubicBezTo>
                <a:cubicBezTo>
                  <a:pt x="53" y="274"/>
                  <a:pt x="71" y="292"/>
                  <a:pt x="97" y="292"/>
                </a:cubicBezTo>
                <a:cubicBezTo>
                  <a:pt x="319" y="292"/>
                  <a:pt x="319" y="292"/>
                  <a:pt x="319" y="292"/>
                </a:cubicBezTo>
                <a:cubicBezTo>
                  <a:pt x="256" y="221"/>
                  <a:pt x="256" y="221"/>
                  <a:pt x="256" y="221"/>
                </a:cubicBezTo>
                <a:lnTo>
                  <a:pt x="124" y="221"/>
                </a:lnTo>
                <a:close/>
                <a:moveTo>
                  <a:pt x="443" y="195"/>
                </a:moveTo>
                <a:lnTo>
                  <a:pt x="443" y="195"/>
                </a:lnTo>
                <a:cubicBezTo>
                  <a:pt x="443" y="44"/>
                  <a:pt x="443" y="44"/>
                  <a:pt x="443" y="44"/>
                </a:cubicBezTo>
                <a:cubicBezTo>
                  <a:pt x="443" y="17"/>
                  <a:pt x="425" y="0"/>
                  <a:pt x="399" y="0"/>
                </a:cubicBezTo>
                <a:cubicBezTo>
                  <a:pt x="177" y="0"/>
                  <a:pt x="177" y="0"/>
                  <a:pt x="177" y="0"/>
                </a:cubicBezTo>
                <a:cubicBezTo>
                  <a:pt x="239" y="61"/>
                  <a:pt x="239" y="61"/>
                  <a:pt x="239" y="61"/>
                </a:cubicBezTo>
                <a:cubicBezTo>
                  <a:pt x="372" y="61"/>
                  <a:pt x="372" y="61"/>
                  <a:pt x="372" y="61"/>
                </a:cubicBezTo>
                <a:cubicBezTo>
                  <a:pt x="372" y="195"/>
                  <a:pt x="372" y="195"/>
                  <a:pt x="372" y="195"/>
                </a:cubicBezTo>
                <a:cubicBezTo>
                  <a:pt x="319" y="195"/>
                  <a:pt x="319" y="195"/>
                  <a:pt x="319" y="195"/>
                </a:cubicBezTo>
                <a:cubicBezTo>
                  <a:pt x="407" y="292"/>
                  <a:pt x="407" y="292"/>
                  <a:pt x="407" y="292"/>
                </a:cubicBezTo>
                <a:cubicBezTo>
                  <a:pt x="496" y="195"/>
                  <a:pt x="496" y="195"/>
                  <a:pt x="496" y="195"/>
                </a:cubicBezTo>
                <a:lnTo>
                  <a:pt x="443" y="195"/>
                </a:lnTo>
                <a:close/>
              </a:path>
            </a:pathLst>
          </a:custGeom>
          <a:solidFill>
            <a:schemeClr val="bg1"/>
          </a:solidFill>
          <a:ln>
            <a:noFill/>
          </a:ln>
          <a:effectLst/>
          <a:scene3d>
            <a:camera prst="isometricTopUp"/>
            <a:lightRig rig="threePt" dir="t"/>
          </a:scene3d>
          <a:sp3d z="-6350"/>
        </p:spPr>
        <p:txBody>
          <a:bodyPr wrap="none" lIns="34290" tIns="17145" rIns="34290" bIns="17145" anchor="ctr"/>
          <a:lstStyle/>
          <a:p>
            <a:pPr eaLnBrk="1" fontAlgn="auto" hangingPunct="1">
              <a:spcBef>
                <a:spcPts val="0"/>
              </a:spcBef>
              <a:spcAft>
                <a:spcPts val="0"/>
              </a:spcAft>
              <a:defRPr/>
            </a:pPr>
            <a:endParaRPr lang="en-US">
              <a:latin typeface="+mn-lt"/>
            </a:endParaRPr>
          </a:p>
        </p:txBody>
      </p:sp>
      <p:sp>
        <p:nvSpPr>
          <p:cNvPr id="145" name="Freeform 119">
            <a:extLst>
              <a:ext uri="{FF2B5EF4-FFF2-40B4-BE49-F238E27FC236}">
                <a16:creationId xmlns:a16="http://schemas.microsoft.com/office/drawing/2014/main" id="{207D5828-9A03-BF58-613F-51BC0C1174EC}"/>
              </a:ext>
            </a:extLst>
          </p:cNvPr>
          <p:cNvSpPr>
            <a:spLocks noChangeArrowheads="1"/>
          </p:cNvSpPr>
          <p:nvPr/>
        </p:nvSpPr>
        <p:spPr bwMode="auto">
          <a:xfrm>
            <a:off x="6942522" y="4890799"/>
            <a:ext cx="464775" cy="415330"/>
          </a:xfrm>
          <a:custGeom>
            <a:avLst/>
            <a:gdLst>
              <a:gd name="T0" fmla="*/ 139617 w 497"/>
              <a:gd name="T1" fmla="*/ 151370 h 444"/>
              <a:gd name="T2" fmla="*/ 139617 w 497"/>
              <a:gd name="T3" fmla="*/ 151370 h 444"/>
              <a:gd name="T4" fmla="*/ 99534 w 497"/>
              <a:gd name="T5" fmla="*/ 115780 h 444"/>
              <a:gd name="T6" fmla="*/ 111694 w 497"/>
              <a:gd name="T7" fmla="*/ 87849 h 444"/>
              <a:gd name="T8" fmla="*/ 123404 w 497"/>
              <a:gd name="T9" fmla="*/ 68027 h 444"/>
              <a:gd name="T10" fmla="*/ 119801 w 497"/>
              <a:gd name="T11" fmla="*/ 59917 h 444"/>
              <a:gd name="T12" fmla="*/ 123404 w 497"/>
              <a:gd name="T13" fmla="*/ 40095 h 444"/>
              <a:gd name="T14" fmla="*/ 79717 w 497"/>
              <a:gd name="T15" fmla="*/ 0 h 444"/>
              <a:gd name="T16" fmla="*/ 31526 w 497"/>
              <a:gd name="T17" fmla="*/ 40095 h 444"/>
              <a:gd name="T18" fmla="*/ 35580 w 497"/>
              <a:gd name="T19" fmla="*/ 59917 h 444"/>
              <a:gd name="T20" fmla="*/ 31526 w 497"/>
              <a:gd name="T21" fmla="*/ 68027 h 444"/>
              <a:gd name="T22" fmla="*/ 43687 w 497"/>
              <a:gd name="T23" fmla="*/ 87849 h 444"/>
              <a:gd name="T24" fmla="*/ 55397 w 497"/>
              <a:gd name="T25" fmla="*/ 115780 h 444"/>
              <a:gd name="T26" fmla="*/ 15763 w 497"/>
              <a:gd name="T27" fmla="*/ 151370 h 444"/>
              <a:gd name="T28" fmla="*/ 0 w 497"/>
              <a:gd name="T29" fmla="*/ 155425 h 444"/>
              <a:gd name="T30" fmla="*/ 0 w 497"/>
              <a:gd name="T31" fmla="*/ 199574 h 444"/>
              <a:gd name="T32" fmla="*/ 179251 w 497"/>
              <a:gd name="T33" fmla="*/ 199574 h 444"/>
              <a:gd name="T34" fmla="*/ 179251 w 497"/>
              <a:gd name="T35" fmla="*/ 179752 h 444"/>
              <a:gd name="T36" fmla="*/ 139617 w 497"/>
              <a:gd name="T37" fmla="*/ 151370 h 444"/>
              <a:gd name="T38" fmla="*/ 191411 w 497"/>
              <a:gd name="T39" fmla="*/ 87849 h 444"/>
              <a:gd name="T40" fmla="*/ 191411 w 497"/>
              <a:gd name="T41" fmla="*/ 87849 h 444"/>
              <a:gd name="T42" fmla="*/ 191411 w 497"/>
              <a:gd name="T43" fmla="*/ 55863 h 444"/>
              <a:gd name="T44" fmla="*/ 167541 w 497"/>
              <a:gd name="T45" fmla="*/ 55863 h 444"/>
              <a:gd name="T46" fmla="*/ 167541 w 497"/>
              <a:gd name="T47" fmla="*/ 87849 h 444"/>
              <a:gd name="T48" fmla="*/ 135564 w 497"/>
              <a:gd name="T49" fmla="*/ 87849 h 444"/>
              <a:gd name="T50" fmla="*/ 135564 w 497"/>
              <a:gd name="T51" fmla="*/ 111726 h 444"/>
              <a:gd name="T52" fmla="*/ 167541 w 497"/>
              <a:gd name="T53" fmla="*/ 111726 h 444"/>
              <a:gd name="T54" fmla="*/ 167541 w 497"/>
              <a:gd name="T55" fmla="*/ 143712 h 444"/>
              <a:gd name="T56" fmla="*/ 191411 w 497"/>
              <a:gd name="T57" fmla="*/ 143712 h 444"/>
              <a:gd name="T58" fmla="*/ 191411 w 497"/>
              <a:gd name="T59" fmla="*/ 111726 h 444"/>
              <a:gd name="T60" fmla="*/ 223388 w 497"/>
              <a:gd name="T61" fmla="*/ 111726 h 444"/>
              <a:gd name="T62" fmla="*/ 223388 w 497"/>
              <a:gd name="T63" fmla="*/ 87849 h 444"/>
              <a:gd name="T64" fmla="*/ 191411 w 497"/>
              <a:gd name="T65" fmla="*/ 87849 h 4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97" h="444">
                <a:moveTo>
                  <a:pt x="310" y="336"/>
                </a:moveTo>
                <a:lnTo>
                  <a:pt x="310" y="336"/>
                </a:lnTo>
                <a:cubicBezTo>
                  <a:pt x="248" y="310"/>
                  <a:pt x="221" y="292"/>
                  <a:pt x="221" y="257"/>
                </a:cubicBezTo>
                <a:cubicBezTo>
                  <a:pt x="221" y="230"/>
                  <a:pt x="239" y="239"/>
                  <a:pt x="248" y="195"/>
                </a:cubicBezTo>
                <a:cubicBezTo>
                  <a:pt x="257" y="177"/>
                  <a:pt x="274" y="195"/>
                  <a:pt x="274" y="151"/>
                </a:cubicBezTo>
                <a:cubicBezTo>
                  <a:pt x="274" y="133"/>
                  <a:pt x="266" y="133"/>
                  <a:pt x="266" y="133"/>
                </a:cubicBezTo>
                <a:cubicBezTo>
                  <a:pt x="266" y="133"/>
                  <a:pt x="274" y="106"/>
                  <a:pt x="274" y="89"/>
                </a:cubicBezTo>
                <a:cubicBezTo>
                  <a:pt x="274" y="62"/>
                  <a:pt x="257" y="0"/>
                  <a:pt x="177" y="0"/>
                </a:cubicBezTo>
                <a:cubicBezTo>
                  <a:pt x="88" y="0"/>
                  <a:pt x="70" y="62"/>
                  <a:pt x="70" y="89"/>
                </a:cubicBezTo>
                <a:cubicBezTo>
                  <a:pt x="70" y="106"/>
                  <a:pt x="79" y="133"/>
                  <a:pt x="79" y="133"/>
                </a:cubicBezTo>
                <a:cubicBezTo>
                  <a:pt x="79" y="133"/>
                  <a:pt x="70" y="133"/>
                  <a:pt x="70" y="151"/>
                </a:cubicBezTo>
                <a:cubicBezTo>
                  <a:pt x="70" y="195"/>
                  <a:pt x="88" y="177"/>
                  <a:pt x="97" y="195"/>
                </a:cubicBezTo>
                <a:cubicBezTo>
                  <a:pt x="106" y="239"/>
                  <a:pt x="123" y="230"/>
                  <a:pt x="123" y="257"/>
                </a:cubicBezTo>
                <a:cubicBezTo>
                  <a:pt x="123" y="292"/>
                  <a:pt x="97" y="310"/>
                  <a:pt x="35" y="336"/>
                </a:cubicBezTo>
                <a:cubicBezTo>
                  <a:pt x="35" y="336"/>
                  <a:pt x="17" y="336"/>
                  <a:pt x="0" y="345"/>
                </a:cubicBezTo>
                <a:cubicBezTo>
                  <a:pt x="0" y="443"/>
                  <a:pt x="0" y="443"/>
                  <a:pt x="0" y="443"/>
                </a:cubicBezTo>
                <a:cubicBezTo>
                  <a:pt x="398" y="443"/>
                  <a:pt x="398" y="443"/>
                  <a:pt x="398" y="443"/>
                </a:cubicBezTo>
                <a:cubicBezTo>
                  <a:pt x="398" y="443"/>
                  <a:pt x="398" y="408"/>
                  <a:pt x="398" y="399"/>
                </a:cubicBezTo>
                <a:cubicBezTo>
                  <a:pt x="398" y="381"/>
                  <a:pt x="372" y="354"/>
                  <a:pt x="310" y="336"/>
                </a:cubicBezTo>
                <a:close/>
                <a:moveTo>
                  <a:pt x="425" y="195"/>
                </a:moveTo>
                <a:lnTo>
                  <a:pt x="425" y="195"/>
                </a:lnTo>
                <a:cubicBezTo>
                  <a:pt x="425" y="124"/>
                  <a:pt x="425" y="124"/>
                  <a:pt x="425" y="124"/>
                </a:cubicBezTo>
                <a:cubicBezTo>
                  <a:pt x="372" y="124"/>
                  <a:pt x="372" y="124"/>
                  <a:pt x="372" y="124"/>
                </a:cubicBezTo>
                <a:cubicBezTo>
                  <a:pt x="372" y="195"/>
                  <a:pt x="372" y="195"/>
                  <a:pt x="372" y="195"/>
                </a:cubicBezTo>
                <a:cubicBezTo>
                  <a:pt x="301" y="195"/>
                  <a:pt x="301" y="195"/>
                  <a:pt x="301" y="195"/>
                </a:cubicBezTo>
                <a:cubicBezTo>
                  <a:pt x="301" y="248"/>
                  <a:pt x="301" y="248"/>
                  <a:pt x="301" y="248"/>
                </a:cubicBezTo>
                <a:cubicBezTo>
                  <a:pt x="372" y="248"/>
                  <a:pt x="372" y="248"/>
                  <a:pt x="372" y="248"/>
                </a:cubicBezTo>
                <a:cubicBezTo>
                  <a:pt x="372" y="319"/>
                  <a:pt x="372" y="319"/>
                  <a:pt x="372" y="319"/>
                </a:cubicBezTo>
                <a:cubicBezTo>
                  <a:pt x="425" y="319"/>
                  <a:pt x="425" y="319"/>
                  <a:pt x="425" y="319"/>
                </a:cubicBezTo>
                <a:cubicBezTo>
                  <a:pt x="425" y="248"/>
                  <a:pt x="425" y="248"/>
                  <a:pt x="425" y="248"/>
                </a:cubicBezTo>
                <a:cubicBezTo>
                  <a:pt x="496" y="248"/>
                  <a:pt x="496" y="248"/>
                  <a:pt x="496" y="248"/>
                </a:cubicBezTo>
                <a:cubicBezTo>
                  <a:pt x="496" y="195"/>
                  <a:pt x="496" y="195"/>
                  <a:pt x="496" y="195"/>
                </a:cubicBezTo>
                <a:lnTo>
                  <a:pt x="425" y="195"/>
                </a:lnTo>
                <a:close/>
              </a:path>
            </a:pathLst>
          </a:custGeom>
          <a:solidFill>
            <a:schemeClr val="bg1"/>
          </a:solidFill>
          <a:ln>
            <a:noFill/>
          </a:ln>
          <a:effectLst/>
          <a:scene3d>
            <a:camera prst="isometricOffAxis1Right"/>
            <a:lightRig rig="threePt" dir="t"/>
          </a:scene3d>
        </p:spPr>
        <p:txBody>
          <a:bodyPr wrap="none" lIns="34290" tIns="17145" rIns="34290" bIns="17145" anchor="ctr"/>
          <a:lstStyle/>
          <a:p>
            <a:pPr eaLnBrk="1" fontAlgn="auto" hangingPunct="1">
              <a:spcBef>
                <a:spcPts val="0"/>
              </a:spcBef>
              <a:spcAft>
                <a:spcPts val="0"/>
              </a:spcAft>
              <a:defRPr/>
            </a:pPr>
            <a:endParaRPr lang="en-US">
              <a:latin typeface="+mn-lt"/>
            </a:endParaRPr>
          </a:p>
        </p:txBody>
      </p:sp>
      <p:sp>
        <p:nvSpPr>
          <p:cNvPr id="60" name="Freeform 138">
            <a:extLst>
              <a:ext uri="{FF2B5EF4-FFF2-40B4-BE49-F238E27FC236}">
                <a16:creationId xmlns:a16="http://schemas.microsoft.com/office/drawing/2014/main" id="{F0BDB084-717E-2081-86D6-11A1F6D6101C}"/>
              </a:ext>
            </a:extLst>
          </p:cNvPr>
          <p:cNvSpPr>
            <a:spLocks noEditPoints="1"/>
          </p:cNvSpPr>
          <p:nvPr/>
        </p:nvSpPr>
        <p:spPr bwMode="auto">
          <a:xfrm>
            <a:off x="6486525" y="3114675"/>
            <a:ext cx="428625" cy="476250"/>
          </a:xfrm>
          <a:custGeom>
            <a:avLst/>
            <a:gdLst>
              <a:gd name="T0" fmla="*/ 135 w 136"/>
              <a:gd name="T1" fmla="*/ 72 h 151"/>
              <a:gd name="T2" fmla="*/ 134 w 136"/>
              <a:gd name="T3" fmla="*/ 65 h 151"/>
              <a:gd name="T4" fmla="*/ 127 w 136"/>
              <a:gd name="T5" fmla="*/ 62 h 151"/>
              <a:gd name="T6" fmla="*/ 110 w 136"/>
              <a:gd name="T7" fmla="*/ 62 h 151"/>
              <a:gd name="T8" fmla="*/ 110 w 136"/>
              <a:gd name="T9" fmla="*/ 40 h 151"/>
              <a:gd name="T10" fmla="*/ 102 w 136"/>
              <a:gd name="T11" fmla="*/ 32 h 151"/>
              <a:gd name="T12" fmla="*/ 87 w 136"/>
              <a:gd name="T13" fmla="*/ 32 h 151"/>
              <a:gd name="T14" fmla="*/ 87 w 136"/>
              <a:gd name="T15" fmla="*/ 8 h 151"/>
              <a:gd name="T16" fmla="*/ 79 w 136"/>
              <a:gd name="T17" fmla="*/ 0 h 151"/>
              <a:gd name="T18" fmla="*/ 57 w 136"/>
              <a:gd name="T19" fmla="*/ 0 h 151"/>
              <a:gd name="T20" fmla="*/ 49 w 136"/>
              <a:gd name="T21" fmla="*/ 8 h 151"/>
              <a:gd name="T22" fmla="*/ 49 w 136"/>
              <a:gd name="T23" fmla="*/ 32 h 151"/>
              <a:gd name="T24" fmla="*/ 34 w 136"/>
              <a:gd name="T25" fmla="*/ 32 h 151"/>
              <a:gd name="T26" fmla="*/ 26 w 136"/>
              <a:gd name="T27" fmla="*/ 40 h 151"/>
              <a:gd name="T28" fmla="*/ 26 w 136"/>
              <a:gd name="T29" fmla="*/ 62 h 151"/>
              <a:gd name="T30" fmla="*/ 9 w 136"/>
              <a:gd name="T31" fmla="*/ 62 h 151"/>
              <a:gd name="T32" fmla="*/ 2 w 136"/>
              <a:gd name="T33" fmla="*/ 65 h 151"/>
              <a:gd name="T34" fmla="*/ 1 w 136"/>
              <a:gd name="T35" fmla="*/ 72 h 151"/>
              <a:gd name="T36" fmla="*/ 24 w 136"/>
              <a:gd name="T37" fmla="*/ 133 h 151"/>
              <a:gd name="T38" fmla="*/ 16 w 136"/>
              <a:gd name="T39" fmla="*/ 135 h 151"/>
              <a:gd name="T40" fmla="*/ 8 w 136"/>
              <a:gd name="T41" fmla="*/ 143 h 151"/>
              <a:gd name="T42" fmla="*/ 16 w 136"/>
              <a:gd name="T43" fmla="*/ 151 h 151"/>
              <a:gd name="T44" fmla="*/ 42 w 136"/>
              <a:gd name="T45" fmla="*/ 141 h 151"/>
              <a:gd name="T46" fmla="*/ 68 w 136"/>
              <a:gd name="T47" fmla="*/ 151 h 151"/>
              <a:gd name="T48" fmla="*/ 94 w 136"/>
              <a:gd name="T49" fmla="*/ 141 h 151"/>
              <a:gd name="T50" fmla="*/ 120 w 136"/>
              <a:gd name="T51" fmla="*/ 151 h 151"/>
              <a:gd name="T52" fmla="*/ 128 w 136"/>
              <a:gd name="T53" fmla="*/ 143 h 151"/>
              <a:gd name="T54" fmla="*/ 120 w 136"/>
              <a:gd name="T55" fmla="*/ 135 h 151"/>
              <a:gd name="T56" fmla="*/ 112 w 136"/>
              <a:gd name="T57" fmla="*/ 133 h 151"/>
              <a:gd name="T58" fmla="*/ 135 w 136"/>
              <a:gd name="T59" fmla="*/ 72 h 151"/>
              <a:gd name="T60" fmla="*/ 94 w 136"/>
              <a:gd name="T61" fmla="*/ 48 h 151"/>
              <a:gd name="T62" fmla="*/ 94 w 136"/>
              <a:gd name="T63" fmla="*/ 62 h 151"/>
              <a:gd name="T64" fmla="*/ 76 w 136"/>
              <a:gd name="T65" fmla="*/ 62 h 151"/>
              <a:gd name="T66" fmla="*/ 76 w 136"/>
              <a:gd name="T67" fmla="*/ 48 h 151"/>
              <a:gd name="T68" fmla="*/ 94 w 136"/>
              <a:gd name="T69" fmla="*/ 48 h 151"/>
              <a:gd name="T70" fmla="*/ 42 w 136"/>
              <a:gd name="T71" fmla="*/ 48 h 151"/>
              <a:gd name="T72" fmla="*/ 60 w 136"/>
              <a:gd name="T73" fmla="*/ 48 h 151"/>
              <a:gd name="T74" fmla="*/ 60 w 136"/>
              <a:gd name="T75" fmla="*/ 62 h 151"/>
              <a:gd name="T76" fmla="*/ 42 w 136"/>
              <a:gd name="T77" fmla="*/ 62 h 151"/>
              <a:gd name="T78" fmla="*/ 42 w 136"/>
              <a:gd name="T79" fmla="*/ 4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6" h="151">
                <a:moveTo>
                  <a:pt x="135" y="72"/>
                </a:moveTo>
                <a:cubicBezTo>
                  <a:pt x="136" y="70"/>
                  <a:pt x="135" y="67"/>
                  <a:pt x="134" y="65"/>
                </a:cubicBezTo>
                <a:cubicBezTo>
                  <a:pt x="132" y="63"/>
                  <a:pt x="130" y="62"/>
                  <a:pt x="127" y="62"/>
                </a:cubicBezTo>
                <a:cubicBezTo>
                  <a:pt x="110" y="62"/>
                  <a:pt x="110" y="62"/>
                  <a:pt x="110" y="62"/>
                </a:cubicBezTo>
                <a:cubicBezTo>
                  <a:pt x="110" y="40"/>
                  <a:pt x="110" y="40"/>
                  <a:pt x="110" y="40"/>
                </a:cubicBezTo>
                <a:cubicBezTo>
                  <a:pt x="110" y="36"/>
                  <a:pt x="106" y="32"/>
                  <a:pt x="102" y="32"/>
                </a:cubicBezTo>
                <a:cubicBezTo>
                  <a:pt x="87" y="32"/>
                  <a:pt x="87" y="32"/>
                  <a:pt x="87" y="32"/>
                </a:cubicBezTo>
                <a:cubicBezTo>
                  <a:pt x="87" y="8"/>
                  <a:pt x="87" y="8"/>
                  <a:pt x="87" y="8"/>
                </a:cubicBezTo>
                <a:cubicBezTo>
                  <a:pt x="87" y="4"/>
                  <a:pt x="83" y="0"/>
                  <a:pt x="79" y="0"/>
                </a:cubicBezTo>
                <a:cubicBezTo>
                  <a:pt x="57" y="0"/>
                  <a:pt x="57" y="0"/>
                  <a:pt x="57" y="0"/>
                </a:cubicBezTo>
                <a:cubicBezTo>
                  <a:pt x="53" y="0"/>
                  <a:pt x="49" y="4"/>
                  <a:pt x="49" y="8"/>
                </a:cubicBezTo>
                <a:cubicBezTo>
                  <a:pt x="49" y="32"/>
                  <a:pt x="49" y="32"/>
                  <a:pt x="49" y="32"/>
                </a:cubicBezTo>
                <a:cubicBezTo>
                  <a:pt x="34" y="32"/>
                  <a:pt x="34" y="32"/>
                  <a:pt x="34" y="32"/>
                </a:cubicBezTo>
                <a:cubicBezTo>
                  <a:pt x="30" y="32"/>
                  <a:pt x="26" y="36"/>
                  <a:pt x="26" y="40"/>
                </a:cubicBezTo>
                <a:cubicBezTo>
                  <a:pt x="26" y="62"/>
                  <a:pt x="26" y="62"/>
                  <a:pt x="26" y="62"/>
                </a:cubicBezTo>
                <a:cubicBezTo>
                  <a:pt x="9" y="62"/>
                  <a:pt x="9" y="62"/>
                  <a:pt x="9" y="62"/>
                </a:cubicBezTo>
                <a:cubicBezTo>
                  <a:pt x="6" y="62"/>
                  <a:pt x="3" y="63"/>
                  <a:pt x="2" y="65"/>
                </a:cubicBezTo>
                <a:cubicBezTo>
                  <a:pt x="0" y="67"/>
                  <a:pt x="0" y="70"/>
                  <a:pt x="1" y="72"/>
                </a:cubicBezTo>
                <a:cubicBezTo>
                  <a:pt x="1" y="72"/>
                  <a:pt x="23" y="133"/>
                  <a:pt x="24" y="133"/>
                </a:cubicBezTo>
                <a:cubicBezTo>
                  <a:pt x="21" y="134"/>
                  <a:pt x="19" y="135"/>
                  <a:pt x="16" y="135"/>
                </a:cubicBezTo>
                <a:cubicBezTo>
                  <a:pt x="12" y="135"/>
                  <a:pt x="8" y="138"/>
                  <a:pt x="8" y="143"/>
                </a:cubicBezTo>
                <a:cubicBezTo>
                  <a:pt x="8" y="147"/>
                  <a:pt x="12" y="151"/>
                  <a:pt x="16" y="151"/>
                </a:cubicBezTo>
                <a:cubicBezTo>
                  <a:pt x="26" y="151"/>
                  <a:pt x="35" y="147"/>
                  <a:pt x="42" y="141"/>
                </a:cubicBezTo>
                <a:cubicBezTo>
                  <a:pt x="50" y="147"/>
                  <a:pt x="59" y="151"/>
                  <a:pt x="68" y="151"/>
                </a:cubicBezTo>
                <a:cubicBezTo>
                  <a:pt x="77" y="151"/>
                  <a:pt x="86" y="147"/>
                  <a:pt x="94" y="141"/>
                </a:cubicBezTo>
                <a:cubicBezTo>
                  <a:pt x="101" y="147"/>
                  <a:pt x="110" y="151"/>
                  <a:pt x="120" y="151"/>
                </a:cubicBezTo>
                <a:cubicBezTo>
                  <a:pt x="124" y="151"/>
                  <a:pt x="128" y="147"/>
                  <a:pt x="128" y="143"/>
                </a:cubicBezTo>
                <a:cubicBezTo>
                  <a:pt x="128" y="138"/>
                  <a:pt x="124" y="135"/>
                  <a:pt x="120" y="135"/>
                </a:cubicBezTo>
                <a:cubicBezTo>
                  <a:pt x="117" y="135"/>
                  <a:pt x="115" y="134"/>
                  <a:pt x="112" y="133"/>
                </a:cubicBezTo>
                <a:cubicBezTo>
                  <a:pt x="113" y="133"/>
                  <a:pt x="135" y="72"/>
                  <a:pt x="135" y="72"/>
                </a:cubicBezTo>
                <a:close/>
                <a:moveTo>
                  <a:pt x="94" y="48"/>
                </a:moveTo>
                <a:cubicBezTo>
                  <a:pt x="94" y="62"/>
                  <a:pt x="94" y="62"/>
                  <a:pt x="94" y="62"/>
                </a:cubicBezTo>
                <a:cubicBezTo>
                  <a:pt x="76" y="62"/>
                  <a:pt x="76" y="62"/>
                  <a:pt x="76" y="62"/>
                </a:cubicBezTo>
                <a:cubicBezTo>
                  <a:pt x="76" y="48"/>
                  <a:pt x="76" y="48"/>
                  <a:pt x="76" y="48"/>
                </a:cubicBezTo>
                <a:lnTo>
                  <a:pt x="94" y="48"/>
                </a:lnTo>
                <a:close/>
                <a:moveTo>
                  <a:pt x="42" y="48"/>
                </a:moveTo>
                <a:cubicBezTo>
                  <a:pt x="60" y="48"/>
                  <a:pt x="60" y="48"/>
                  <a:pt x="60" y="48"/>
                </a:cubicBezTo>
                <a:cubicBezTo>
                  <a:pt x="60" y="62"/>
                  <a:pt x="60" y="62"/>
                  <a:pt x="60" y="62"/>
                </a:cubicBezTo>
                <a:cubicBezTo>
                  <a:pt x="42" y="62"/>
                  <a:pt x="42" y="62"/>
                  <a:pt x="42" y="62"/>
                </a:cubicBezTo>
                <a:lnTo>
                  <a:pt x="42" y="48"/>
                </a:lnTo>
                <a:close/>
              </a:path>
            </a:pathLst>
          </a:custGeom>
          <a:solidFill>
            <a:schemeClr val="bg1"/>
          </a:solidFill>
          <a:ln>
            <a:noFill/>
          </a:ln>
        </p:spPr>
        <p:txBody>
          <a:bodyPr/>
          <a:lstStyle/>
          <a:p>
            <a:pPr defTabSz="960120" eaLnBrk="1" fontAlgn="auto" hangingPunct="1">
              <a:spcBef>
                <a:spcPts val="0"/>
              </a:spcBef>
              <a:spcAft>
                <a:spcPts val="0"/>
              </a:spcAft>
              <a:defRPr/>
            </a:pPr>
            <a:endParaRPr lang="en-AU" sz="1890">
              <a:latin typeface="+mn-lt"/>
            </a:endParaRPr>
          </a:p>
        </p:txBody>
      </p:sp>
      <p:pic>
        <p:nvPicPr>
          <p:cNvPr id="23569" name="Picture 5" descr="C:\Users\Zeki\Desktop\Untitled-1.eps">
            <a:extLst>
              <a:ext uri="{FF2B5EF4-FFF2-40B4-BE49-F238E27FC236}">
                <a16:creationId xmlns:a16="http://schemas.microsoft.com/office/drawing/2014/main" id="{E17DF04E-7252-D948-ABA3-00957B5941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81813" y="3078163"/>
            <a:ext cx="600075"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70" name="Freeform 61">
            <a:extLst>
              <a:ext uri="{FF2B5EF4-FFF2-40B4-BE49-F238E27FC236}">
                <a16:creationId xmlns:a16="http://schemas.microsoft.com/office/drawing/2014/main" id="{BD2FC728-2385-174D-5E06-C4FDB6A99E77}"/>
              </a:ext>
            </a:extLst>
          </p:cNvPr>
          <p:cNvSpPr>
            <a:spLocks noEditPoints="1"/>
          </p:cNvSpPr>
          <p:nvPr/>
        </p:nvSpPr>
        <p:spPr bwMode="auto">
          <a:xfrm>
            <a:off x="4932363" y="3348038"/>
            <a:ext cx="527050" cy="501650"/>
          </a:xfrm>
          <a:custGeom>
            <a:avLst/>
            <a:gdLst>
              <a:gd name="T0" fmla="*/ 2147483646 w 256"/>
              <a:gd name="T1" fmla="*/ 2147483646 h 244"/>
              <a:gd name="T2" fmla="*/ 2147483646 w 256"/>
              <a:gd name="T3" fmla="*/ 2147483646 h 244"/>
              <a:gd name="T4" fmla="*/ 2147483646 w 256"/>
              <a:gd name="T5" fmla="*/ 2147483646 h 244"/>
              <a:gd name="T6" fmla="*/ 2147483646 w 256"/>
              <a:gd name="T7" fmla="*/ 2147483646 h 244"/>
              <a:gd name="T8" fmla="*/ 2147483646 w 256"/>
              <a:gd name="T9" fmla="*/ 2147483646 h 244"/>
              <a:gd name="T10" fmla="*/ 2147483646 w 256"/>
              <a:gd name="T11" fmla="*/ 2147483646 h 244"/>
              <a:gd name="T12" fmla="*/ 2147483646 w 256"/>
              <a:gd name="T13" fmla="*/ 2147483646 h 244"/>
              <a:gd name="T14" fmla="*/ 2147483646 w 256"/>
              <a:gd name="T15" fmla="*/ 2147483646 h 244"/>
              <a:gd name="T16" fmla="*/ 2147483646 w 256"/>
              <a:gd name="T17" fmla="*/ 2147483646 h 244"/>
              <a:gd name="T18" fmla="*/ 2147483646 w 256"/>
              <a:gd name="T19" fmla="*/ 2147483646 h 244"/>
              <a:gd name="T20" fmla="*/ 0 w 256"/>
              <a:gd name="T21" fmla="*/ 2147483646 h 244"/>
              <a:gd name="T22" fmla="*/ 2147483646 w 256"/>
              <a:gd name="T23" fmla="*/ 2147483646 h 244"/>
              <a:gd name="T24" fmla="*/ 2147483646 w 256"/>
              <a:gd name="T25" fmla="*/ 2147483646 h 244"/>
              <a:gd name="T26" fmla="*/ 2147483646 w 256"/>
              <a:gd name="T27" fmla="*/ 0 h 244"/>
              <a:gd name="T28" fmla="*/ 2147483646 w 256"/>
              <a:gd name="T29" fmla="*/ 0 h 244"/>
              <a:gd name="T30" fmla="*/ 2147483646 w 256"/>
              <a:gd name="T31" fmla="*/ 0 h 244"/>
              <a:gd name="T32" fmla="*/ 2147483646 w 256"/>
              <a:gd name="T33" fmla="*/ 0 h 244"/>
              <a:gd name="T34" fmla="*/ 2147483646 w 256"/>
              <a:gd name="T35" fmla="*/ 0 h 244"/>
              <a:gd name="T36" fmla="*/ 2147483646 w 256"/>
              <a:gd name="T37" fmla="*/ 0 h 244"/>
              <a:gd name="T38" fmla="*/ 2147483646 w 256"/>
              <a:gd name="T39" fmla="*/ 2147483646 h 244"/>
              <a:gd name="T40" fmla="*/ 2147483646 w 256"/>
              <a:gd name="T41" fmla="*/ 2147483646 h 244"/>
              <a:gd name="T42" fmla="*/ 2147483646 w 256"/>
              <a:gd name="T43" fmla="*/ 2147483646 h 244"/>
              <a:gd name="T44" fmla="*/ 2147483646 w 256"/>
              <a:gd name="T45" fmla="*/ 2147483646 h 244"/>
              <a:gd name="T46" fmla="*/ 2147483646 w 256"/>
              <a:gd name="T47" fmla="*/ 2147483646 h 244"/>
              <a:gd name="T48" fmla="*/ 2147483646 w 256"/>
              <a:gd name="T49" fmla="*/ 2147483646 h 244"/>
              <a:gd name="T50" fmla="*/ 2147483646 w 256"/>
              <a:gd name="T51" fmla="*/ 2147483646 h 244"/>
              <a:gd name="T52" fmla="*/ 2147483646 w 256"/>
              <a:gd name="T53" fmla="*/ 2147483646 h 244"/>
              <a:gd name="T54" fmla="*/ 2147483646 w 256"/>
              <a:gd name="T55" fmla="*/ 2147483646 h 244"/>
              <a:gd name="T56" fmla="*/ 2147483646 w 256"/>
              <a:gd name="T57" fmla="*/ 2147483646 h 244"/>
              <a:gd name="T58" fmla="*/ 2147483646 w 256"/>
              <a:gd name="T59" fmla="*/ 2147483646 h 244"/>
              <a:gd name="T60" fmla="*/ 2147483646 w 256"/>
              <a:gd name="T61" fmla="*/ 2147483646 h 244"/>
              <a:gd name="T62" fmla="*/ 2147483646 w 256"/>
              <a:gd name="T63" fmla="*/ 2147483646 h 244"/>
              <a:gd name="T64" fmla="*/ 2147483646 w 256"/>
              <a:gd name="T65" fmla="*/ 2147483646 h 244"/>
              <a:gd name="T66" fmla="*/ 2147483646 w 256"/>
              <a:gd name="T67" fmla="*/ 2147483646 h 244"/>
              <a:gd name="T68" fmla="*/ 2147483646 w 256"/>
              <a:gd name="T69" fmla="*/ 2147483646 h 244"/>
              <a:gd name="T70" fmla="*/ 2147483646 w 256"/>
              <a:gd name="T71" fmla="*/ 2147483646 h 244"/>
              <a:gd name="T72" fmla="*/ 2147483646 w 256"/>
              <a:gd name="T73" fmla="*/ 2147483646 h 244"/>
              <a:gd name="T74" fmla="*/ 2147483646 w 256"/>
              <a:gd name="T75" fmla="*/ 2147483646 h 244"/>
              <a:gd name="T76" fmla="*/ 2147483646 w 256"/>
              <a:gd name="T77" fmla="*/ 2147483646 h 244"/>
              <a:gd name="T78" fmla="*/ 2147483646 w 256"/>
              <a:gd name="T79" fmla="*/ 2147483646 h 244"/>
              <a:gd name="T80" fmla="*/ 2147483646 w 256"/>
              <a:gd name="T81" fmla="*/ 2147483646 h 244"/>
              <a:gd name="T82" fmla="*/ 2147483646 w 256"/>
              <a:gd name="T83" fmla="*/ 2147483646 h 244"/>
              <a:gd name="T84" fmla="*/ 2147483646 w 256"/>
              <a:gd name="T85" fmla="*/ 2147483646 h 244"/>
              <a:gd name="T86" fmla="*/ 2147483646 w 256"/>
              <a:gd name="T87" fmla="*/ 2147483646 h 244"/>
              <a:gd name="T88" fmla="*/ 2147483646 w 256"/>
              <a:gd name="T89" fmla="*/ 2147483646 h 244"/>
              <a:gd name="T90" fmla="*/ 2147483646 w 256"/>
              <a:gd name="T91" fmla="*/ 2147483646 h 244"/>
              <a:gd name="T92" fmla="*/ 2147483646 w 256"/>
              <a:gd name="T93" fmla="*/ 2147483646 h 244"/>
              <a:gd name="T94" fmla="*/ 2147483646 w 256"/>
              <a:gd name="T95" fmla="*/ 2147483646 h 244"/>
              <a:gd name="T96" fmla="*/ 2147483646 w 256"/>
              <a:gd name="T97" fmla="*/ 2147483646 h 244"/>
              <a:gd name="T98" fmla="*/ 2147483646 w 256"/>
              <a:gd name="T99" fmla="*/ 2147483646 h 24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56" h="244">
                <a:moveTo>
                  <a:pt x="256" y="128"/>
                </a:moveTo>
                <a:cubicBezTo>
                  <a:pt x="256" y="135"/>
                  <a:pt x="251" y="140"/>
                  <a:pt x="244" y="140"/>
                </a:cubicBezTo>
                <a:cubicBezTo>
                  <a:pt x="241" y="140"/>
                  <a:pt x="238" y="139"/>
                  <a:pt x="236" y="137"/>
                </a:cubicBezTo>
                <a:cubicBezTo>
                  <a:pt x="236" y="137"/>
                  <a:pt x="236" y="137"/>
                  <a:pt x="236" y="137"/>
                </a:cubicBezTo>
                <a:cubicBezTo>
                  <a:pt x="128" y="29"/>
                  <a:pt x="128" y="29"/>
                  <a:pt x="128" y="29"/>
                </a:cubicBezTo>
                <a:cubicBezTo>
                  <a:pt x="128" y="29"/>
                  <a:pt x="128" y="29"/>
                  <a:pt x="128" y="29"/>
                </a:cubicBezTo>
                <a:cubicBezTo>
                  <a:pt x="128" y="29"/>
                  <a:pt x="128" y="29"/>
                  <a:pt x="128" y="29"/>
                </a:cubicBezTo>
                <a:cubicBezTo>
                  <a:pt x="20" y="137"/>
                  <a:pt x="20" y="137"/>
                  <a:pt x="20" y="137"/>
                </a:cubicBezTo>
                <a:cubicBezTo>
                  <a:pt x="20" y="137"/>
                  <a:pt x="20" y="137"/>
                  <a:pt x="20" y="137"/>
                </a:cubicBezTo>
                <a:cubicBezTo>
                  <a:pt x="18" y="139"/>
                  <a:pt x="15" y="140"/>
                  <a:pt x="12" y="140"/>
                </a:cubicBezTo>
                <a:cubicBezTo>
                  <a:pt x="5" y="140"/>
                  <a:pt x="0" y="135"/>
                  <a:pt x="0" y="128"/>
                </a:cubicBezTo>
                <a:cubicBezTo>
                  <a:pt x="0" y="125"/>
                  <a:pt x="1" y="122"/>
                  <a:pt x="4" y="119"/>
                </a:cubicBezTo>
                <a:cubicBezTo>
                  <a:pt x="119" y="4"/>
                  <a:pt x="119" y="4"/>
                  <a:pt x="119" y="4"/>
                </a:cubicBezTo>
                <a:cubicBezTo>
                  <a:pt x="122" y="1"/>
                  <a:pt x="125" y="0"/>
                  <a:pt x="128" y="0"/>
                </a:cubicBezTo>
                <a:cubicBezTo>
                  <a:pt x="128" y="0"/>
                  <a:pt x="128" y="0"/>
                  <a:pt x="128" y="0"/>
                </a:cubicBezTo>
                <a:cubicBezTo>
                  <a:pt x="128" y="0"/>
                  <a:pt x="128" y="0"/>
                  <a:pt x="129" y="0"/>
                </a:cubicBezTo>
                <a:cubicBezTo>
                  <a:pt x="129" y="0"/>
                  <a:pt x="129" y="0"/>
                  <a:pt x="129" y="0"/>
                </a:cubicBezTo>
                <a:cubicBezTo>
                  <a:pt x="129" y="0"/>
                  <a:pt x="129" y="0"/>
                  <a:pt x="129" y="0"/>
                </a:cubicBezTo>
                <a:cubicBezTo>
                  <a:pt x="129" y="0"/>
                  <a:pt x="129" y="0"/>
                  <a:pt x="129" y="0"/>
                </a:cubicBezTo>
                <a:cubicBezTo>
                  <a:pt x="132" y="0"/>
                  <a:pt x="135" y="2"/>
                  <a:pt x="137" y="4"/>
                </a:cubicBezTo>
                <a:cubicBezTo>
                  <a:pt x="137" y="4"/>
                  <a:pt x="137" y="4"/>
                  <a:pt x="137" y="4"/>
                </a:cubicBezTo>
                <a:cubicBezTo>
                  <a:pt x="184" y="51"/>
                  <a:pt x="184" y="51"/>
                  <a:pt x="184" y="51"/>
                </a:cubicBezTo>
                <a:cubicBezTo>
                  <a:pt x="184" y="40"/>
                  <a:pt x="184" y="40"/>
                  <a:pt x="184" y="40"/>
                </a:cubicBezTo>
                <a:cubicBezTo>
                  <a:pt x="184" y="33"/>
                  <a:pt x="189" y="28"/>
                  <a:pt x="196" y="28"/>
                </a:cubicBezTo>
                <a:cubicBezTo>
                  <a:pt x="203" y="28"/>
                  <a:pt x="208" y="33"/>
                  <a:pt x="208" y="40"/>
                </a:cubicBezTo>
                <a:cubicBezTo>
                  <a:pt x="208" y="75"/>
                  <a:pt x="208" y="75"/>
                  <a:pt x="208" y="75"/>
                </a:cubicBezTo>
                <a:cubicBezTo>
                  <a:pt x="253" y="120"/>
                  <a:pt x="253" y="120"/>
                  <a:pt x="253" y="120"/>
                </a:cubicBezTo>
                <a:cubicBezTo>
                  <a:pt x="253" y="120"/>
                  <a:pt x="253" y="120"/>
                  <a:pt x="253" y="120"/>
                </a:cubicBezTo>
                <a:cubicBezTo>
                  <a:pt x="255" y="122"/>
                  <a:pt x="256" y="125"/>
                  <a:pt x="256" y="128"/>
                </a:cubicBezTo>
                <a:moveTo>
                  <a:pt x="232" y="148"/>
                </a:moveTo>
                <a:cubicBezTo>
                  <a:pt x="232" y="184"/>
                  <a:pt x="232" y="184"/>
                  <a:pt x="232" y="184"/>
                </a:cubicBezTo>
                <a:cubicBezTo>
                  <a:pt x="232" y="200"/>
                  <a:pt x="232" y="200"/>
                  <a:pt x="232" y="200"/>
                </a:cubicBezTo>
                <a:cubicBezTo>
                  <a:pt x="232" y="232"/>
                  <a:pt x="232" y="232"/>
                  <a:pt x="232" y="232"/>
                </a:cubicBezTo>
                <a:cubicBezTo>
                  <a:pt x="232" y="239"/>
                  <a:pt x="227" y="244"/>
                  <a:pt x="220" y="244"/>
                </a:cubicBezTo>
                <a:cubicBezTo>
                  <a:pt x="196" y="244"/>
                  <a:pt x="196" y="244"/>
                  <a:pt x="196" y="244"/>
                </a:cubicBezTo>
                <a:cubicBezTo>
                  <a:pt x="196" y="148"/>
                  <a:pt x="196" y="148"/>
                  <a:pt x="196" y="148"/>
                </a:cubicBezTo>
                <a:cubicBezTo>
                  <a:pt x="148" y="148"/>
                  <a:pt x="148" y="148"/>
                  <a:pt x="148" y="148"/>
                </a:cubicBezTo>
                <a:cubicBezTo>
                  <a:pt x="148" y="244"/>
                  <a:pt x="148" y="244"/>
                  <a:pt x="148" y="244"/>
                </a:cubicBezTo>
                <a:cubicBezTo>
                  <a:pt x="36" y="244"/>
                  <a:pt x="36" y="244"/>
                  <a:pt x="36" y="244"/>
                </a:cubicBezTo>
                <a:cubicBezTo>
                  <a:pt x="29" y="244"/>
                  <a:pt x="24" y="239"/>
                  <a:pt x="24" y="232"/>
                </a:cubicBezTo>
                <a:cubicBezTo>
                  <a:pt x="24" y="200"/>
                  <a:pt x="24" y="200"/>
                  <a:pt x="24" y="200"/>
                </a:cubicBezTo>
                <a:cubicBezTo>
                  <a:pt x="24" y="184"/>
                  <a:pt x="24" y="184"/>
                  <a:pt x="24" y="184"/>
                </a:cubicBezTo>
                <a:cubicBezTo>
                  <a:pt x="24" y="148"/>
                  <a:pt x="24" y="148"/>
                  <a:pt x="24" y="148"/>
                </a:cubicBezTo>
                <a:cubicBezTo>
                  <a:pt x="128" y="44"/>
                  <a:pt x="128" y="44"/>
                  <a:pt x="128" y="44"/>
                </a:cubicBezTo>
                <a:lnTo>
                  <a:pt x="232" y="148"/>
                </a:lnTo>
                <a:close/>
                <a:moveTo>
                  <a:pt x="108" y="148"/>
                </a:moveTo>
                <a:cubicBezTo>
                  <a:pt x="60" y="148"/>
                  <a:pt x="60" y="148"/>
                  <a:pt x="60" y="148"/>
                </a:cubicBezTo>
                <a:cubicBezTo>
                  <a:pt x="60" y="196"/>
                  <a:pt x="60" y="196"/>
                  <a:pt x="60" y="196"/>
                </a:cubicBezTo>
                <a:cubicBezTo>
                  <a:pt x="108" y="196"/>
                  <a:pt x="108" y="196"/>
                  <a:pt x="108" y="196"/>
                </a:cubicBezTo>
                <a:lnTo>
                  <a:pt x="108" y="14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down)">
                                      <p:cBhvr>
                                        <p:cTn id="7" dur="580">
                                          <p:stCondLst>
                                            <p:cond delay="0"/>
                                          </p:stCondLst>
                                        </p:cTn>
                                        <p:tgtEl>
                                          <p:spTgt spid="15"/>
                                        </p:tgtEl>
                                      </p:cBhvr>
                                    </p:animEffect>
                                    <p:anim calcmode="lin" valueType="num">
                                      <p:cBhvr>
                                        <p:cTn id="8" dur="1822" tmFilter="0,0; 0.14,0.36; 0.43,0.73; 0.71,0.91; 1.0,1.0">
                                          <p:stCondLst>
                                            <p:cond delay="0"/>
                                          </p:stCondLst>
                                        </p:cTn>
                                        <p:tgtEl>
                                          <p:spTgt spid="15"/>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15"/>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15"/>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15"/>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15"/>
                                        </p:tgtEl>
                                        <p:attrNameLst>
                                          <p:attrName>ppt_y</p:attrName>
                                        </p:attrNameLst>
                                      </p:cBhvr>
                                      <p:tavLst>
                                        <p:tav tm="0" fmla="#ppt_y-sin(pi*$)/81">
                                          <p:val>
                                            <p:fltVal val="0"/>
                                          </p:val>
                                        </p:tav>
                                        <p:tav tm="100000">
                                          <p:val>
                                            <p:fltVal val="1"/>
                                          </p:val>
                                        </p:tav>
                                      </p:tavLst>
                                    </p:anim>
                                    <p:animScale>
                                      <p:cBhvr>
                                        <p:cTn id="13" dur="26">
                                          <p:stCondLst>
                                            <p:cond delay="650"/>
                                          </p:stCondLst>
                                        </p:cTn>
                                        <p:tgtEl>
                                          <p:spTgt spid="15"/>
                                        </p:tgtEl>
                                      </p:cBhvr>
                                      <p:to x="100000" y="60000"/>
                                    </p:animScale>
                                    <p:animScale>
                                      <p:cBhvr>
                                        <p:cTn id="14" dur="166" decel="50000">
                                          <p:stCondLst>
                                            <p:cond delay="676"/>
                                          </p:stCondLst>
                                        </p:cTn>
                                        <p:tgtEl>
                                          <p:spTgt spid="15"/>
                                        </p:tgtEl>
                                      </p:cBhvr>
                                      <p:to x="100000" y="100000"/>
                                    </p:animScale>
                                    <p:animScale>
                                      <p:cBhvr>
                                        <p:cTn id="15" dur="26">
                                          <p:stCondLst>
                                            <p:cond delay="1312"/>
                                          </p:stCondLst>
                                        </p:cTn>
                                        <p:tgtEl>
                                          <p:spTgt spid="15"/>
                                        </p:tgtEl>
                                      </p:cBhvr>
                                      <p:to x="100000" y="80000"/>
                                    </p:animScale>
                                    <p:animScale>
                                      <p:cBhvr>
                                        <p:cTn id="16" dur="166" decel="50000">
                                          <p:stCondLst>
                                            <p:cond delay="1338"/>
                                          </p:stCondLst>
                                        </p:cTn>
                                        <p:tgtEl>
                                          <p:spTgt spid="15"/>
                                        </p:tgtEl>
                                      </p:cBhvr>
                                      <p:to x="100000" y="100000"/>
                                    </p:animScale>
                                    <p:animScale>
                                      <p:cBhvr>
                                        <p:cTn id="17" dur="26">
                                          <p:stCondLst>
                                            <p:cond delay="1642"/>
                                          </p:stCondLst>
                                        </p:cTn>
                                        <p:tgtEl>
                                          <p:spTgt spid="15"/>
                                        </p:tgtEl>
                                      </p:cBhvr>
                                      <p:to x="100000" y="90000"/>
                                    </p:animScale>
                                    <p:animScale>
                                      <p:cBhvr>
                                        <p:cTn id="18" dur="166" decel="50000">
                                          <p:stCondLst>
                                            <p:cond delay="1668"/>
                                          </p:stCondLst>
                                        </p:cTn>
                                        <p:tgtEl>
                                          <p:spTgt spid="15"/>
                                        </p:tgtEl>
                                      </p:cBhvr>
                                      <p:to x="100000" y="100000"/>
                                    </p:animScale>
                                    <p:animScale>
                                      <p:cBhvr>
                                        <p:cTn id="19" dur="26">
                                          <p:stCondLst>
                                            <p:cond delay="1808"/>
                                          </p:stCondLst>
                                        </p:cTn>
                                        <p:tgtEl>
                                          <p:spTgt spid="15"/>
                                        </p:tgtEl>
                                      </p:cBhvr>
                                      <p:to x="100000" y="95000"/>
                                    </p:animScale>
                                    <p:animScale>
                                      <p:cBhvr>
                                        <p:cTn id="20" dur="166" decel="50000">
                                          <p:stCondLst>
                                            <p:cond delay="1834"/>
                                          </p:stCondLst>
                                        </p:cTn>
                                        <p:tgtEl>
                                          <p:spTgt spid="15"/>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ayt Numarası Yer Tutucusu 1">
            <a:extLst>
              <a:ext uri="{FF2B5EF4-FFF2-40B4-BE49-F238E27FC236}">
                <a16:creationId xmlns:a16="http://schemas.microsoft.com/office/drawing/2014/main" id="{E714362D-5BFD-5940-EF52-E07218D8C435}"/>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nSpc>
                <a:spcPct val="100000"/>
              </a:lnSpc>
              <a:spcBef>
                <a:spcPct val="0"/>
              </a:spcBef>
              <a:buFontTx/>
              <a:buNone/>
            </a:pPr>
            <a:fld id="{AAA06A5E-299D-4164-8B99-29653AC4E7BF}" type="slidenum">
              <a:rPr lang="en-US" altLang="tr-TR" sz="1200" smtClean="0">
                <a:solidFill>
                  <a:srgbClr val="898989"/>
                </a:solidFill>
              </a:rPr>
              <a:pPr>
                <a:lnSpc>
                  <a:spcPct val="100000"/>
                </a:lnSpc>
                <a:spcBef>
                  <a:spcPct val="0"/>
                </a:spcBef>
                <a:buFontTx/>
                <a:buNone/>
              </a:pPr>
              <a:t>4</a:t>
            </a:fld>
            <a:endParaRPr lang="en-US" altLang="tr-TR" sz="1200">
              <a:solidFill>
                <a:srgbClr val="898989"/>
              </a:solidFill>
            </a:endParaRPr>
          </a:p>
        </p:txBody>
      </p:sp>
      <p:cxnSp>
        <p:nvCxnSpPr>
          <p:cNvPr id="3" name="Straight Connector 6">
            <a:extLst>
              <a:ext uri="{FF2B5EF4-FFF2-40B4-BE49-F238E27FC236}">
                <a16:creationId xmlns:a16="http://schemas.microsoft.com/office/drawing/2014/main" id="{918F4613-C32B-617E-E6A4-8D1395554B22}"/>
              </a:ext>
            </a:extLst>
          </p:cNvPr>
          <p:cNvCxnSpPr/>
          <p:nvPr/>
        </p:nvCxnSpPr>
        <p:spPr>
          <a:xfrm>
            <a:off x="11113" y="1423988"/>
            <a:ext cx="124301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Rectangle 7">
            <a:extLst>
              <a:ext uri="{FF2B5EF4-FFF2-40B4-BE49-F238E27FC236}">
                <a16:creationId xmlns:a16="http://schemas.microsoft.com/office/drawing/2014/main" id="{C614772D-9BC0-8D42-1F99-561BB9A11610}"/>
              </a:ext>
            </a:extLst>
          </p:cNvPr>
          <p:cNvSpPr/>
          <p:nvPr/>
        </p:nvSpPr>
        <p:spPr>
          <a:xfrm>
            <a:off x="684213" y="1409700"/>
            <a:ext cx="623887" cy="269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İçerik Yer Tutucusu 2">
            <a:extLst>
              <a:ext uri="{FF2B5EF4-FFF2-40B4-BE49-F238E27FC236}">
                <a16:creationId xmlns:a16="http://schemas.microsoft.com/office/drawing/2014/main" id="{64C2F73F-97ED-01BB-E149-143AE8C2CE98}"/>
              </a:ext>
            </a:extLst>
          </p:cNvPr>
          <p:cNvSpPr txBox="1">
            <a:spLocks/>
          </p:cNvSpPr>
          <p:nvPr/>
        </p:nvSpPr>
        <p:spPr>
          <a:xfrm>
            <a:off x="631825" y="842963"/>
            <a:ext cx="4506913" cy="51752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 typeface="Arial" panose="020B0604020202020204" pitchFamily="34" charset="0"/>
              <a:buNone/>
              <a:defRPr/>
            </a:pPr>
            <a:r>
              <a:rPr lang="tr-TR" sz="2200" b="1">
                <a:solidFill>
                  <a:schemeClr val="accent4">
                    <a:lumMod val="75000"/>
                  </a:schemeClr>
                </a:solidFill>
                <a:latin typeface="Open Sans" panose="020B0606030504020204" pitchFamily="34" charset="0"/>
                <a:ea typeface="Open Sans" panose="020B0606030504020204" pitchFamily="34" charset="0"/>
                <a:cs typeface="Open Sans" panose="020B0606030504020204" pitchFamily="34" charset="0"/>
              </a:rPr>
              <a:t>Hizmetlerimiz</a:t>
            </a:r>
          </a:p>
        </p:txBody>
      </p:sp>
      <p:sp>
        <p:nvSpPr>
          <p:cNvPr id="25606" name="İçerik Yer Tutucusu 2">
            <a:extLst>
              <a:ext uri="{FF2B5EF4-FFF2-40B4-BE49-F238E27FC236}">
                <a16:creationId xmlns:a16="http://schemas.microsoft.com/office/drawing/2014/main" id="{72DC28F7-B9A5-DC09-303B-F13D4DF906FA}"/>
              </a:ext>
            </a:extLst>
          </p:cNvPr>
          <p:cNvSpPr txBox="1">
            <a:spLocks/>
          </p:cNvSpPr>
          <p:nvPr/>
        </p:nvSpPr>
        <p:spPr bwMode="auto">
          <a:xfrm>
            <a:off x="603250" y="2971800"/>
            <a:ext cx="10795000" cy="2141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50000"/>
              </a:lnSpc>
              <a:buFont typeface="Arial" panose="020B0604020202020204" pitchFamily="34" charset="0"/>
              <a:buNone/>
            </a:pPr>
            <a:endParaRPr lang="tr-TR" altLang="tr-TR" sz="2000">
              <a:latin typeface="Open Sans" panose="020B0606030504020204" pitchFamily="34" charset="0"/>
              <a:cs typeface="Open Sans" panose="020B0606030504020204" pitchFamily="34" charset="0"/>
            </a:endParaRPr>
          </a:p>
        </p:txBody>
      </p:sp>
      <p:sp>
        <p:nvSpPr>
          <p:cNvPr id="10" name="İçerik Yer Tutucusu 2">
            <a:extLst>
              <a:ext uri="{FF2B5EF4-FFF2-40B4-BE49-F238E27FC236}">
                <a16:creationId xmlns:a16="http://schemas.microsoft.com/office/drawing/2014/main" id="{E9E970E0-C0FB-461F-503A-CB38C7757497}"/>
              </a:ext>
            </a:extLst>
          </p:cNvPr>
          <p:cNvSpPr txBox="1">
            <a:spLocks/>
          </p:cNvSpPr>
          <p:nvPr/>
        </p:nvSpPr>
        <p:spPr>
          <a:xfrm>
            <a:off x="1296988" y="1266825"/>
            <a:ext cx="3778250" cy="39211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 typeface="Arial" panose="020B0604020202020204" pitchFamily="34" charset="0"/>
              <a:buNone/>
              <a:defRPr/>
            </a:pPr>
            <a:r>
              <a:rPr lang="tr-TR" sz="1800" b="1">
                <a:solidFill>
                  <a:schemeClr val="bg2">
                    <a:lumMod val="10000"/>
                  </a:schemeClr>
                </a:solidFill>
              </a:rPr>
              <a:t>GAYRİMENKUL DEĞERLEME</a:t>
            </a:r>
          </a:p>
        </p:txBody>
      </p:sp>
      <p:cxnSp>
        <p:nvCxnSpPr>
          <p:cNvPr id="43" name="Straight Connector 19">
            <a:extLst>
              <a:ext uri="{FF2B5EF4-FFF2-40B4-BE49-F238E27FC236}">
                <a16:creationId xmlns:a16="http://schemas.microsoft.com/office/drawing/2014/main" id="{A02A8126-655D-5FEE-3ED2-B37EF861D412}"/>
              </a:ext>
            </a:extLst>
          </p:cNvPr>
          <p:cNvCxnSpPr/>
          <p:nvPr/>
        </p:nvCxnSpPr>
        <p:spPr>
          <a:xfrm>
            <a:off x="15801975" y="4953000"/>
            <a:ext cx="1941513" cy="0"/>
          </a:xfrm>
          <a:prstGeom prst="line">
            <a:avLst/>
          </a:prstGeom>
          <a:ln>
            <a:solidFill>
              <a:schemeClr val="accent5"/>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55" name="Freeform 183">
            <a:extLst>
              <a:ext uri="{FF2B5EF4-FFF2-40B4-BE49-F238E27FC236}">
                <a16:creationId xmlns:a16="http://schemas.microsoft.com/office/drawing/2014/main" id="{CDEBC720-4F76-7E20-271D-A1F876D82A22}"/>
              </a:ext>
            </a:extLst>
          </p:cNvPr>
          <p:cNvSpPr>
            <a:spLocks noEditPoints="1"/>
          </p:cNvSpPr>
          <p:nvPr/>
        </p:nvSpPr>
        <p:spPr bwMode="auto">
          <a:xfrm>
            <a:off x="6350" y="3508375"/>
            <a:ext cx="12185650" cy="3241675"/>
          </a:xfrm>
          <a:custGeom>
            <a:avLst/>
            <a:gdLst>
              <a:gd name="T0" fmla="*/ 3743 w 4211"/>
              <a:gd name="T1" fmla="*/ 508 h 1254"/>
              <a:gd name="T2" fmla="*/ 3617 w 4211"/>
              <a:gd name="T3" fmla="*/ 207 h 1254"/>
              <a:gd name="T4" fmla="*/ 3276 w 4211"/>
              <a:gd name="T5" fmla="*/ 492 h 1254"/>
              <a:gd name="T6" fmla="*/ 3009 w 4211"/>
              <a:gd name="T7" fmla="*/ 368 h 1254"/>
              <a:gd name="T8" fmla="*/ 2879 w 4211"/>
              <a:gd name="T9" fmla="*/ 454 h 1254"/>
              <a:gd name="T10" fmla="*/ 2692 w 4211"/>
              <a:gd name="T11" fmla="*/ 361 h 1254"/>
              <a:gd name="T12" fmla="*/ 2479 w 4211"/>
              <a:gd name="T13" fmla="*/ 311 h 1254"/>
              <a:gd name="T14" fmla="*/ 2299 w 4211"/>
              <a:gd name="T15" fmla="*/ 698 h 1254"/>
              <a:gd name="T16" fmla="*/ 1966 w 4211"/>
              <a:gd name="T17" fmla="*/ 651 h 1254"/>
              <a:gd name="T18" fmla="*/ 1625 w 4211"/>
              <a:gd name="T19" fmla="*/ 382 h 1254"/>
              <a:gd name="T20" fmla="*/ 1424 w 4211"/>
              <a:gd name="T21" fmla="*/ 558 h 1254"/>
              <a:gd name="T22" fmla="*/ 1102 w 4211"/>
              <a:gd name="T23" fmla="*/ 651 h 1254"/>
              <a:gd name="T24" fmla="*/ 842 w 4211"/>
              <a:gd name="T25" fmla="*/ 606 h 1254"/>
              <a:gd name="T26" fmla="*/ 485 w 4211"/>
              <a:gd name="T27" fmla="*/ 798 h 1254"/>
              <a:gd name="T28" fmla="*/ 11 w 4211"/>
              <a:gd name="T29" fmla="*/ 620 h 1254"/>
              <a:gd name="T30" fmla="*/ 1788 w 4211"/>
              <a:gd name="T31" fmla="*/ 979 h 1254"/>
              <a:gd name="T32" fmla="*/ 1746 w 4211"/>
              <a:gd name="T33" fmla="*/ 729 h 1254"/>
              <a:gd name="T34" fmla="*/ 1788 w 4211"/>
              <a:gd name="T35" fmla="*/ 520 h 1254"/>
              <a:gd name="T36" fmla="*/ 1746 w 4211"/>
              <a:gd name="T37" fmla="*/ 216 h 1254"/>
              <a:gd name="T38" fmla="*/ 1864 w 4211"/>
              <a:gd name="T39" fmla="*/ 881 h 1254"/>
              <a:gd name="T40" fmla="*/ 1864 w 4211"/>
              <a:gd name="T41" fmla="*/ 672 h 1254"/>
              <a:gd name="T42" fmla="*/ 1821 w 4211"/>
              <a:gd name="T43" fmla="*/ 423 h 1254"/>
              <a:gd name="T44" fmla="*/ 1864 w 4211"/>
              <a:gd name="T45" fmla="*/ 368 h 1254"/>
              <a:gd name="T46" fmla="*/ 1899 w 4211"/>
              <a:gd name="T47" fmla="*/ 979 h 1254"/>
              <a:gd name="T48" fmla="*/ 1940 w 4211"/>
              <a:gd name="T49" fmla="*/ 729 h 1254"/>
              <a:gd name="T50" fmla="*/ 1940 w 4211"/>
              <a:gd name="T51" fmla="*/ 520 h 1254"/>
              <a:gd name="T52" fmla="*/ 1899 w 4211"/>
              <a:gd name="T53" fmla="*/ 271 h 1254"/>
              <a:gd name="T54" fmla="*/ 1940 w 4211"/>
              <a:gd name="T55" fmla="*/ 216 h 1254"/>
              <a:gd name="T56" fmla="*/ 2441 w 4211"/>
              <a:gd name="T57" fmla="*/ 1138 h 1254"/>
              <a:gd name="T58" fmla="*/ 2496 w 4211"/>
              <a:gd name="T59" fmla="*/ 397 h 1254"/>
              <a:gd name="T60" fmla="*/ 2576 w 4211"/>
              <a:gd name="T61" fmla="*/ 1138 h 1254"/>
              <a:gd name="T62" fmla="*/ 2600 w 4211"/>
              <a:gd name="T63" fmla="*/ 397 h 1254"/>
              <a:gd name="T64" fmla="*/ 3518 w 4211"/>
              <a:gd name="T65" fmla="*/ 924 h 1254"/>
              <a:gd name="T66" fmla="*/ 3492 w 4211"/>
              <a:gd name="T67" fmla="*/ 803 h 1254"/>
              <a:gd name="T68" fmla="*/ 3518 w 4211"/>
              <a:gd name="T69" fmla="*/ 644 h 1254"/>
              <a:gd name="T70" fmla="*/ 3518 w 4211"/>
              <a:gd name="T71" fmla="*/ 558 h 1254"/>
              <a:gd name="T72" fmla="*/ 3492 w 4211"/>
              <a:gd name="T73" fmla="*/ 461 h 1254"/>
              <a:gd name="T74" fmla="*/ 3518 w 4211"/>
              <a:gd name="T75" fmla="*/ 437 h 1254"/>
              <a:gd name="T76" fmla="*/ 3492 w 4211"/>
              <a:gd name="T77" fmla="*/ 316 h 1254"/>
              <a:gd name="T78" fmla="*/ 3570 w 4211"/>
              <a:gd name="T79" fmla="*/ 948 h 1254"/>
              <a:gd name="T80" fmla="*/ 3570 w 4211"/>
              <a:gd name="T81" fmla="*/ 865 h 1254"/>
              <a:gd name="T82" fmla="*/ 3541 w 4211"/>
              <a:gd name="T83" fmla="*/ 765 h 1254"/>
              <a:gd name="T84" fmla="*/ 3570 w 4211"/>
              <a:gd name="T85" fmla="*/ 741 h 1254"/>
              <a:gd name="T86" fmla="*/ 3541 w 4211"/>
              <a:gd name="T87" fmla="*/ 620 h 1254"/>
              <a:gd name="T88" fmla="*/ 3570 w 4211"/>
              <a:gd name="T89" fmla="*/ 461 h 1254"/>
              <a:gd name="T90" fmla="*/ 3570 w 4211"/>
              <a:gd name="T91" fmla="*/ 378 h 1254"/>
              <a:gd name="T92" fmla="*/ 3541 w 4211"/>
              <a:gd name="T93" fmla="*/ 278 h 1254"/>
              <a:gd name="T94" fmla="*/ 3619 w 4211"/>
              <a:gd name="T95" fmla="*/ 986 h 1254"/>
              <a:gd name="T96" fmla="*/ 3593 w 4211"/>
              <a:gd name="T97" fmla="*/ 865 h 1254"/>
              <a:gd name="T98" fmla="*/ 3619 w 4211"/>
              <a:gd name="T99" fmla="*/ 765 h 1254"/>
              <a:gd name="T100" fmla="*/ 3619 w 4211"/>
              <a:gd name="T101" fmla="*/ 620 h 1254"/>
              <a:gd name="T102" fmla="*/ 3593 w 4211"/>
              <a:gd name="T103" fmla="*/ 520 h 1254"/>
              <a:gd name="T104" fmla="*/ 3619 w 4211"/>
              <a:gd name="T105" fmla="*/ 499 h 1254"/>
              <a:gd name="T106" fmla="*/ 3593 w 4211"/>
              <a:gd name="T107" fmla="*/ 378 h 1254"/>
              <a:gd name="T108" fmla="*/ 3619 w 4211"/>
              <a:gd name="T109" fmla="*/ 278 h 1254"/>
              <a:gd name="T110" fmla="*/ 3669 w 4211"/>
              <a:gd name="T111" fmla="*/ 865 h 1254"/>
              <a:gd name="T112" fmla="*/ 3643 w 4211"/>
              <a:gd name="T113" fmla="*/ 765 h 1254"/>
              <a:gd name="T114" fmla="*/ 3669 w 4211"/>
              <a:gd name="T115" fmla="*/ 741 h 1254"/>
              <a:gd name="T116" fmla="*/ 3643 w 4211"/>
              <a:gd name="T117" fmla="*/ 620 h 1254"/>
              <a:gd name="T118" fmla="*/ 3669 w 4211"/>
              <a:gd name="T119" fmla="*/ 520 h 1254"/>
              <a:gd name="T120" fmla="*/ 3669 w 4211"/>
              <a:gd name="T121" fmla="*/ 378 h 1254"/>
              <a:gd name="T122" fmla="*/ 3643 w 4211"/>
              <a:gd name="T123" fmla="*/ 278 h 1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11" h="1254">
                <a:moveTo>
                  <a:pt x="4107" y="853"/>
                </a:moveTo>
                <a:lnTo>
                  <a:pt x="4107" y="689"/>
                </a:lnTo>
                <a:lnTo>
                  <a:pt x="4038" y="689"/>
                </a:lnTo>
                <a:lnTo>
                  <a:pt x="4038" y="677"/>
                </a:lnTo>
                <a:lnTo>
                  <a:pt x="3967" y="677"/>
                </a:lnTo>
                <a:lnTo>
                  <a:pt x="3967" y="508"/>
                </a:lnTo>
                <a:lnTo>
                  <a:pt x="3743" y="508"/>
                </a:lnTo>
                <a:lnTo>
                  <a:pt x="3743" y="335"/>
                </a:lnTo>
                <a:lnTo>
                  <a:pt x="3712" y="335"/>
                </a:lnTo>
                <a:lnTo>
                  <a:pt x="3712" y="197"/>
                </a:lnTo>
                <a:lnTo>
                  <a:pt x="3653" y="197"/>
                </a:lnTo>
                <a:lnTo>
                  <a:pt x="3653" y="157"/>
                </a:lnTo>
                <a:lnTo>
                  <a:pt x="3617" y="157"/>
                </a:lnTo>
                <a:lnTo>
                  <a:pt x="3617" y="207"/>
                </a:lnTo>
                <a:lnTo>
                  <a:pt x="3440" y="207"/>
                </a:lnTo>
                <a:lnTo>
                  <a:pt x="3440" y="596"/>
                </a:lnTo>
                <a:lnTo>
                  <a:pt x="3388" y="596"/>
                </a:lnTo>
                <a:lnTo>
                  <a:pt x="3388" y="708"/>
                </a:lnTo>
                <a:lnTo>
                  <a:pt x="3362" y="708"/>
                </a:lnTo>
                <a:lnTo>
                  <a:pt x="3362" y="492"/>
                </a:lnTo>
                <a:lnTo>
                  <a:pt x="3276" y="492"/>
                </a:lnTo>
                <a:lnTo>
                  <a:pt x="3276" y="373"/>
                </a:lnTo>
                <a:lnTo>
                  <a:pt x="3146" y="373"/>
                </a:lnTo>
                <a:lnTo>
                  <a:pt x="3146" y="449"/>
                </a:lnTo>
                <a:lnTo>
                  <a:pt x="3078" y="382"/>
                </a:lnTo>
                <a:lnTo>
                  <a:pt x="3028" y="444"/>
                </a:lnTo>
                <a:lnTo>
                  <a:pt x="3009" y="444"/>
                </a:lnTo>
                <a:lnTo>
                  <a:pt x="3009" y="368"/>
                </a:lnTo>
                <a:lnTo>
                  <a:pt x="2959" y="368"/>
                </a:lnTo>
                <a:lnTo>
                  <a:pt x="2959" y="202"/>
                </a:lnTo>
                <a:lnTo>
                  <a:pt x="2924" y="202"/>
                </a:lnTo>
                <a:lnTo>
                  <a:pt x="2924" y="382"/>
                </a:lnTo>
                <a:lnTo>
                  <a:pt x="2896" y="382"/>
                </a:lnTo>
                <a:lnTo>
                  <a:pt x="2896" y="454"/>
                </a:lnTo>
                <a:lnTo>
                  <a:pt x="2879" y="454"/>
                </a:lnTo>
                <a:lnTo>
                  <a:pt x="2879" y="615"/>
                </a:lnTo>
                <a:lnTo>
                  <a:pt x="2806" y="615"/>
                </a:lnTo>
                <a:lnTo>
                  <a:pt x="2806" y="679"/>
                </a:lnTo>
                <a:lnTo>
                  <a:pt x="2746" y="679"/>
                </a:lnTo>
                <a:lnTo>
                  <a:pt x="2746" y="594"/>
                </a:lnTo>
                <a:lnTo>
                  <a:pt x="2692" y="594"/>
                </a:lnTo>
                <a:lnTo>
                  <a:pt x="2692" y="361"/>
                </a:lnTo>
                <a:lnTo>
                  <a:pt x="2626" y="361"/>
                </a:lnTo>
                <a:lnTo>
                  <a:pt x="2626" y="316"/>
                </a:lnTo>
                <a:lnTo>
                  <a:pt x="2557" y="316"/>
                </a:lnTo>
                <a:lnTo>
                  <a:pt x="2557" y="264"/>
                </a:lnTo>
                <a:lnTo>
                  <a:pt x="2522" y="264"/>
                </a:lnTo>
                <a:lnTo>
                  <a:pt x="2522" y="311"/>
                </a:lnTo>
                <a:lnTo>
                  <a:pt x="2479" y="311"/>
                </a:lnTo>
                <a:lnTo>
                  <a:pt x="2479" y="157"/>
                </a:lnTo>
                <a:lnTo>
                  <a:pt x="2413" y="157"/>
                </a:lnTo>
                <a:lnTo>
                  <a:pt x="2413" y="309"/>
                </a:lnTo>
                <a:lnTo>
                  <a:pt x="2339" y="309"/>
                </a:lnTo>
                <a:lnTo>
                  <a:pt x="2339" y="492"/>
                </a:lnTo>
                <a:lnTo>
                  <a:pt x="2299" y="492"/>
                </a:lnTo>
                <a:lnTo>
                  <a:pt x="2299" y="698"/>
                </a:lnTo>
                <a:lnTo>
                  <a:pt x="2127" y="698"/>
                </a:lnTo>
                <a:lnTo>
                  <a:pt x="2127" y="620"/>
                </a:lnTo>
                <a:lnTo>
                  <a:pt x="2018" y="620"/>
                </a:lnTo>
                <a:lnTo>
                  <a:pt x="2018" y="708"/>
                </a:lnTo>
                <a:lnTo>
                  <a:pt x="1999" y="708"/>
                </a:lnTo>
                <a:lnTo>
                  <a:pt x="1999" y="651"/>
                </a:lnTo>
                <a:lnTo>
                  <a:pt x="1966" y="651"/>
                </a:lnTo>
                <a:lnTo>
                  <a:pt x="1966" y="0"/>
                </a:lnTo>
                <a:lnTo>
                  <a:pt x="1710" y="0"/>
                </a:lnTo>
                <a:lnTo>
                  <a:pt x="1710" y="696"/>
                </a:lnTo>
                <a:lnTo>
                  <a:pt x="1632" y="696"/>
                </a:lnTo>
                <a:lnTo>
                  <a:pt x="1632" y="558"/>
                </a:lnTo>
                <a:lnTo>
                  <a:pt x="1625" y="558"/>
                </a:lnTo>
                <a:lnTo>
                  <a:pt x="1625" y="382"/>
                </a:lnTo>
                <a:lnTo>
                  <a:pt x="1554" y="283"/>
                </a:lnTo>
                <a:lnTo>
                  <a:pt x="1554" y="162"/>
                </a:lnTo>
                <a:lnTo>
                  <a:pt x="1530" y="162"/>
                </a:lnTo>
                <a:lnTo>
                  <a:pt x="1530" y="278"/>
                </a:lnTo>
                <a:lnTo>
                  <a:pt x="1469" y="387"/>
                </a:lnTo>
                <a:lnTo>
                  <a:pt x="1469" y="558"/>
                </a:lnTo>
                <a:lnTo>
                  <a:pt x="1424" y="558"/>
                </a:lnTo>
                <a:lnTo>
                  <a:pt x="1424" y="656"/>
                </a:lnTo>
                <a:lnTo>
                  <a:pt x="1388" y="656"/>
                </a:lnTo>
                <a:lnTo>
                  <a:pt x="1388" y="591"/>
                </a:lnTo>
                <a:lnTo>
                  <a:pt x="1197" y="591"/>
                </a:lnTo>
                <a:lnTo>
                  <a:pt x="1197" y="808"/>
                </a:lnTo>
                <a:lnTo>
                  <a:pt x="1102" y="808"/>
                </a:lnTo>
                <a:lnTo>
                  <a:pt x="1102" y="651"/>
                </a:lnTo>
                <a:lnTo>
                  <a:pt x="1052" y="651"/>
                </a:lnTo>
                <a:lnTo>
                  <a:pt x="1052" y="596"/>
                </a:lnTo>
                <a:lnTo>
                  <a:pt x="936" y="596"/>
                </a:lnTo>
                <a:lnTo>
                  <a:pt x="936" y="656"/>
                </a:lnTo>
                <a:lnTo>
                  <a:pt x="887" y="656"/>
                </a:lnTo>
                <a:lnTo>
                  <a:pt x="887" y="606"/>
                </a:lnTo>
                <a:lnTo>
                  <a:pt x="842" y="606"/>
                </a:lnTo>
                <a:lnTo>
                  <a:pt x="842" y="665"/>
                </a:lnTo>
                <a:lnTo>
                  <a:pt x="797" y="665"/>
                </a:lnTo>
                <a:lnTo>
                  <a:pt x="797" y="715"/>
                </a:lnTo>
                <a:lnTo>
                  <a:pt x="579" y="715"/>
                </a:lnTo>
                <a:lnTo>
                  <a:pt x="579" y="914"/>
                </a:lnTo>
                <a:lnTo>
                  <a:pt x="485" y="914"/>
                </a:lnTo>
                <a:lnTo>
                  <a:pt x="485" y="798"/>
                </a:lnTo>
                <a:lnTo>
                  <a:pt x="444" y="798"/>
                </a:lnTo>
                <a:lnTo>
                  <a:pt x="444" y="620"/>
                </a:lnTo>
                <a:lnTo>
                  <a:pt x="243" y="620"/>
                </a:lnTo>
                <a:lnTo>
                  <a:pt x="243" y="720"/>
                </a:lnTo>
                <a:lnTo>
                  <a:pt x="182" y="720"/>
                </a:lnTo>
                <a:lnTo>
                  <a:pt x="182" y="620"/>
                </a:lnTo>
                <a:lnTo>
                  <a:pt x="11" y="620"/>
                </a:lnTo>
                <a:lnTo>
                  <a:pt x="11" y="914"/>
                </a:lnTo>
                <a:lnTo>
                  <a:pt x="0" y="914"/>
                </a:lnTo>
                <a:lnTo>
                  <a:pt x="0" y="1247"/>
                </a:lnTo>
                <a:lnTo>
                  <a:pt x="4211" y="1254"/>
                </a:lnTo>
                <a:lnTo>
                  <a:pt x="4211" y="853"/>
                </a:lnTo>
                <a:lnTo>
                  <a:pt x="4107" y="853"/>
                </a:lnTo>
                <a:close/>
                <a:moveTo>
                  <a:pt x="1788" y="979"/>
                </a:moveTo>
                <a:lnTo>
                  <a:pt x="1746" y="979"/>
                </a:lnTo>
                <a:lnTo>
                  <a:pt x="1746" y="881"/>
                </a:lnTo>
                <a:lnTo>
                  <a:pt x="1788" y="881"/>
                </a:lnTo>
                <a:lnTo>
                  <a:pt x="1788" y="979"/>
                </a:lnTo>
                <a:close/>
                <a:moveTo>
                  <a:pt x="1788" y="827"/>
                </a:moveTo>
                <a:lnTo>
                  <a:pt x="1746" y="827"/>
                </a:lnTo>
                <a:lnTo>
                  <a:pt x="1746" y="729"/>
                </a:lnTo>
                <a:lnTo>
                  <a:pt x="1788" y="729"/>
                </a:lnTo>
                <a:lnTo>
                  <a:pt x="1788" y="827"/>
                </a:lnTo>
                <a:close/>
                <a:moveTo>
                  <a:pt x="1788" y="520"/>
                </a:moveTo>
                <a:lnTo>
                  <a:pt x="1746" y="520"/>
                </a:lnTo>
                <a:lnTo>
                  <a:pt x="1746" y="423"/>
                </a:lnTo>
                <a:lnTo>
                  <a:pt x="1788" y="423"/>
                </a:lnTo>
                <a:lnTo>
                  <a:pt x="1788" y="520"/>
                </a:lnTo>
                <a:close/>
                <a:moveTo>
                  <a:pt x="1788" y="368"/>
                </a:moveTo>
                <a:lnTo>
                  <a:pt x="1746" y="368"/>
                </a:lnTo>
                <a:lnTo>
                  <a:pt x="1746" y="271"/>
                </a:lnTo>
                <a:lnTo>
                  <a:pt x="1788" y="271"/>
                </a:lnTo>
                <a:lnTo>
                  <a:pt x="1788" y="368"/>
                </a:lnTo>
                <a:close/>
                <a:moveTo>
                  <a:pt x="1788" y="216"/>
                </a:moveTo>
                <a:lnTo>
                  <a:pt x="1746" y="216"/>
                </a:lnTo>
                <a:lnTo>
                  <a:pt x="1746" y="116"/>
                </a:lnTo>
                <a:lnTo>
                  <a:pt x="1788" y="116"/>
                </a:lnTo>
                <a:lnTo>
                  <a:pt x="1788" y="216"/>
                </a:lnTo>
                <a:close/>
                <a:moveTo>
                  <a:pt x="1864" y="979"/>
                </a:moveTo>
                <a:lnTo>
                  <a:pt x="1821" y="979"/>
                </a:lnTo>
                <a:lnTo>
                  <a:pt x="1821" y="881"/>
                </a:lnTo>
                <a:lnTo>
                  <a:pt x="1864" y="881"/>
                </a:lnTo>
                <a:lnTo>
                  <a:pt x="1864" y="979"/>
                </a:lnTo>
                <a:close/>
                <a:moveTo>
                  <a:pt x="1864" y="827"/>
                </a:moveTo>
                <a:lnTo>
                  <a:pt x="1821" y="827"/>
                </a:lnTo>
                <a:lnTo>
                  <a:pt x="1821" y="729"/>
                </a:lnTo>
                <a:lnTo>
                  <a:pt x="1864" y="729"/>
                </a:lnTo>
                <a:lnTo>
                  <a:pt x="1864" y="827"/>
                </a:lnTo>
                <a:close/>
                <a:moveTo>
                  <a:pt x="1864" y="672"/>
                </a:moveTo>
                <a:lnTo>
                  <a:pt x="1821" y="672"/>
                </a:lnTo>
                <a:lnTo>
                  <a:pt x="1821" y="575"/>
                </a:lnTo>
                <a:lnTo>
                  <a:pt x="1864" y="575"/>
                </a:lnTo>
                <a:lnTo>
                  <a:pt x="1864" y="672"/>
                </a:lnTo>
                <a:close/>
                <a:moveTo>
                  <a:pt x="1864" y="520"/>
                </a:moveTo>
                <a:lnTo>
                  <a:pt x="1821" y="520"/>
                </a:lnTo>
                <a:lnTo>
                  <a:pt x="1821" y="423"/>
                </a:lnTo>
                <a:lnTo>
                  <a:pt x="1864" y="423"/>
                </a:lnTo>
                <a:lnTo>
                  <a:pt x="1864" y="520"/>
                </a:lnTo>
                <a:close/>
                <a:moveTo>
                  <a:pt x="1864" y="368"/>
                </a:moveTo>
                <a:lnTo>
                  <a:pt x="1821" y="368"/>
                </a:lnTo>
                <a:lnTo>
                  <a:pt x="1821" y="271"/>
                </a:lnTo>
                <a:lnTo>
                  <a:pt x="1864" y="271"/>
                </a:lnTo>
                <a:lnTo>
                  <a:pt x="1864" y="368"/>
                </a:lnTo>
                <a:close/>
                <a:moveTo>
                  <a:pt x="1864" y="216"/>
                </a:moveTo>
                <a:lnTo>
                  <a:pt x="1821" y="216"/>
                </a:lnTo>
                <a:lnTo>
                  <a:pt x="1821" y="116"/>
                </a:lnTo>
                <a:lnTo>
                  <a:pt x="1864" y="116"/>
                </a:lnTo>
                <a:lnTo>
                  <a:pt x="1864" y="216"/>
                </a:lnTo>
                <a:close/>
                <a:moveTo>
                  <a:pt x="1940" y="979"/>
                </a:moveTo>
                <a:lnTo>
                  <a:pt x="1899" y="979"/>
                </a:lnTo>
                <a:lnTo>
                  <a:pt x="1899" y="881"/>
                </a:lnTo>
                <a:lnTo>
                  <a:pt x="1940" y="881"/>
                </a:lnTo>
                <a:lnTo>
                  <a:pt x="1940" y="979"/>
                </a:lnTo>
                <a:close/>
                <a:moveTo>
                  <a:pt x="1940" y="827"/>
                </a:moveTo>
                <a:lnTo>
                  <a:pt x="1899" y="827"/>
                </a:lnTo>
                <a:lnTo>
                  <a:pt x="1899" y="729"/>
                </a:lnTo>
                <a:lnTo>
                  <a:pt x="1940" y="729"/>
                </a:lnTo>
                <a:lnTo>
                  <a:pt x="1940" y="827"/>
                </a:lnTo>
                <a:close/>
                <a:moveTo>
                  <a:pt x="1940" y="672"/>
                </a:moveTo>
                <a:lnTo>
                  <a:pt x="1899" y="672"/>
                </a:lnTo>
                <a:lnTo>
                  <a:pt x="1899" y="575"/>
                </a:lnTo>
                <a:lnTo>
                  <a:pt x="1940" y="575"/>
                </a:lnTo>
                <a:lnTo>
                  <a:pt x="1940" y="672"/>
                </a:lnTo>
                <a:close/>
                <a:moveTo>
                  <a:pt x="1940" y="520"/>
                </a:moveTo>
                <a:lnTo>
                  <a:pt x="1899" y="520"/>
                </a:lnTo>
                <a:lnTo>
                  <a:pt x="1899" y="423"/>
                </a:lnTo>
                <a:lnTo>
                  <a:pt x="1940" y="423"/>
                </a:lnTo>
                <a:lnTo>
                  <a:pt x="1940" y="520"/>
                </a:lnTo>
                <a:close/>
                <a:moveTo>
                  <a:pt x="1940" y="368"/>
                </a:moveTo>
                <a:lnTo>
                  <a:pt x="1899" y="368"/>
                </a:lnTo>
                <a:lnTo>
                  <a:pt x="1899" y="271"/>
                </a:lnTo>
                <a:lnTo>
                  <a:pt x="1940" y="271"/>
                </a:lnTo>
                <a:lnTo>
                  <a:pt x="1940" y="368"/>
                </a:lnTo>
                <a:close/>
                <a:moveTo>
                  <a:pt x="1940" y="216"/>
                </a:moveTo>
                <a:lnTo>
                  <a:pt x="1899" y="216"/>
                </a:lnTo>
                <a:lnTo>
                  <a:pt x="1899" y="116"/>
                </a:lnTo>
                <a:lnTo>
                  <a:pt x="1940" y="116"/>
                </a:lnTo>
                <a:lnTo>
                  <a:pt x="1940" y="216"/>
                </a:lnTo>
                <a:close/>
                <a:moveTo>
                  <a:pt x="2418" y="1138"/>
                </a:moveTo>
                <a:lnTo>
                  <a:pt x="2401" y="1138"/>
                </a:lnTo>
                <a:lnTo>
                  <a:pt x="2401" y="397"/>
                </a:lnTo>
                <a:lnTo>
                  <a:pt x="2418" y="397"/>
                </a:lnTo>
                <a:lnTo>
                  <a:pt x="2418" y="1138"/>
                </a:lnTo>
                <a:close/>
                <a:moveTo>
                  <a:pt x="2458" y="1138"/>
                </a:moveTo>
                <a:lnTo>
                  <a:pt x="2441" y="1138"/>
                </a:lnTo>
                <a:lnTo>
                  <a:pt x="2441" y="397"/>
                </a:lnTo>
                <a:lnTo>
                  <a:pt x="2458" y="397"/>
                </a:lnTo>
                <a:lnTo>
                  <a:pt x="2458" y="1138"/>
                </a:lnTo>
                <a:close/>
                <a:moveTo>
                  <a:pt x="2496" y="1138"/>
                </a:moveTo>
                <a:lnTo>
                  <a:pt x="2481" y="1138"/>
                </a:lnTo>
                <a:lnTo>
                  <a:pt x="2481" y="397"/>
                </a:lnTo>
                <a:lnTo>
                  <a:pt x="2496" y="397"/>
                </a:lnTo>
                <a:lnTo>
                  <a:pt x="2496" y="1138"/>
                </a:lnTo>
                <a:close/>
                <a:moveTo>
                  <a:pt x="2536" y="1138"/>
                </a:moveTo>
                <a:lnTo>
                  <a:pt x="2522" y="1138"/>
                </a:lnTo>
                <a:lnTo>
                  <a:pt x="2522" y="397"/>
                </a:lnTo>
                <a:lnTo>
                  <a:pt x="2536" y="397"/>
                </a:lnTo>
                <a:lnTo>
                  <a:pt x="2536" y="1138"/>
                </a:lnTo>
                <a:close/>
                <a:moveTo>
                  <a:pt x="2576" y="1138"/>
                </a:moveTo>
                <a:lnTo>
                  <a:pt x="2562" y="1138"/>
                </a:lnTo>
                <a:lnTo>
                  <a:pt x="2562" y="397"/>
                </a:lnTo>
                <a:lnTo>
                  <a:pt x="2576" y="397"/>
                </a:lnTo>
                <a:lnTo>
                  <a:pt x="2576" y="1138"/>
                </a:lnTo>
                <a:close/>
                <a:moveTo>
                  <a:pt x="2616" y="1138"/>
                </a:moveTo>
                <a:lnTo>
                  <a:pt x="2600" y="1138"/>
                </a:lnTo>
                <a:lnTo>
                  <a:pt x="2600" y="397"/>
                </a:lnTo>
                <a:lnTo>
                  <a:pt x="2616" y="397"/>
                </a:lnTo>
                <a:lnTo>
                  <a:pt x="2616" y="1138"/>
                </a:lnTo>
                <a:close/>
                <a:moveTo>
                  <a:pt x="3518" y="924"/>
                </a:moveTo>
                <a:lnTo>
                  <a:pt x="3492" y="924"/>
                </a:lnTo>
                <a:lnTo>
                  <a:pt x="3492" y="886"/>
                </a:lnTo>
                <a:lnTo>
                  <a:pt x="3518" y="886"/>
                </a:lnTo>
                <a:lnTo>
                  <a:pt x="3518" y="924"/>
                </a:lnTo>
                <a:close/>
                <a:moveTo>
                  <a:pt x="3518" y="865"/>
                </a:moveTo>
                <a:lnTo>
                  <a:pt x="3492" y="865"/>
                </a:lnTo>
                <a:lnTo>
                  <a:pt x="3492" y="827"/>
                </a:lnTo>
                <a:lnTo>
                  <a:pt x="3518" y="827"/>
                </a:lnTo>
                <a:lnTo>
                  <a:pt x="3518" y="865"/>
                </a:lnTo>
                <a:close/>
                <a:moveTo>
                  <a:pt x="3518" y="803"/>
                </a:moveTo>
                <a:lnTo>
                  <a:pt x="3492" y="803"/>
                </a:lnTo>
                <a:lnTo>
                  <a:pt x="3492" y="765"/>
                </a:lnTo>
                <a:lnTo>
                  <a:pt x="3518" y="765"/>
                </a:lnTo>
                <a:lnTo>
                  <a:pt x="3518" y="803"/>
                </a:lnTo>
                <a:close/>
                <a:moveTo>
                  <a:pt x="3518" y="682"/>
                </a:moveTo>
                <a:lnTo>
                  <a:pt x="3492" y="682"/>
                </a:lnTo>
                <a:lnTo>
                  <a:pt x="3492" y="644"/>
                </a:lnTo>
                <a:lnTo>
                  <a:pt x="3518" y="644"/>
                </a:lnTo>
                <a:lnTo>
                  <a:pt x="3518" y="682"/>
                </a:lnTo>
                <a:close/>
                <a:moveTo>
                  <a:pt x="3518" y="620"/>
                </a:moveTo>
                <a:lnTo>
                  <a:pt x="3492" y="620"/>
                </a:lnTo>
                <a:lnTo>
                  <a:pt x="3492" y="582"/>
                </a:lnTo>
                <a:lnTo>
                  <a:pt x="3518" y="582"/>
                </a:lnTo>
                <a:lnTo>
                  <a:pt x="3518" y="620"/>
                </a:lnTo>
                <a:close/>
                <a:moveTo>
                  <a:pt x="3518" y="558"/>
                </a:moveTo>
                <a:lnTo>
                  <a:pt x="3492" y="558"/>
                </a:lnTo>
                <a:lnTo>
                  <a:pt x="3492" y="520"/>
                </a:lnTo>
                <a:lnTo>
                  <a:pt x="3518" y="520"/>
                </a:lnTo>
                <a:lnTo>
                  <a:pt x="3518" y="558"/>
                </a:lnTo>
                <a:close/>
                <a:moveTo>
                  <a:pt x="3518" y="499"/>
                </a:moveTo>
                <a:lnTo>
                  <a:pt x="3492" y="499"/>
                </a:lnTo>
                <a:lnTo>
                  <a:pt x="3492" y="461"/>
                </a:lnTo>
                <a:lnTo>
                  <a:pt x="3518" y="461"/>
                </a:lnTo>
                <a:lnTo>
                  <a:pt x="3518" y="499"/>
                </a:lnTo>
                <a:close/>
                <a:moveTo>
                  <a:pt x="3518" y="437"/>
                </a:moveTo>
                <a:lnTo>
                  <a:pt x="3492" y="437"/>
                </a:lnTo>
                <a:lnTo>
                  <a:pt x="3492" y="399"/>
                </a:lnTo>
                <a:lnTo>
                  <a:pt x="3518" y="399"/>
                </a:lnTo>
                <a:lnTo>
                  <a:pt x="3518" y="437"/>
                </a:lnTo>
                <a:close/>
                <a:moveTo>
                  <a:pt x="3518" y="378"/>
                </a:moveTo>
                <a:lnTo>
                  <a:pt x="3492" y="378"/>
                </a:lnTo>
                <a:lnTo>
                  <a:pt x="3492" y="337"/>
                </a:lnTo>
                <a:lnTo>
                  <a:pt x="3518" y="337"/>
                </a:lnTo>
                <a:lnTo>
                  <a:pt x="3518" y="378"/>
                </a:lnTo>
                <a:close/>
                <a:moveTo>
                  <a:pt x="3518" y="316"/>
                </a:moveTo>
                <a:lnTo>
                  <a:pt x="3492" y="316"/>
                </a:lnTo>
                <a:lnTo>
                  <a:pt x="3492" y="278"/>
                </a:lnTo>
                <a:lnTo>
                  <a:pt x="3518" y="278"/>
                </a:lnTo>
                <a:lnTo>
                  <a:pt x="3518" y="316"/>
                </a:lnTo>
                <a:close/>
                <a:moveTo>
                  <a:pt x="3570" y="986"/>
                </a:moveTo>
                <a:lnTo>
                  <a:pt x="3541" y="986"/>
                </a:lnTo>
                <a:lnTo>
                  <a:pt x="3541" y="948"/>
                </a:lnTo>
                <a:lnTo>
                  <a:pt x="3570" y="948"/>
                </a:lnTo>
                <a:lnTo>
                  <a:pt x="3570" y="986"/>
                </a:lnTo>
                <a:close/>
                <a:moveTo>
                  <a:pt x="3570" y="924"/>
                </a:moveTo>
                <a:lnTo>
                  <a:pt x="3541" y="924"/>
                </a:lnTo>
                <a:lnTo>
                  <a:pt x="3541" y="886"/>
                </a:lnTo>
                <a:lnTo>
                  <a:pt x="3570" y="886"/>
                </a:lnTo>
                <a:lnTo>
                  <a:pt x="3570" y="924"/>
                </a:lnTo>
                <a:close/>
                <a:moveTo>
                  <a:pt x="3570" y="865"/>
                </a:moveTo>
                <a:lnTo>
                  <a:pt x="3541" y="865"/>
                </a:lnTo>
                <a:lnTo>
                  <a:pt x="3541" y="827"/>
                </a:lnTo>
                <a:lnTo>
                  <a:pt x="3570" y="827"/>
                </a:lnTo>
                <a:lnTo>
                  <a:pt x="3570" y="865"/>
                </a:lnTo>
                <a:close/>
                <a:moveTo>
                  <a:pt x="3570" y="803"/>
                </a:moveTo>
                <a:lnTo>
                  <a:pt x="3541" y="803"/>
                </a:lnTo>
                <a:lnTo>
                  <a:pt x="3541" y="765"/>
                </a:lnTo>
                <a:lnTo>
                  <a:pt x="3570" y="765"/>
                </a:lnTo>
                <a:lnTo>
                  <a:pt x="3570" y="803"/>
                </a:lnTo>
                <a:close/>
                <a:moveTo>
                  <a:pt x="3570" y="741"/>
                </a:moveTo>
                <a:lnTo>
                  <a:pt x="3541" y="741"/>
                </a:lnTo>
                <a:lnTo>
                  <a:pt x="3541" y="703"/>
                </a:lnTo>
                <a:lnTo>
                  <a:pt x="3570" y="703"/>
                </a:lnTo>
                <a:lnTo>
                  <a:pt x="3570" y="741"/>
                </a:lnTo>
                <a:close/>
                <a:moveTo>
                  <a:pt x="3570" y="682"/>
                </a:moveTo>
                <a:lnTo>
                  <a:pt x="3541" y="682"/>
                </a:lnTo>
                <a:lnTo>
                  <a:pt x="3541" y="644"/>
                </a:lnTo>
                <a:lnTo>
                  <a:pt x="3570" y="644"/>
                </a:lnTo>
                <a:lnTo>
                  <a:pt x="3570" y="682"/>
                </a:lnTo>
                <a:close/>
                <a:moveTo>
                  <a:pt x="3570" y="620"/>
                </a:moveTo>
                <a:lnTo>
                  <a:pt x="3541" y="620"/>
                </a:lnTo>
                <a:lnTo>
                  <a:pt x="3541" y="582"/>
                </a:lnTo>
                <a:lnTo>
                  <a:pt x="3570" y="582"/>
                </a:lnTo>
                <a:lnTo>
                  <a:pt x="3570" y="620"/>
                </a:lnTo>
                <a:close/>
                <a:moveTo>
                  <a:pt x="3570" y="499"/>
                </a:moveTo>
                <a:lnTo>
                  <a:pt x="3541" y="499"/>
                </a:lnTo>
                <a:lnTo>
                  <a:pt x="3541" y="461"/>
                </a:lnTo>
                <a:lnTo>
                  <a:pt x="3570" y="461"/>
                </a:lnTo>
                <a:lnTo>
                  <a:pt x="3570" y="499"/>
                </a:lnTo>
                <a:close/>
                <a:moveTo>
                  <a:pt x="3570" y="437"/>
                </a:moveTo>
                <a:lnTo>
                  <a:pt x="3541" y="437"/>
                </a:lnTo>
                <a:lnTo>
                  <a:pt x="3541" y="399"/>
                </a:lnTo>
                <a:lnTo>
                  <a:pt x="3570" y="399"/>
                </a:lnTo>
                <a:lnTo>
                  <a:pt x="3570" y="437"/>
                </a:lnTo>
                <a:close/>
                <a:moveTo>
                  <a:pt x="3570" y="378"/>
                </a:moveTo>
                <a:lnTo>
                  <a:pt x="3541" y="378"/>
                </a:lnTo>
                <a:lnTo>
                  <a:pt x="3541" y="337"/>
                </a:lnTo>
                <a:lnTo>
                  <a:pt x="3570" y="337"/>
                </a:lnTo>
                <a:lnTo>
                  <a:pt x="3570" y="378"/>
                </a:lnTo>
                <a:close/>
                <a:moveTo>
                  <a:pt x="3570" y="316"/>
                </a:moveTo>
                <a:lnTo>
                  <a:pt x="3541" y="316"/>
                </a:lnTo>
                <a:lnTo>
                  <a:pt x="3541" y="278"/>
                </a:lnTo>
                <a:lnTo>
                  <a:pt x="3570" y="278"/>
                </a:lnTo>
                <a:lnTo>
                  <a:pt x="3570" y="316"/>
                </a:lnTo>
                <a:close/>
                <a:moveTo>
                  <a:pt x="3619" y="986"/>
                </a:moveTo>
                <a:lnTo>
                  <a:pt x="3593" y="986"/>
                </a:lnTo>
                <a:lnTo>
                  <a:pt x="3593" y="948"/>
                </a:lnTo>
                <a:lnTo>
                  <a:pt x="3619" y="948"/>
                </a:lnTo>
                <a:lnTo>
                  <a:pt x="3619" y="986"/>
                </a:lnTo>
                <a:close/>
                <a:moveTo>
                  <a:pt x="3619" y="924"/>
                </a:moveTo>
                <a:lnTo>
                  <a:pt x="3593" y="924"/>
                </a:lnTo>
                <a:lnTo>
                  <a:pt x="3593" y="886"/>
                </a:lnTo>
                <a:lnTo>
                  <a:pt x="3619" y="886"/>
                </a:lnTo>
                <a:lnTo>
                  <a:pt x="3619" y="924"/>
                </a:lnTo>
                <a:close/>
                <a:moveTo>
                  <a:pt x="3619" y="865"/>
                </a:moveTo>
                <a:lnTo>
                  <a:pt x="3593" y="865"/>
                </a:lnTo>
                <a:lnTo>
                  <a:pt x="3593" y="827"/>
                </a:lnTo>
                <a:lnTo>
                  <a:pt x="3619" y="827"/>
                </a:lnTo>
                <a:lnTo>
                  <a:pt x="3619" y="865"/>
                </a:lnTo>
                <a:close/>
                <a:moveTo>
                  <a:pt x="3619" y="803"/>
                </a:moveTo>
                <a:lnTo>
                  <a:pt x="3593" y="803"/>
                </a:lnTo>
                <a:lnTo>
                  <a:pt x="3593" y="765"/>
                </a:lnTo>
                <a:lnTo>
                  <a:pt x="3619" y="765"/>
                </a:lnTo>
                <a:lnTo>
                  <a:pt x="3619" y="803"/>
                </a:lnTo>
                <a:close/>
                <a:moveTo>
                  <a:pt x="3619" y="682"/>
                </a:moveTo>
                <a:lnTo>
                  <a:pt x="3593" y="682"/>
                </a:lnTo>
                <a:lnTo>
                  <a:pt x="3593" y="644"/>
                </a:lnTo>
                <a:lnTo>
                  <a:pt x="3619" y="644"/>
                </a:lnTo>
                <a:lnTo>
                  <a:pt x="3619" y="682"/>
                </a:lnTo>
                <a:close/>
                <a:moveTo>
                  <a:pt x="3619" y="620"/>
                </a:moveTo>
                <a:lnTo>
                  <a:pt x="3593" y="620"/>
                </a:lnTo>
                <a:lnTo>
                  <a:pt x="3593" y="582"/>
                </a:lnTo>
                <a:lnTo>
                  <a:pt x="3619" y="582"/>
                </a:lnTo>
                <a:lnTo>
                  <a:pt x="3619" y="620"/>
                </a:lnTo>
                <a:close/>
                <a:moveTo>
                  <a:pt x="3619" y="558"/>
                </a:moveTo>
                <a:lnTo>
                  <a:pt x="3593" y="558"/>
                </a:lnTo>
                <a:lnTo>
                  <a:pt x="3593" y="520"/>
                </a:lnTo>
                <a:lnTo>
                  <a:pt x="3619" y="520"/>
                </a:lnTo>
                <a:lnTo>
                  <a:pt x="3619" y="558"/>
                </a:lnTo>
                <a:close/>
                <a:moveTo>
                  <a:pt x="3619" y="499"/>
                </a:moveTo>
                <a:lnTo>
                  <a:pt x="3593" y="499"/>
                </a:lnTo>
                <a:lnTo>
                  <a:pt x="3593" y="461"/>
                </a:lnTo>
                <a:lnTo>
                  <a:pt x="3619" y="461"/>
                </a:lnTo>
                <a:lnTo>
                  <a:pt x="3619" y="499"/>
                </a:lnTo>
                <a:close/>
                <a:moveTo>
                  <a:pt x="3619" y="437"/>
                </a:moveTo>
                <a:lnTo>
                  <a:pt x="3593" y="437"/>
                </a:lnTo>
                <a:lnTo>
                  <a:pt x="3593" y="399"/>
                </a:lnTo>
                <a:lnTo>
                  <a:pt x="3619" y="399"/>
                </a:lnTo>
                <a:lnTo>
                  <a:pt x="3619" y="437"/>
                </a:lnTo>
                <a:close/>
                <a:moveTo>
                  <a:pt x="3619" y="378"/>
                </a:moveTo>
                <a:lnTo>
                  <a:pt x="3593" y="378"/>
                </a:lnTo>
                <a:lnTo>
                  <a:pt x="3593" y="337"/>
                </a:lnTo>
                <a:lnTo>
                  <a:pt x="3619" y="337"/>
                </a:lnTo>
                <a:lnTo>
                  <a:pt x="3619" y="378"/>
                </a:lnTo>
                <a:close/>
                <a:moveTo>
                  <a:pt x="3619" y="316"/>
                </a:moveTo>
                <a:lnTo>
                  <a:pt x="3593" y="316"/>
                </a:lnTo>
                <a:lnTo>
                  <a:pt x="3593" y="278"/>
                </a:lnTo>
                <a:lnTo>
                  <a:pt x="3619" y="278"/>
                </a:lnTo>
                <a:lnTo>
                  <a:pt x="3619" y="316"/>
                </a:lnTo>
                <a:close/>
                <a:moveTo>
                  <a:pt x="3669" y="986"/>
                </a:moveTo>
                <a:lnTo>
                  <a:pt x="3643" y="986"/>
                </a:lnTo>
                <a:lnTo>
                  <a:pt x="3643" y="948"/>
                </a:lnTo>
                <a:lnTo>
                  <a:pt x="3669" y="948"/>
                </a:lnTo>
                <a:lnTo>
                  <a:pt x="3669" y="986"/>
                </a:lnTo>
                <a:close/>
                <a:moveTo>
                  <a:pt x="3669" y="865"/>
                </a:moveTo>
                <a:lnTo>
                  <a:pt x="3643" y="865"/>
                </a:lnTo>
                <a:lnTo>
                  <a:pt x="3643" y="827"/>
                </a:lnTo>
                <a:lnTo>
                  <a:pt x="3669" y="827"/>
                </a:lnTo>
                <a:lnTo>
                  <a:pt x="3669" y="865"/>
                </a:lnTo>
                <a:close/>
                <a:moveTo>
                  <a:pt x="3669" y="803"/>
                </a:moveTo>
                <a:lnTo>
                  <a:pt x="3643" y="803"/>
                </a:lnTo>
                <a:lnTo>
                  <a:pt x="3643" y="765"/>
                </a:lnTo>
                <a:lnTo>
                  <a:pt x="3669" y="765"/>
                </a:lnTo>
                <a:lnTo>
                  <a:pt x="3669" y="803"/>
                </a:lnTo>
                <a:close/>
                <a:moveTo>
                  <a:pt x="3669" y="741"/>
                </a:moveTo>
                <a:lnTo>
                  <a:pt x="3643" y="741"/>
                </a:lnTo>
                <a:lnTo>
                  <a:pt x="3643" y="703"/>
                </a:lnTo>
                <a:lnTo>
                  <a:pt x="3669" y="703"/>
                </a:lnTo>
                <a:lnTo>
                  <a:pt x="3669" y="741"/>
                </a:lnTo>
                <a:close/>
                <a:moveTo>
                  <a:pt x="3669" y="682"/>
                </a:moveTo>
                <a:lnTo>
                  <a:pt x="3643" y="682"/>
                </a:lnTo>
                <a:lnTo>
                  <a:pt x="3643" y="644"/>
                </a:lnTo>
                <a:lnTo>
                  <a:pt x="3669" y="644"/>
                </a:lnTo>
                <a:lnTo>
                  <a:pt x="3669" y="682"/>
                </a:lnTo>
                <a:close/>
                <a:moveTo>
                  <a:pt x="3669" y="620"/>
                </a:moveTo>
                <a:lnTo>
                  <a:pt x="3643" y="620"/>
                </a:lnTo>
                <a:lnTo>
                  <a:pt x="3643" y="582"/>
                </a:lnTo>
                <a:lnTo>
                  <a:pt x="3669" y="582"/>
                </a:lnTo>
                <a:lnTo>
                  <a:pt x="3669" y="620"/>
                </a:lnTo>
                <a:close/>
                <a:moveTo>
                  <a:pt x="3669" y="558"/>
                </a:moveTo>
                <a:lnTo>
                  <a:pt x="3643" y="558"/>
                </a:lnTo>
                <a:lnTo>
                  <a:pt x="3643" y="520"/>
                </a:lnTo>
                <a:lnTo>
                  <a:pt x="3669" y="520"/>
                </a:lnTo>
                <a:lnTo>
                  <a:pt x="3669" y="558"/>
                </a:lnTo>
                <a:close/>
                <a:moveTo>
                  <a:pt x="3669" y="499"/>
                </a:moveTo>
                <a:lnTo>
                  <a:pt x="3643" y="499"/>
                </a:lnTo>
                <a:lnTo>
                  <a:pt x="3643" y="461"/>
                </a:lnTo>
                <a:lnTo>
                  <a:pt x="3669" y="461"/>
                </a:lnTo>
                <a:lnTo>
                  <a:pt x="3669" y="499"/>
                </a:lnTo>
                <a:close/>
                <a:moveTo>
                  <a:pt x="3669" y="378"/>
                </a:moveTo>
                <a:lnTo>
                  <a:pt x="3643" y="378"/>
                </a:lnTo>
                <a:lnTo>
                  <a:pt x="3643" y="337"/>
                </a:lnTo>
                <a:lnTo>
                  <a:pt x="3669" y="337"/>
                </a:lnTo>
                <a:lnTo>
                  <a:pt x="3669" y="378"/>
                </a:lnTo>
                <a:close/>
                <a:moveTo>
                  <a:pt x="3669" y="316"/>
                </a:moveTo>
                <a:lnTo>
                  <a:pt x="3643" y="316"/>
                </a:lnTo>
                <a:lnTo>
                  <a:pt x="3643" y="278"/>
                </a:lnTo>
                <a:lnTo>
                  <a:pt x="3669" y="278"/>
                </a:lnTo>
                <a:lnTo>
                  <a:pt x="3669" y="316"/>
                </a:lnTo>
                <a:close/>
              </a:path>
            </a:pathLst>
          </a:custGeom>
          <a:solidFill>
            <a:schemeClr val="tx2">
              <a:lumMod val="60000"/>
              <a:lumOff val="40000"/>
              <a:alpha val="15000"/>
            </a:schemeClr>
          </a:solidFill>
          <a:ln>
            <a:noFill/>
          </a:ln>
        </p:spPr>
        <p:txBody>
          <a:bodyPr/>
          <a:lstStyle/>
          <a:p>
            <a:pPr eaLnBrk="1" fontAlgn="auto" hangingPunct="1">
              <a:spcBef>
                <a:spcPts val="0"/>
              </a:spcBef>
              <a:spcAft>
                <a:spcPts val="0"/>
              </a:spcAft>
              <a:defRPr/>
            </a:pPr>
            <a:endParaRPr lang="en-US" sz="1351">
              <a:latin typeface="+mn-lt"/>
            </a:endParaRPr>
          </a:p>
        </p:txBody>
      </p:sp>
      <p:grpSp>
        <p:nvGrpSpPr>
          <p:cNvPr id="25610" name="Group 307">
            <a:extLst>
              <a:ext uri="{FF2B5EF4-FFF2-40B4-BE49-F238E27FC236}">
                <a16:creationId xmlns:a16="http://schemas.microsoft.com/office/drawing/2014/main" id="{B8B6AD7F-C972-CAD2-BF92-AA253CC30DC1}"/>
              </a:ext>
            </a:extLst>
          </p:cNvPr>
          <p:cNvGrpSpPr>
            <a:grpSpLocks/>
          </p:cNvGrpSpPr>
          <p:nvPr/>
        </p:nvGrpSpPr>
        <p:grpSpPr bwMode="auto">
          <a:xfrm>
            <a:off x="-3175" y="6743700"/>
            <a:ext cx="12195175" cy="114300"/>
            <a:chOff x="-3175" y="4762500"/>
            <a:chExt cx="12195174" cy="2092323"/>
          </a:xfrm>
        </p:grpSpPr>
        <p:sp>
          <p:nvSpPr>
            <p:cNvPr id="57" name="Rectangle 308">
              <a:extLst>
                <a:ext uri="{FF2B5EF4-FFF2-40B4-BE49-F238E27FC236}">
                  <a16:creationId xmlns:a16="http://schemas.microsoft.com/office/drawing/2014/main" id="{9DFB3295-04C4-2056-A6C1-520476BCD3B5}"/>
                </a:ext>
              </a:extLst>
            </p:cNvPr>
            <p:cNvSpPr/>
            <p:nvPr/>
          </p:nvSpPr>
          <p:spPr>
            <a:xfrm>
              <a:off x="-3175" y="4762500"/>
              <a:ext cx="2032000" cy="2092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8" name="Rectangle 309">
              <a:extLst>
                <a:ext uri="{FF2B5EF4-FFF2-40B4-BE49-F238E27FC236}">
                  <a16:creationId xmlns:a16="http://schemas.microsoft.com/office/drawing/2014/main" id="{9DB9AC0B-24D0-90BC-B1BA-9E37016E0762}"/>
                </a:ext>
              </a:extLst>
            </p:cNvPr>
            <p:cNvSpPr/>
            <p:nvPr/>
          </p:nvSpPr>
          <p:spPr>
            <a:xfrm>
              <a:off x="2027238" y="4762500"/>
              <a:ext cx="2032000" cy="2092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9" name="Rectangle 310">
              <a:extLst>
                <a:ext uri="{FF2B5EF4-FFF2-40B4-BE49-F238E27FC236}">
                  <a16:creationId xmlns:a16="http://schemas.microsoft.com/office/drawing/2014/main" id="{6B67587F-35A5-E795-5529-486BCE224098}"/>
                </a:ext>
              </a:extLst>
            </p:cNvPr>
            <p:cNvSpPr/>
            <p:nvPr/>
          </p:nvSpPr>
          <p:spPr>
            <a:xfrm>
              <a:off x="4059238" y="4762500"/>
              <a:ext cx="2032000" cy="2092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0" name="Rectangle 311">
              <a:extLst>
                <a:ext uri="{FF2B5EF4-FFF2-40B4-BE49-F238E27FC236}">
                  <a16:creationId xmlns:a16="http://schemas.microsoft.com/office/drawing/2014/main" id="{2EF72A03-3744-6816-A78B-B0E277AF5DBB}"/>
                </a:ext>
              </a:extLst>
            </p:cNvPr>
            <p:cNvSpPr/>
            <p:nvPr/>
          </p:nvSpPr>
          <p:spPr>
            <a:xfrm>
              <a:off x="6089650" y="4762500"/>
              <a:ext cx="2032000" cy="2092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1" name="Rectangle 312">
              <a:extLst>
                <a:ext uri="{FF2B5EF4-FFF2-40B4-BE49-F238E27FC236}">
                  <a16:creationId xmlns:a16="http://schemas.microsoft.com/office/drawing/2014/main" id="{16A7539A-8B8D-1A73-9DC1-52E77385771D}"/>
                </a:ext>
              </a:extLst>
            </p:cNvPr>
            <p:cNvSpPr/>
            <p:nvPr/>
          </p:nvSpPr>
          <p:spPr>
            <a:xfrm>
              <a:off x="8118474" y="4762500"/>
              <a:ext cx="2032000" cy="2092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2" name="Rectangle 313">
              <a:extLst>
                <a:ext uri="{FF2B5EF4-FFF2-40B4-BE49-F238E27FC236}">
                  <a16:creationId xmlns:a16="http://schemas.microsoft.com/office/drawing/2014/main" id="{25720CDE-AFC8-EC79-C9AB-0CB2C69977FE}"/>
                </a:ext>
              </a:extLst>
            </p:cNvPr>
            <p:cNvSpPr/>
            <p:nvPr/>
          </p:nvSpPr>
          <p:spPr>
            <a:xfrm>
              <a:off x="10148887" y="4762500"/>
              <a:ext cx="2043112" cy="20923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
        <p:nvSpPr>
          <p:cNvPr id="25611" name="İçerik Yer Tutucusu 2">
            <a:extLst>
              <a:ext uri="{FF2B5EF4-FFF2-40B4-BE49-F238E27FC236}">
                <a16:creationId xmlns:a16="http://schemas.microsoft.com/office/drawing/2014/main" id="{9691B75F-7423-3503-C30E-8685B2CA7D2F}"/>
              </a:ext>
            </a:extLst>
          </p:cNvPr>
          <p:cNvSpPr txBox="1">
            <a:spLocks/>
          </p:cNvSpPr>
          <p:nvPr/>
        </p:nvSpPr>
        <p:spPr bwMode="auto">
          <a:xfrm>
            <a:off x="1308100" y="1687513"/>
            <a:ext cx="6378575" cy="4738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50000"/>
              </a:lnSpc>
            </a:pPr>
            <a:r>
              <a:rPr lang="tr-TR" altLang="tr-TR" sz="1800">
                <a:latin typeface="Open Sans" panose="020B0606030504020204" pitchFamily="34" charset="0"/>
                <a:cs typeface="Open Sans" panose="020B0606030504020204" pitchFamily="34" charset="0"/>
              </a:rPr>
              <a:t>Banka ve Finans Kuruluşları Teminatlarında (Daire, Dükkan, Tarla, Bağ Bahçe, Villa, Bina, Yalı, Tarihi Eser, Plaza, Fabrika, Akaryakıt İstasyonu, Entegre Tesisler, Otel, Hastane, AVM, Liman, Tersane v.s)</a:t>
            </a:r>
          </a:p>
          <a:p>
            <a:pPr eaLnBrk="1" hangingPunct="1">
              <a:lnSpc>
                <a:spcPct val="150000"/>
              </a:lnSpc>
            </a:pPr>
            <a:r>
              <a:rPr lang="tr-TR" altLang="tr-TR" sz="1800">
                <a:latin typeface="Open Sans" panose="020B0606030504020204" pitchFamily="34" charset="0"/>
                <a:cs typeface="Open Sans" panose="020B0606030504020204" pitchFamily="34" charset="0"/>
              </a:rPr>
              <a:t>Kira Tespitlerinde</a:t>
            </a:r>
          </a:p>
          <a:p>
            <a:pPr eaLnBrk="1" hangingPunct="1">
              <a:lnSpc>
                <a:spcPct val="150000"/>
              </a:lnSpc>
            </a:pPr>
            <a:r>
              <a:rPr lang="tr-TR" altLang="tr-TR" sz="1800">
                <a:latin typeface="Open Sans" panose="020B0606030504020204" pitchFamily="34" charset="0"/>
                <a:cs typeface="Open Sans" panose="020B0606030504020204" pitchFamily="34" charset="0"/>
              </a:rPr>
              <a:t>Mahkeme ve İcra Müdürlüklerine Bilirkişi Raporları</a:t>
            </a:r>
          </a:p>
          <a:p>
            <a:pPr eaLnBrk="1" hangingPunct="1">
              <a:lnSpc>
                <a:spcPct val="150000"/>
              </a:lnSpc>
            </a:pPr>
            <a:r>
              <a:rPr lang="tr-TR" altLang="tr-TR" sz="1800">
                <a:latin typeface="Open Sans" panose="020B0606030504020204" pitchFamily="34" charset="0"/>
                <a:cs typeface="Open Sans" panose="020B0606030504020204" pitchFamily="34" charset="0"/>
              </a:rPr>
              <a:t>Tarımsal Arazilerin Değerlemesinde (Ürün Bazlı)</a:t>
            </a:r>
          </a:p>
          <a:p>
            <a:pPr eaLnBrk="1" hangingPunct="1">
              <a:lnSpc>
                <a:spcPct val="150000"/>
              </a:lnSpc>
            </a:pPr>
            <a:r>
              <a:rPr lang="tr-TR" altLang="tr-TR" sz="1800">
                <a:latin typeface="Open Sans" panose="020B0606030504020204" pitchFamily="34" charset="0"/>
                <a:cs typeface="Open Sans" panose="020B0606030504020204" pitchFamily="34" charset="0"/>
              </a:rPr>
              <a:t>Miras Paylaşımlarında</a:t>
            </a:r>
          </a:p>
          <a:p>
            <a:pPr eaLnBrk="1" hangingPunct="1">
              <a:lnSpc>
                <a:spcPct val="150000"/>
              </a:lnSpc>
            </a:pPr>
            <a:r>
              <a:rPr lang="tr-TR" altLang="tr-TR" sz="1800">
                <a:latin typeface="Open Sans" panose="020B0606030504020204" pitchFamily="34" charset="0"/>
                <a:cs typeface="Open Sans" panose="020B0606030504020204" pitchFamily="34" charset="0"/>
              </a:rPr>
              <a:t>Uluslararası Muhasebe Standartlarında Duran Varlıkların Değerlemesinde</a:t>
            </a:r>
          </a:p>
        </p:txBody>
      </p:sp>
      <p:grpSp>
        <p:nvGrpSpPr>
          <p:cNvPr id="25612" name="Group 20">
            <a:extLst>
              <a:ext uri="{FF2B5EF4-FFF2-40B4-BE49-F238E27FC236}">
                <a16:creationId xmlns:a16="http://schemas.microsoft.com/office/drawing/2014/main" id="{5F19C106-104C-0B10-F589-0AFBB6F7837A}"/>
              </a:ext>
            </a:extLst>
          </p:cNvPr>
          <p:cNvGrpSpPr>
            <a:grpSpLocks noChangeAspect="1"/>
          </p:cNvGrpSpPr>
          <p:nvPr/>
        </p:nvGrpSpPr>
        <p:grpSpPr bwMode="auto">
          <a:xfrm>
            <a:off x="7519988" y="2281238"/>
            <a:ext cx="4492625" cy="3992562"/>
            <a:chOff x="560" y="-746"/>
            <a:chExt cx="6543" cy="5814"/>
          </a:xfrm>
        </p:grpSpPr>
        <p:grpSp>
          <p:nvGrpSpPr>
            <p:cNvPr id="25613" name="Group 205">
              <a:extLst>
                <a:ext uri="{FF2B5EF4-FFF2-40B4-BE49-F238E27FC236}">
                  <a16:creationId xmlns:a16="http://schemas.microsoft.com/office/drawing/2014/main" id="{B1ABBE42-B302-B77A-ED14-4554D69B05AE}"/>
                </a:ext>
              </a:extLst>
            </p:cNvPr>
            <p:cNvGrpSpPr>
              <a:grpSpLocks/>
            </p:cNvGrpSpPr>
            <p:nvPr/>
          </p:nvGrpSpPr>
          <p:grpSpPr bwMode="auto">
            <a:xfrm>
              <a:off x="560" y="1061"/>
              <a:ext cx="6543" cy="4007"/>
              <a:chOff x="560" y="1061"/>
              <a:chExt cx="6543" cy="4007"/>
            </a:xfrm>
          </p:grpSpPr>
          <p:sp>
            <p:nvSpPr>
              <p:cNvPr id="25692" name="Freeform 5">
                <a:extLst>
                  <a:ext uri="{FF2B5EF4-FFF2-40B4-BE49-F238E27FC236}">
                    <a16:creationId xmlns:a16="http://schemas.microsoft.com/office/drawing/2014/main" id="{EDFEBD74-FBED-3223-DD45-CA468E4D7AF4}"/>
                  </a:ext>
                </a:extLst>
              </p:cNvPr>
              <p:cNvSpPr>
                <a:spLocks/>
              </p:cNvSpPr>
              <p:nvPr/>
            </p:nvSpPr>
            <p:spPr bwMode="auto">
              <a:xfrm>
                <a:off x="5788" y="1974"/>
                <a:ext cx="1027" cy="1408"/>
              </a:xfrm>
              <a:custGeom>
                <a:avLst/>
                <a:gdLst>
                  <a:gd name="T0" fmla="*/ 1022891181 w 434"/>
                  <a:gd name="T1" fmla="*/ 2147483646 h 595"/>
                  <a:gd name="T2" fmla="*/ 237699656 w 434"/>
                  <a:gd name="T3" fmla="*/ 2147483646 h 595"/>
                  <a:gd name="T4" fmla="*/ 48151517 w 434"/>
                  <a:gd name="T5" fmla="*/ 2147483646 h 595"/>
                  <a:gd name="T6" fmla="*/ 63693170 w 434"/>
                  <a:gd name="T7" fmla="*/ 2100060858 h 595"/>
                  <a:gd name="T8" fmla="*/ 232855444 w 434"/>
                  <a:gd name="T9" fmla="*/ 2147483646 h 595"/>
                  <a:gd name="T10" fmla="*/ 174006425 w 434"/>
                  <a:gd name="T11" fmla="*/ 1656366780 h 595"/>
                  <a:gd name="T12" fmla="*/ 368414203 w 434"/>
                  <a:gd name="T13" fmla="*/ 1137148407 h 595"/>
                  <a:gd name="T14" fmla="*/ 405192807 w 434"/>
                  <a:gd name="T15" fmla="*/ 1294835405 h 595"/>
                  <a:gd name="T16" fmla="*/ 542573963 w 434"/>
                  <a:gd name="T17" fmla="*/ 796718703 h 595"/>
                  <a:gd name="T18" fmla="*/ 882316507 w 434"/>
                  <a:gd name="T19" fmla="*/ 210785911 h 595"/>
                  <a:gd name="T20" fmla="*/ 1537287026 w 434"/>
                  <a:gd name="T21" fmla="*/ 986248752 h 595"/>
                  <a:gd name="T22" fmla="*/ 1596881377 w 434"/>
                  <a:gd name="T23" fmla="*/ 704828595 h 595"/>
                  <a:gd name="T24" fmla="*/ 1878422026 w 434"/>
                  <a:gd name="T25" fmla="*/ 1148540206 h 595"/>
                  <a:gd name="T26" fmla="*/ 1937150001 w 434"/>
                  <a:gd name="T27" fmla="*/ 1716120974 h 595"/>
                  <a:gd name="T28" fmla="*/ 2003740899 w 434"/>
                  <a:gd name="T29" fmla="*/ 1612680603 h 595"/>
                  <a:gd name="T30" fmla="*/ 2029145031 w 434"/>
                  <a:gd name="T31" fmla="*/ 2147483646 h 595"/>
                  <a:gd name="T32" fmla="*/ 1081752962 w 434"/>
                  <a:gd name="T33" fmla="*/ 2147483646 h 595"/>
                  <a:gd name="T34" fmla="*/ 1022891181 w 434"/>
                  <a:gd name="T35" fmla="*/ 2147483646 h 59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34" h="595">
                    <a:moveTo>
                      <a:pt x="189" y="591"/>
                    </a:moveTo>
                    <a:cubicBezTo>
                      <a:pt x="132" y="595"/>
                      <a:pt x="75" y="547"/>
                      <a:pt x="44" y="506"/>
                    </a:cubicBezTo>
                    <a:cubicBezTo>
                      <a:pt x="25" y="481"/>
                      <a:pt x="14" y="454"/>
                      <a:pt x="9" y="424"/>
                    </a:cubicBezTo>
                    <a:cubicBezTo>
                      <a:pt x="8" y="415"/>
                      <a:pt x="0" y="392"/>
                      <a:pt x="12" y="388"/>
                    </a:cubicBezTo>
                    <a:cubicBezTo>
                      <a:pt x="19" y="386"/>
                      <a:pt x="35" y="405"/>
                      <a:pt x="43" y="407"/>
                    </a:cubicBezTo>
                    <a:cubicBezTo>
                      <a:pt x="53" y="375"/>
                      <a:pt x="30" y="339"/>
                      <a:pt x="32" y="306"/>
                    </a:cubicBezTo>
                    <a:cubicBezTo>
                      <a:pt x="33" y="280"/>
                      <a:pt x="48" y="226"/>
                      <a:pt x="68" y="210"/>
                    </a:cubicBezTo>
                    <a:cubicBezTo>
                      <a:pt x="71" y="219"/>
                      <a:pt x="72" y="230"/>
                      <a:pt x="75" y="239"/>
                    </a:cubicBezTo>
                    <a:cubicBezTo>
                      <a:pt x="95" y="221"/>
                      <a:pt x="91" y="171"/>
                      <a:pt x="100" y="147"/>
                    </a:cubicBezTo>
                    <a:cubicBezTo>
                      <a:pt x="111" y="118"/>
                      <a:pt x="136" y="57"/>
                      <a:pt x="163" y="39"/>
                    </a:cubicBezTo>
                    <a:cubicBezTo>
                      <a:pt x="222" y="0"/>
                      <a:pt x="261" y="152"/>
                      <a:pt x="284" y="182"/>
                    </a:cubicBezTo>
                    <a:cubicBezTo>
                      <a:pt x="301" y="172"/>
                      <a:pt x="294" y="147"/>
                      <a:pt x="295" y="130"/>
                    </a:cubicBezTo>
                    <a:cubicBezTo>
                      <a:pt x="319" y="129"/>
                      <a:pt x="341" y="191"/>
                      <a:pt x="347" y="212"/>
                    </a:cubicBezTo>
                    <a:cubicBezTo>
                      <a:pt x="353" y="234"/>
                      <a:pt x="345" y="304"/>
                      <a:pt x="358" y="317"/>
                    </a:cubicBezTo>
                    <a:cubicBezTo>
                      <a:pt x="361" y="311"/>
                      <a:pt x="368" y="306"/>
                      <a:pt x="370" y="298"/>
                    </a:cubicBezTo>
                    <a:cubicBezTo>
                      <a:pt x="434" y="340"/>
                      <a:pt x="410" y="450"/>
                      <a:pt x="375" y="501"/>
                    </a:cubicBezTo>
                    <a:cubicBezTo>
                      <a:pt x="335" y="561"/>
                      <a:pt x="275" y="592"/>
                      <a:pt x="200" y="591"/>
                    </a:cubicBezTo>
                    <a:lnTo>
                      <a:pt x="189" y="591"/>
                    </a:lnTo>
                    <a:close/>
                  </a:path>
                </a:pathLst>
              </a:custGeom>
              <a:solidFill>
                <a:srgbClr val="A5C33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93" name="Freeform 6">
                <a:extLst>
                  <a:ext uri="{FF2B5EF4-FFF2-40B4-BE49-F238E27FC236}">
                    <a16:creationId xmlns:a16="http://schemas.microsoft.com/office/drawing/2014/main" id="{21D0B579-C3C2-41C7-354D-E412F10B98CC}"/>
                  </a:ext>
                </a:extLst>
              </p:cNvPr>
              <p:cNvSpPr>
                <a:spLocks/>
              </p:cNvSpPr>
              <p:nvPr/>
            </p:nvSpPr>
            <p:spPr bwMode="auto">
              <a:xfrm>
                <a:off x="6058" y="3008"/>
                <a:ext cx="433" cy="911"/>
              </a:xfrm>
              <a:custGeom>
                <a:avLst/>
                <a:gdLst>
                  <a:gd name="T0" fmla="*/ 454404659 w 183"/>
                  <a:gd name="T1" fmla="*/ 918440908 h 385"/>
                  <a:gd name="T2" fmla="*/ 411129142 w 183"/>
                  <a:gd name="T3" fmla="*/ 1524266632 h 385"/>
                  <a:gd name="T4" fmla="*/ 367563083 w 183"/>
                  <a:gd name="T5" fmla="*/ 2061281436 h 385"/>
                  <a:gd name="T6" fmla="*/ 799021814 w 183"/>
                  <a:gd name="T7" fmla="*/ 2038884259 h 385"/>
                  <a:gd name="T8" fmla="*/ 685214105 w 183"/>
                  <a:gd name="T9" fmla="*/ 1195611601 h 385"/>
                  <a:gd name="T10" fmla="*/ 659942223 w 183"/>
                  <a:gd name="T11" fmla="*/ 985364253 h 385"/>
                  <a:gd name="T12" fmla="*/ 815444538 w 183"/>
                  <a:gd name="T13" fmla="*/ 831475871 h 385"/>
                  <a:gd name="T14" fmla="*/ 967979282 w 183"/>
                  <a:gd name="T15" fmla="*/ 486990464 h 385"/>
                  <a:gd name="T16" fmla="*/ 805958649 w 183"/>
                  <a:gd name="T17" fmla="*/ 625658632 h 385"/>
                  <a:gd name="T18" fmla="*/ 787660178 w 183"/>
                  <a:gd name="T19" fmla="*/ 431803785 h 385"/>
                  <a:gd name="T20" fmla="*/ 815444538 w 183"/>
                  <a:gd name="T21" fmla="*/ 0 h 385"/>
                  <a:gd name="T22" fmla="*/ 712103708 w 183"/>
                  <a:gd name="T23" fmla="*/ 324487902 h 385"/>
                  <a:gd name="T24" fmla="*/ 637155146 w 183"/>
                  <a:gd name="T25" fmla="*/ 200793967 h 385"/>
                  <a:gd name="T26" fmla="*/ 506654450 w 183"/>
                  <a:gd name="T27" fmla="*/ 660880743 h 385"/>
                  <a:gd name="T28" fmla="*/ 145653463 w 183"/>
                  <a:gd name="T29" fmla="*/ 200793967 h 385"/>
                  <a:gd name="T30" fmla="*/ 194087478 w 183"/>
                  <a:gd name="T31" fmla="*/ 329513078 h 385"/>
                  <a:gd name="T32" fmla="*/ 70511859 w 183"/>
                  <a:gd name="T33" fmla="*/ 324487902 h 385"/>
                  <a:gd name="T34" fmla="*/ 173756658 w 183"/>
                  <a:gd name="T35" fmla="*/ 404541346 h 385"/>
                  <a:gd name="T36" fmla="*/ 276207345 w 183"/>
                  <a:gd name="T37" fmla="*/ 535110009 h 385"/>
                  <a:gd name="T38" fmla="*/ 387893382 w 183"/>
                  <a:gd name="T39" fmla="*/ 815941632 h 385"/>
                  <a:gd name="T40" fmla="*/ 43258520 w 183"/>
                  <a:gd name="T41" fmla="*/ 669471255 h 385"/>
                  <a:gd name="T42" fmla="*/ 454404659 w 183"/>
                  <a:gd name="T43" fmla="*/ 918440908 h 38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3" h="385">
                    <a:moveTo>
                      <a:pt x="84" y="170"/>
                    </a:moveTo>
                    <a:cubicBezTo>
                      <a:pt x="96" y="202"/>
                      <a:pt x="80" y="250"/>
                      <a:pt x="76" y="282"/>
                    </a:cubicBezTo>
                    <a:cubicBezTo>
                      <a:pt x="73" y="315"/>
                      <a:pt x="66" y="348"/>
                      <a:pt x="68" y="381"/>
                    </a:cubicBezTo>
                    <a:cubicBezTo>
                      <a:pt x="93" y="385"/>
                      <a:pt x="122" y="377"/>
                      <a:pt x="148" y="377"/>
                    </a:cubicBezTo>
                    <a:cubicBezTo>
                      <a:pt x="129" y="326"/>
                      <a:pt x="131" y="273"/>
                      <a:pt x="127" y="221"/>
                    </a:cubicBezTo>
                    <a:cubicBezTo>
                      <a:pt x="126" y="209"/>
                      <a:pt x="119" y="193"/>
                      <a:pt x="122" y="182"/>
                    </a:cubicBezTo>
                    <a:cubicBezTo>
                      <a:pt x="127" y="168"/>
                      <a:pt x="141" y="165"/>
                      <a:pt x="151" y="154"/>
                    </a:cubicBezTo>
                    <a:cubicBezTo>
                      <a:pt x="163" y="140"/>
                      <a:pt x="183" y="109"/>
                      <a:pt x="179" y="90"/>
                    </a:cubicBezTo>
                    <a:cubicBezTo>
                      <a:pt x="167" y="93"/>
                      <a:pt x="160" y="114"/>
                      <a:pt x="149" y="116"/>
                    </a:cubicBezTo>
                    <a:cubicBezTo>
                      <a:pt x="129" y="119"/>
                      <a:pt x="143" y="92"/>
                      <a:pt x="146" y="80"/>
                    </a:cubicBezTo>
                    <a:cubicBezTo>
                      <a:pt x="151" y="62"/>
                      <a:pt x="171" y="15"/>
                      <a:pt x="151" y="0"/>
                    </a:cubicBezTo>
                    <a:cubicBezTo>
                      <a:pt x="137" y="12"/>
                      <a:pt x="136" y="42"/>
                      <a:pt x="132" y="60"/>
                    </a:cubicBezTo>
                    <a:cubicBezTo>
                      <a:pt x="126" y="53"/>
                      <a:pt x="126" y="43"/>
                      <a:pt x="118" y="37"/>
                    </a:cubicBezTo>
                    <a:cubicBezTo>
                      <a:pt x="110" y="44"/>
                      <a:pt x="138" y="141"/>
                      <a:pt x="94" y="122"/>
                    </a:cubicBezTo>
                    <a:cubicBezTo>
                      <a:pt x="66" y="110"/>
                      <a:pt x="66" y="31"/>
                      <a:pt x="27" y="37"/>
                    </a:cubicBezTo>
                    <a:cubicBezTo>
                      <a:pt x="27" y="48"/>
                      <a:pt x="38" y="49"/>
                      <a:pt x="36" y="61"/>
                    </a:cubicBezTo>
                    <a:cubicBezTo>
                      <a:pt x="29" y="59"/>
                      <a:pt x="20" y="61"/>
                      <a:pt x="13" y="60"/>
                    </a:cubicBezTo>
                    <a:cubicBezTo>
                      <a:pt x="13" y="74"/>
                      <a:pt x="24" y="69"/>
                      <a:pt x="32" y="75"/>
                    </a:cubicBezTo>
                    <a:cubicBezTo>
                      <a:pt x="40" y="82"/>
                      <a:pt x="45" y="90"/>
                      <a:pt x="51" y="99"/>
                    </a:cubicBezTo>
                    <a:cubicBezTo>
                      <a:pt x="60" y="114"/>
                      <a:pt x="73" y="134"/>
                      <a:pt x="72" y="151"/>
                    </a:cubicBezTo>
                    <a:cubicBezTo>
                      <a:pt x="50" y="155"/>
                      <a:pt x="31" y="125"/>
                      <a:pt x="8" y="124"/>
                    </a:cubicBezTo>
                    <a:cubicBezTo>
                      <a:pt x="0" y="158"/>
                      <a:pt x="64" y="163"/>
                      <a:pt x="84" y="170"/>
                    </a:cubicBezTo>
                    <a:close/>
                  </a:path>
                </a:pathLst>
              </a:custGeom>
              <a:solidFill>
                <a:srgbClr val="5C413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94" name="Freeform 7">
                <a:extLst>
                  <a:ext uri="{FF2B5EF4-FFF2-40B4-BE49-F238E27FC236}">
                    <a16:creationId xmlns:a16="http://schemas.microsoft.com/office/drawing/2014/main" id="{10A7E3E8-0987-2805-3E50-BA4CCC7743D5}"/>
                  </a:ext>
                </a:extLst>
              </p:cNvPr>
              <p:cNvSpPr>
                <a:spLocks/>
              </p:cNvSpPr>
              <p:nvPr/>
            </p:nvSpPr>
            <p:spPr bwMode="auto">
              <a:xfrm>
                <a:off x="560" y="2114"/>
                <a:ext cx="1126" cy="1355"/>
              </a:xfrm>
              <a:custGeom>
                <a:avLst/>
                <a:gdLst>
                  <a:gd name="T0" fmla="*/ 1114363036 w 476"/>
                  <a:gd name="T1" fmla="*/ 2147483646 h 573"/>
                  <a:gd name="T2" fmla="*/ 259802496 w 476"/>
                  <a:gd name="T3" fmla="*/ 2147483646 h 573"/>
                  <a:gd name="T4" fmla="*/ 54833957 w 476"/>
                  <a:gd name="T5" fmla="*/ 2147483646 h 573"/>
                  <a:gd name="T6" fmla="*/ 70306380 w 476"/>
                  <a:gd name="T7" fmla="*/ 1998457659 h 573"/>
                  <a:gd name="T8" fmla="*/ 252741619 w 476"/>
                  <a:gd name="T9" fmla="*/ 2100674302 h 573"/>
                  <a:gd name="T10" fmla="*/ 188611787 w 476"/>
                  <a:gd name="T11" fmla="*/ 1578611980 h 573"/>
                  <a:gd name="T12" fmla="*/ 402731112 w 476"/>
                  <a:gd name="T13" fmla="*/ 1085295174 h 573"/>
                  <a:gd name="T14" fmla="*/ 446169900 w 476"/>
                  <a:gd name="T15" fmla="*/ 1234546473 h 573"/>
                  <a:gd name="T16" fmla="*/ 591327080 w 476"/>
                  <a:gd name="T17" fmla="*/ 760276709 h 573"/>
                  <a:gd name="T18" fmla="*/ 962467427 w 476"/>
                  <a:gd name="T19" fmla="*/ 203833480 h 573"/>
                  <a:gd name="T20" fmla="*/ 1678515499 w 476"/>
                  <a:gd name="T21" fmla="*/ 940961837 h 573"/>
                  <a:gd name="T22" fmla="*/ 1741919871 w 476"/>
                  <a:gd name="T23" fmla="*/ 674067281 h 573"/>
                  <a:gd name="T24" fmla="*/ 2045016598 w 476"/>
                  <a:gd name="T25" fmla="*/ 1090097715 h 573"/>
                  <a:gd name="T26" fmla="*/ 2108423352 w 476"/>
                  <a:gd name="T27" fmla="*/ 1636738846 h 573"/>
                  <a:gd name="T28" fmla="*/ 2147483646 w 476"/>
                  <a:gd name="T29" fmla="*/ 1535708033 h 573"/>
                  <a:gd name="T30" fmla="*/ 2147483646 w 476"/>
                  <a:gd name="T31" fmla="*/ 2147483646 h 573"/>
                  <a:gd name="T32" fmla="*/ 1182700631 w 476"/>
                  <a:gd name="T33" fmla="*/ 2147483646 h 573"/>
                  <a:gd name="T34" fmla="*/ 1114363036 w 476"/>
                  <a:gd name="T35" fmla="*/ 2147483646 h 5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76" h="573">
                    <a:moveTo>
                      <a:pt x="207" y="570"/>
                    </a:moveTo>
                    <a:cubicBezTo>
                      <a:pt x="145" y="573"/>
                      <a:pt x="83" y="528"/>
                      <a:pt x="48" y="488"/>
                    </a:cubicBezTo>
                    <a:cubicBezTo>
                      <a:pt x="27" y="464"/>
                      <a:pt x="15" y="437"/>
                      <a:pt x="10" y="409"/>
                    </a:cubicBezTo>
                    <a:cubicBezTo>
                      <a:pt x="9" y="401"/>
                      <a:pt x="0" y="378"/>
                      <a:pt x="13" y="374"/>
                    </a:cubicBezTo>
                    <a:cubicBezTo>
                      <a:pt x="21" y="372"/>
                      <a:pt x="38" y="390"/>
                      <a:pt x="47" y="393"/>
                    </a:cubicBezTo>
                    <a:cubicBezTo>
                      <a:pt x="59" y="362"/>
                      <a:pt x="33" y="328"/>
                      <a:pt x="35" y="295"/>
                    </a:cubicBezTo>
                    <a:cubicBezTo>
                      <a:pt x="37" y="271"/>
                      <a:pt x="52" y="218"/>
                      <a:pt x="75" y="203"/>
                    </a:cubicBezTo>
                    <a:cubicBezTo>
                      <a:pt x="78" y="212"/>
                      <a:pt x="79" y="222"/>
                      <a:pt x="83" y="231"/>
                    </a:cubicBezTo>
                    <a:cubicBezTo>
                      <a:pt x="104" y="214"/>
                      <a:pt x="100" y="166"/>
                      <a:pt x="110" y="142"/>
                    </a:cubicBezTo>
                    <a:cubicBezTo>
                      <a:pt x="122" y="114"/>
                      <a:pt x="150" y="56"/>
                      <a:pt x="179" y="38"/>
                    </a:cubicBezTo>
                    <a:cubicBezTo>
                      <a:pt x="244" y="0"/>
                      <a:pt x="287" y="147"/>
                      <a:pt x="312" y="176"/>
                    </a:cubicBezTo>
                    <a:cubicBezTo>
                      <a:pt x="331" y="167"/>
                      <a:pt x="323" y="143"/>
                      <a:pt x="324" y="126"/>
                    </a:cubicBezTo>
                    <a:cubicBezTo>
                      <a:pt x="350" y="125"/>
                      <a:pt x="375" y="185"/>
                      <a:pt x="380" y="204"/>
                    </a:cubicBezTo>
                    <a:cubicBezTo>
                      <a:pt x="387" y="226"/>
                      <a:pt x="379" y="294"/>
                      <a:pt x="392" y="306"/>
                    </a:cubicBezTo>
                    <a:cubicBezTo>
                      <a:pt x="396" y="300"/>
                      <a:pt x="404" y="295"/>
                      <a:pt x="406" y="287"/>
                    </a:cubicBezTo>
                    <a:cubicBezTo>
                      <a:pt x="476" y="328"/>
                      <a:pt x="450" y="434"/>
                      <a:pt x="412" y="483"/>
                    </a:cubicBezTo>
                    <a:cubicBezTo>
                      <a:pt x="367" y="541"/>
                      <a:pt x="302" y="571"/>
                      <a:pt x="220" y="570"/>
                    </a:cubicBezTo>
                    <a:lnTo>
                      <a:pt x="207" y="570"/>
                    </a:lnTo>
                    <a:close/>
                  </a:path>
                </a:pathLst>
              </a:custGeom>
              <a:solidFill>
                <a:srgbClr val="A5C33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95" name="Freeform 8">
                <a:extLst>
                  <a:ext uri="{FF2B5EF4-FFF2-40B4-BE49-F238E27FC236}">
                    <a16:creationId xmlns:a16="http://schemas.microsoft.com/office/drawing/2014/main" id="{91F17AF1-7171-2FE4-BD27-F1A813AC0FCE}"/>
                  </a:ext>
                </a:extLst>
              </p:cNvPr>
              <p:cNvSpPr>
                <a:spLocks/>
              </p:cNvSpPr>
              <p:nvPr/>
            </p:nvSpPr>
            <p:spPr bwMode="auto">
              <a:xfrm>
                <a:off x="856" y="3110"/>
                <a:ext cx="473" cy="877"/>
              </a:xfrm>
              <a:custGeom>
                <a:avLst/>
                <a:gdLst>
                  <a:gd name="T0" fmla="*/ 498185166 w 200"/>
                  <a:gd name="T1" fmla="*/ 871872086 h 371"/>
                  <a:gd name="T2" fmla="*/ 451277071 w 200"/>
                  <a:gd name="T3" fmla="*/ 1444805532 h 371"/>
                  <a:gd name="T4" fmla="*/ 401464476 w 200"/>
                  <a:gd name="T5" fmla="*/ 1955692049 h 371"/>
                  <a:gd name="T6" fmla="*/ 872848944 w 200"/>
                  <a:gd name="T7" fmla="*/ 1927856570 h 371"/>
                  <a:gd name="T8" fmla="*/ 745264627 w 200"/>
                  <a:gd name="T9" fmla="*/ 1131948945 h 371"/>
                  <a:gd name="T10" fmla="*/ 718604645 w 200"/>
                  <a:gd name="T11" fmla="*/ 930533030 h 371"/>
                  <a:gd name="T12" fmla="*/ 883357169 w 200"/>
                  <a:gd name="T13" fmla="*/ 791067760 h 371"/>
                  <a:gd name="T14" fmla="*/ 1055403836 w 200"/>
                  <a:gd name="T15" fmla="*/ 462873211 h 371"/>
                  <a:gd name="T16" fmla="*/ 879214325 w 200"/>
                  <a:gd name="T17" fmla="*/ 595253252 h 371"/>
                  <a:gd name="T18" fmla="*/ 856262821 w 200"/>
                  <a:gd name="T19" fmla="*/ 413380309 h 371"/>
                  <a:gd name="T20" fmla="*/ 889844657 w 200"/>
                  <a:gd name="T21" fmla="*/ 0 h 371"/>
                  <a:gd name="T22" fmla="*/ 771970550 w 200"/>
                  <a:gd name="T23" fmla="*/ 308092974 h 371"/>
                  <a:gd name="T24" fmla="*/ 690524139 w 200"/>
                  <a:gd name="T25" fmla="*/ 191076056 h 371"/>
                  <a:gd name="T26" fmla="*/ 552777918 w 200"/>
                  <a:gd name="T27" fmla="*/ 627398091 h 371"/>
                  <a:gd name="T28" fmla="*/ 160829488 w 200"/>
                  <a:gd name="T29" fmla="*/ 191076056 h 371"/>
                  <a:gd name="T30" fmla="*/ 215426388 w 200"/>
                  <a:gd name="T31" fmla="*/ 319332514 h 371"/>
                  <a:gd name="T32" fmla="*/ 74519000 w 200"/>
                  <a:gd name="T33" fmla="*/ 308092974 h 371"/>
                  <a:gd name="T34" fmla="*/ 192315436 w 200"/>
                  <a:gd name="T35" fmla="*/ 388895892 h 371"/>
                  <a:gd name="T36" fmla="*/ 298825254 w 200"/>
                  <a:gd name="T37" fmla="*/ 510397789 h 371"/>
                  <a:gd name="T38" fmla="*/ 423172934 w 200"/>
                  <a:gd name="T39" fmla="*/ 775727127 h 371"/>
                  <a:gd name="T40" fmla="*/ 47799864 w 200"/>
                  <a:gd name="T41" fmla="*/ 637783944 h 371"/>
                  <a:gd name="T42" fmla="*/ 498185166 w 200"/>
                  <a:gd name="T43" fmla="*/ 871872086 h 37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00" h="371">
                    <a:moveTo>
                      <a:pt x="93" y="164"/>
                    </a:moveTo>
                    <a:cubicBezTo>
                      <a:pt x="106" y="195"/>
                      <a:pt x="88" y="241"/>
                      <a:pt x="84" y="272"/>
                    </a:cubicBezTo>
                    <a:cubicBezTo>
                      <a:pt x="80" y="304"/>
                      <a:pt x="73" y="336"/>
                      <a:pt x="75" y="368"/>
                    </a:cubicBezTo>
                    <a:cubicBezTo>
                      <a:pt x="103" y="371"/>
                      <a:pt x="135" y="364"/>
                      <a:pt x="163" y="363"/>
                    </a:cubicBezTo>
                    <a:cubicBezTo>
                      <a:pt x="142" y="315"/>
                      <a:pt x="144" y="264"/>
                      <a:pt x="139" y="213"/>
                    </a:cubicBezTo>
                    <a:cubicBezTo>
                      <a:pt x="138" y="202"/>
                      <a:pt x="131" y="187"/>
                      <a:pt x="134" y="175"/>
                    </a:cubicBezTo>
                    <a:cubicBezTo>
                      <a:pt x="139" y="162"/>
                      <a:pt x="154" y="159"/>
                      <a:pt x="165" y="149"/>
                    </a:cubicBezTo>
                    <a:cubicBezTo>
                      <a:pt x="179" y="135"/>
                      <a:pt x="200" y="106"/>
                      <a:pt x="197" y="87"/>
                    </a:cubicBezTo>
                    <a:cubicBezTo>
                      <a:pt x="183" y="90"/>
                      <a:pt x="175" y="110"/>
                      <a:pt x="164" y="112"/>
                    </a:cubicBezTo>
                    <a:cubicBezTo>
                      <a:pt x="142" y="115"/>
                      <a:pt x="157" y="89"/>
                      <a:pt x="160" y="78"/>
                    </a:cubicBezTo>
                    <a:cubicBezTo>
                      <a:pt x="165" y="60"/>
                      <a:pt x="187" y="15"/>
                      <a:pt x="166" y="0"/>
                    </a:cubicBezTo>
                    <a:cubicBezTo>
                      <a:pt x="150" y="12"/>
                      <a:pt x="150" y="41"/>
                      <a:pt x="144" y="58"/>
                    </a:cubicBezTo>
                    <a:cubicBezTo>
                      <a:pt x="139" y="51"/>
                      <a:pt x="139" y="42"/>
                      <a:pt x="129" y="36"/>
                    </a:cubicBezTo>
                    <a:cubicBezTo>
                      <a:pt x="121" y="43"/>
                      <a:pt x="151" y="137"/>
                      <a:pt x="103" y="118"/>
                    </a:cubicBezTo>
                    <a:cubicBezTo>
                      <a:pt x="72" y="107"/>
                      <a:pt x="73" y="30"/>
                      <a:pt x="30" y="36"/>
                    </a:cubicBezTo>
                    <a:cubicBezTo>
                      <a:pt x="30" y="47"/>
                      <a:pt x="42" y="48"/>
                      <a:pt x="40" y="60"/>
                    </a:cubicBezTo>
                    <a:cubicBezTo>
                      <a:pt x="32" y="57"/>
                      <a:pt x="22" y="60"/>
                      <a:pt x="14" y="58"/>
                    </a:cubicBezTo>
                    <a:cubicBezTo>
                      <a:pt x="15" y="72"/>
                      <a:pt x="26" y="67"/>
                      <a:pt x="36" y="73"/>
                    </a:cubicBezTo>
                    <a:cubicBezTo>
                      <a:pt x="44" y="79"/>
                      <a:pt x="50" y="87"/>
                      <a:pt x="56" y="96"/>
                    </a:cubicBezTo>
                    <a:cubicBezTo>
                      <a:pt x="65" y="110"/>
                      <a:pt x="81" y="130"/>
                      <a:pt x="79" y="146"/>
                    </a:cubicBezTo>
                    <a:cubicBezTo>
                      <a:pt x="55" y="150"/>
                      <a:pt x="34" y="121"/>
                      <a:pt x="9" y="120"/>
                    </a:cubicBezTo>
                    <a:cubicBezTo>
                      <a:pt x="0" y="153"/>
                      <a:pt x="70" y="158"/>
                      <a:pt x="93" y="164"/>
                    </a:cubicBezTo>
                    <a:close/>
                  </a:path>
                </a:pathLst>
              </a:custGeom>
              <a:solidFill>
                <a:srgbClr val="5C413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96" name="Freeform 9">
                <a:extLst>
                  <a:ext uri="{FF2B5EF4-FFF2-40B4-BE49-F238E27FC236}">
                    <a16:creationId xmlns:a16="http://schemas.microsoft.com/office/drawing/2014/main" id="{A56FDB79-E2FC-02E8-72CF-F89C6C9A3555}"/>
                  </a:ext>
                </a:extLst>
              </p:cNvPr>
              <p:cNvSpPr>
                <a:spLocks/>
              </p:cNvSpPr>
              <p:nvPr/>
            </p:nvSpPr>
            <p:spPr bwMode="auto">
              <a:xfrm>
                <a:off x="2892" y="1388"/>
                <a:ext cx="1083" cy="1303"/>
              </a:xfrm>
              <a:custGeom>
                <a:avLst/>
                <a:gdLst>
                  <a:gd name="T0" fmla="*/ 1064231177 w 458"/>
                  <a:gd name="T1" fmla="*/ 2147483646 h 551"/>
                  <a:gd name="T2" fmla="*/ 246406860 w 458"/>
                  <a:gd name="T3" fmla="*/ 2147483646 h 551"/>
                  <a:gd name="T4" fmla="*/ 54485392 w 458"/>
                  <a:gd name="T5" fmla="*/ 2096776310 h 551"/>
                  <a:gd name="T6" fmla="*/ 69892855 w 458"/>
                  <a:gd name="T7" fmla="*/ 1920830655 h 551"/>
                  <a:gd name="T8" fmla="*/ 240050440 w 458"/>
                  <a:gd name="T9" fmla="*/ 2017077660 h 551"/>
                  <a:gd name="T10" fmla="*/ 175812870 w 458"/>
                  <a:gd name="T11" fmla="*/ 1513184326 h 551"/>
                  <a:gd name="T12" fmla="*/ 384290703 w 458"/>
                  <a:gd name="T13" fmla="*/ 1037911430 h 551"/>
                  <a:gd name="T14" fmla="*/ 422247690 w 458"/>
                  <a:gd name="T15" fmla="*/ 1187839841 h 551"/>
                  <a:gd name="T16" fmla="*/ 567630189 w 458"/>
                  <a:gd name="T17" fmla="*/ 728111420 h 551"/>
                  <a:gd name="T18" fmla="*/ 919339679 w 458"/>
                  <a:gd name="T19" fmla="*/ 192102262 h 551"/>
                  <a:gd name="T20" fmla="*/ 1597689831 w 458"/>
                  <a:gd name="T21" fmla="*/ 898320080 h 551"/>
                  <a:gd name="T22" fmla="*/ 1660757185 w 458"/>
                  <a:gd name="T23" fmla="*/ 646696215 h 551"/>
                  <a:gd name="T24" fmla="*/ 1954013005 w 458"/>
                  <a:gd name="T25" fmla="*/ 1047094711 h 551"/>
                  <a:gd name="T26" fmla="*/ 2013128504 w 458"/>
                  <a:gd name="T27" fmla="*/ 1572553161 h 551"/>
                  <a:gd name="T28" fmla="*/ 2082977594 w 458"/>
                  <a:gd name="T29" fmla="*/ 1476792700 h 551"/>
                  <a:gd name="T30" fmla="*/ 2114421148 w 458"/>
                  <a:gd name="T31" fmla="*/ 2147483646 h 551"/>
                  <a:gd name="T32" fmla="*/ 1127247970 w 458"/>
                  <a:gd name="T33" fmla="*/ 2147483646 h 551"/>
                  <a:gd name="T34" fmla="*/ 1064231177 w 458"/>
                  <a:gd name="T35" fmla="*/ 2147483646 h 55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58" h="551">
                    <a:moveTo>
                      <a:pt x="199" y="548"/>
                    </a:moveTo>
                    <a:cubicBezTo>
                      <a:pt x="139" y="551"/>
                      <a:pt x="80" y="507"/>
                      <a:pt x="46" y="469"/>
                    </a:cubicBezTo>
                    <a:cubicBezTo>
                      <a:pt x="26" y="445"/>
                      <a:pt x="14" y="420"/>
                      <a:pt x="10" y="392"/>
                    </a:cubicBezTo>
                    <a:cubicBezTo>
                      <a:pt x="8" y="385"/>
                      <a:pt x="0" y="363"/>
                      <a:pt x="13" y="359"/>
                    </a:cubicBezTo>
                    <a:cubicBezTo>
                      <a:pt x="20" y="357"/>
                      <a:pt x="36" y="375"/>
                      <a:pt x="45" y="377"/>
                    </a:cubicBezTo>
                    <a:cubicBezTo>
                      <a:pt x="56" y="347"/>
                      <a:pt x="31" y="314"/>
                      <a:pt x="33" y="283"/>
                    </a:cubicBezTo>
                    <a:cubicBezTo>
                      <a:pt x="35" y="260"/>
                      <a:pt x="50" y="209"/>
                      <a:pt x="72" y="194"/>
                    </a:cubicBezTo>
                    <a:cubicBezTo>
                      <a:pt x="75" y="203"/>
                      <a:pt x="75" y="213"/>
                      <a:pt x="79" y="222"/>
                    </a:cubicBezTo>
                    <a:cubicBezTo>
                      <a:pt x="100" y="205"/>
                      <a:pt x="96" y="159"/>
                      <a:pt x="106" y="136"/>
                    </a:cubicBezTo>
                    <a:cubicBezTo>
                      <a:pt x="118" y="109"/>
                      <a:pt x="144" y="53"/>
                      <a:pt x="172" y="36"/>
                    </a:cubicBezTo>
                    <a:cubicBezTo>
                      <a:pt x="235" y="0"/>
                      <a:pt x="276" y="141"/>
                      <a:pt x="299" y="168"/>
                    </a:cubicBezTo>
                    <a:cubicBezTo>
                      <a:pt x="318" y="160"/>
                      <a:pt x="310" y="136"/>
                      <a:pt x="311" y="121"/>
                    </a:cubicBezTo>
                    <a:cubicBezTo>
                      <a:pt x="337" y="120"/>
                      <a:pt x="360" y="177"/>
                      <a:pt x="366" y="196"/>
                    </a:cubicBezTo>
                    <a:cubicBezTo>
                      <a:pt x="372" y="217"/>
                      <a:pt x="364" y="282"/>
                      <a:pt x="377" y="294"/>
                    </a:cubicBezTo>
                    <a:cubicBezTo>
                      <a:pt x="380" y="288"/>
                      <a:pt x="388" y="283"/>
                      <a:pt x="390" y="276"/>
                    </a:cubicBezTo>
                    <a:cubicBezTo>
                      <a:pt x="458" y="315"/>
                      <a:pt x="432" y="417"/>
                      <a:pt x="396" y="464"/>
                    </a:cubicBezTo>
                    <a:cubicBezTo>
                      <a:pt x="353" y="520"/>
                      <a:pt x="290" y="548"/>
                      <a:pt x="211" y="548"/>
                    </a:cubicBezTo>
                    <a:lnTo>
                      <a:pt x="199" y="548"/>
                    </a:lnTo>
                    <a:close/>
                  </a:path>
                </a:pathLst>
              </a:custGeom>
              <a:solidFill>
                <a:srgbClr val="A5C33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97" name="Freeform 10">
                <a:extLst>
                  <a:ext uri="{FF2B5EF4-FFF2-40B4-BE49-F238E27FC236}">
                    <a16:creationId xmlns:a16="http://schemas.microsoft.com/office/drawing/2014/main" id="{9DC136A9-358E-CC6A-065C-11B80C8FF12A}"/>
                  </a:ext>
                </a:extLst>
              </p:cNvPr>
              <p:cNvSpPr>
                <a:spLocks/>
              </p:cNvSpPr>
              <p:nvPr/>
            </p:nvSpPr>
            <p:spPr bwMode="auto">
              <a:xfrm>
                <a:off x="3176" y="2346"/>
                <a:ext cx="456" cy="842"/>
              </a:xfrm>
              <a:custGeom>
                <a:avLst/>
                <a:gdLst>
                  <a:gd name="T0" fmla="*/ 467750789 w 193"/>
                  <a:gd name="T1" fmla="*/ 840804821 h 356"/>
                  <a:gd name="T2" fmla="*/ 425571094 w 193"/>
                  <a:gd name="T3" fmla="*/ 1399209529 h 356"/>
                  <a:gd name="T4" fmla="*/ 379233520 w 193"/>
                  <a:gd name="T5" fmla="*/ 1893853879 h 356"/>
                  <a:gd name="T6" fmla="*/ 827106005 w 193"/>
                  <a:gd name="T7" fmla="*/ 1870716114 h 356"/>
                  <a:gd name="T8" fmla="*/ 706479874 w 193"/>
                  <a:gd name="T9" fmla="*/ 1092973571 h 356"/>
                  <a:gd name="T10" fmla="*/ 680097143 w 193"/>
                  <a:gd name="T11" fmla="*/ 900466053 h 356"/>
                  <a:gd name="T12" fmla="*/ 837388706 w 193"/>
                  <a:gd name="T13" fmla="*/ 762328136 h 356"/>
                  <a:gd name="T14" fmla="*/ 995848963 w 193"/>
                  <a:gd name="T15" fmla="*/ 444857081 h 356"/>
                  <a:gd name="T16" fmla="*/ 830951567 w 193"/>
                  <a:gd name="T17" fmla="*/ 573227791 h 356"/>
                  <a:gd name="T18" fmla="*/ 811006363 w 193"/>
                  <a:gd name="T19" fmla="*/ 397022278 h 356"/>
                  <a:gd name="T20" fmla="*/ 842118281 w 193"/>
                  <a:gd name="T21" fmla="*/ 0 h 356"/>
                  <a:gd name="T22" fmla="*/ 730787445 w 193"/>
                  <a:gd name="T23" fmla="*/ 294333394 h 356"/>
                  <a:gd name="T24" fmla="*/ 652556964 w 193"/>
                  <a:gd name="T25" fmla="*/ 181195945 h 356"/>
                  <a:gd name="T26" fmla="*/ 521646072 w 193"/>
                  <a:gd name="T27" fmla="*/ 606139696 h 356"/>
                  <a:gd name="T28" fmla="*/ 153721884 w 193"/>
                  <a:gd name="T29" fmla="*/ 181195945 h 356"/>
                  <a:gd name="T30" fmla="*/ 200688624 w 193"/>
                  <a:gd name="T31" fmla="*/ 305637677 h 356"/>
                  <a:gd name="T32" fmla="*/ 73507951 w 193"/>
                  <a:gd name="T33" fmla="*/ 294333394 h 356"/>
                  <a:gd name="T34" fmla="*/ 178393246 w 193"/>
                  <a:gd name="T35" fmla="*/ 370086850 h 356"/>
                  <a:gd name="T36" fmla="*/ 285007764 w 193"/>
                  <a:gd name="T37" fmla="*/ 488219526 h 356"/>
                  <a:gd name="T38" fmla="*/ 400691103 w 193"/>
                  <a:gd name="T39" fmla="*/ 750808193 h 356"/>
                  <a:gd name="T40" fmla="*/ 47120238 w 193"/>
                  <a:gd name="T41" fmla="*/ 616645103 h 356"/>
                  <a:gd name="T42" fmla="*/ 467750789 w 193"/>
                  <a:gd name="T43" fmla="*/ 840804821 h 3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93" h="356">
                    <a:moveTo>
                      <a:pt x="89" y="157"/>
                    </a:moveTo>
                    <a:cubicBezTo>
                      <a:pt x="102" y="186"/>
                      <a:pt x="85" y="231"/>
                      <a:pt x="81" y="261"/>
                    </a:cubicBezTo>
                    <a:cubicBezTo>
                      <a:pt x="77" y="292"/>
                      <a:pt x="70" y="322"/>
                      <a:pt x="72" y="353"/>
                    </a:cubicBezTo>
                    <a:cubicBezTo>
                      <a:pt x="99" y="356"/>
                      <a:pt x="129" y="349"/>
                      <a:pt x="157" y="349"/>
                    </a:cubicBezTo>
                    <a:cubicBezTo>
                      <a:pt x="136" y="302"/>
                      <a:pt x="139" y="253"/>
                      <a:pt x="134" y="204"/>
                    </a:cubicBezTo>
                    <a:cubicBezTo>
                      <a:pt x="133" y="194"/>
                      <a:pt x="126" y="179"/>
                      <a:pt x="129" y="168"/>
                    </a:cubicBezTo>
                    <a:cubicBezTo>
                      <a:pt x="134" y="155"/>
                      <a:pt x="149" y="152"/>
                      <a:pt x="159" y="142"/>
                    </a:cubicBezTo>
                    <a:cubicBezTo>
                      <a:pt x="173" y="129"/>
                      <a:pt x="193" y="101"/>
                      <a:pt x="189" y="83"/>
                    </a:cubicBezTo>
                    <a:cubicBezTo>
                      <a:pt x="176" y="86"/>
                      <a:pt x="169" y="105"/>
                      <a:pt x="158" y="107"/>
                    </a:cubicBezTo>
                    <a:cubicBezTo>
                      <a:pt x="137" y="110"/>
                      <a:pt x="151" y="85"/>
                      <a:pt x="154" y="74"/>
                    </a:cubicBezTo>
                    <a:cubicBezTo>
                      <a:pt x="159" y="57"/>
                      <a:pt x="180" y="13"/>
                      <a:pt x="160" y="0"/>
                    </a:cubicBezTo>
                    <a:cubicBezTo>
                      <a:pt x="145" y="11"/>
                      <a:pt x="144" y="39"/>
                      <a:pt x="139" y="55"/>
                    </a:cubicBezTo>
                    <a:cubicBezTo>
                      <a:pt x="134" y="49"/>
                      <a:pt x="134" y="39"/>
                      <a:pt x="124" y="34"/>
                    </a:cubicBezTo>
                    <a:cubicBezTo>
                      <a:pt x="116" y="40"/>
                      <a:pt x="145" y="131"/>
                      <a:pt x="99" y="113"/>
                    </a:cubicBezTo>
                    <a:cubicBezTo>
                      <a:pt x="70" y="102"/>
                      <a:pt x="70" y="28"/>
                      <a:pt x="29" y="34"/>
                    </a:cubicBezTo>
                    <a:cubicBezTo>
                      <a:pt x="29" y="44"/>
                      <a:pt x="40" y="45"/>
                      <a:pt x="38" y="57"/>
                    </a:cubicBezTo>
                    <a:cubicBezTo>
                      <a:pt x="31" y="54"/>
                      <a:pt x="21" y="57"/>
                      <a:pt x="14" y="55"/>
                    </a:cubicBezTo>
                    <a:cubicBezTo>
                      <a:pt x="14" y="68"/>
                      <a:pt x="25" y="63"/>
                      <a:pt x="34" y="69"/>
                    </a:cubicBezTo>
                    <a:cubicBezTo>
                      <a:pt x="43" y="76"/>
                      <a:pt x="48" y="83"/>
                      <a:pt x="54" y="91"/>
                    </a:cubicBezTo>
                    <a:cubicBezTo>
                      <a:pt x="63" y="105"/>
                      <a:pt x="78" y="124"/>
                      <a:pt x="76" y="140"/>
                    </a:cubicBezTo>
                    <a:cubicBezTo>
                      <a:pt x="53" y="143"/>
                      <a:pt x="33" y="116"/>
                      <a:pt x="9" y="115"/>
                    </a:cubicBezTo>
                    <a:cubicBezTo>
                      <a:pt x="0" y="146"/>
                      <a:pt x="68" y="151"/>
                      <a:pt x="89" y="157"/>
                    </a:cubicBezTo>
                    <a:close/>
                  </a:path>
                </a:pathLst>
              </a:custGeom>
              <a:solidFill>
                <a:srgbClr val="5C413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88" name="Freeform 11">
                <a:extLst>
                  <a:ext uri="{FF2B5EF4-FFF2-40B4-BE49-F238E27FC236}">
                    <a16:creationId xmlns:a16="http://schemas.microsoft.com/office/drawing/2014/main" id="{9F21F900-A7A2-B43A-57DA-4FD59A956537}"/>
                  </a:ext>
                </a:extLst>
              </p:cNvPr>
              <p:cNvSpPr>
                <a:spLocks noEditPoints="1"/>
              </p:cNvSpPr>
              <p:nvPr/>
            </p:nvSpPr>
            <p:spPr bwMode="auto">
              <a:xfrm>
                <a:off x="5910" y="1062"/>
                <a:ext cx="1168" cy="800"/>
              </a:xfrm>
              <a:custGeom>
                <a:avLst/>
                <a:gdLst>
                  <a:gd name="T0" fmla="*/ 0 w 494"/>
                  <a:gd name="T1" fmla="*/ 175 h 337"/>
                  <a:gd name="T2" fmla="*/ 65 w 494"/>
                  <a:gd name="T3" fmla="*/ 241 h 337"/>
                  <a:gd name="T4" fmla="*/ 86 w 494"/>
                  <a:gd name="T5" fmla="*/ 237 h 337"/>
                  <a:gd name="T6" fmla="*/ 86 w 494"/>
                  <a:gd name="T7" fmla="*/ 241 h 337"/>
                  <a:gd name="T8" fmla="*/ 161 w 494"/>
                  <a:gd name="T9" fmla="*/ 316 h 337"/>
                  <a:gd name="T10" fmla="*/ 221 w 494"/>
                  <a:gd name="T11" fmla="*/ 287 h 337"/>
                  <a:gd name="T12" fmla="*/ 306 w 494"/>
                  <a:gd name="T13" fmla="*/ 337 h 337"/>
                  <a:gd name="T14" fmla="*/ 393 w 494"/>
                  <a:gd name="T15" fmla="*/ 281 h 337"/>
                  <a:gd name="T16" fmla="*/ 429 w 494"/>
                  <a:gd name="T17" fmla="*/ 291 h 337"/>
                  <a:gd name="T18" fmla="*/ 494 w 494"/>
                  <a:gd name="T19" fmla="*/ 226 h 337"/>
                  <a:gd name="T20" fmla="*/ 444 w 494"/>
                  <a:gd name="T21" fmla="*/ 163 h 337"/>
                  <a:gd name="T22" fmla="*/ 447 w 494"/>
                  <a:gd name="T23" fmla="*/ 142 h 337"/>
                  <a:gd name="T24" fmla="*/ 382 w 494"/>
                  <a:gd name="T25" fmla="*/ 77 h 337"/>
                  <a:gd name="T26" fmla="*/ 320 w 494"/>
                  <a:gd name="T27" fmla="*/ 122 h 337"/>
                  <a:gd name="T28" fmla="*/ 258 w 494"/>
                  <a:gd name="T29" fmla="*/ 77 h 337"/>
                  <a:gd name="T30" fmla="*/ 246 w 494"/>
                  <a:gd name="T31" fmla="*/ 78 h 337"/>
                  <a:gd name="T32" fmla="*/ 152 w 494"/>
                  <a:gd name="T33" fmla="*/ 0 h 337"/>
                  <a:gd name="T34" fmla="*/ 56 w 494"/>
                  <a:gd name="T35" fmla="*/ 96 h 337"/>
                  <a:gd name="T36" fmla="*/ 57 w 494"/>
                  <a:gd name="T37" fmla="*/ 111 h 337"/>
                  <a:gd name="T38" fmla="*/ 0 w 494"/>
                  <a:gd name="T39" fmla="*/ 175 h 337"/>
                  <a:gd name="T40" fmla="*/ 203 w 494"/>
                  <a:gd name="T41" fmla="*/ 178 h 337"/>
                  <a:gd name="T42" fmla="*/ 202 w 494"/>
                  <a:gd name="T43" fmla="*/ 178 h 337"/>
                  <a:gd name="T44" fmla="*/ 203 w 494"/>
                  <a:gd name="T45" fmla="*/ 178 h 337"/>
                  <a:gd name="T46" fmla="*/ 203 w 494"/>
                  <a:gd name="T47" fmla="*/ 17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94" h="337">
                    <a:moveTo>
                      <a:pt x="0" y="175"/>
                    </a:moveTo>
                    <a:cubicBezTo>
                      <a:pt x="0" y="211"/>
                      <a:pt x="29" y="241"/>
                      <a:pt x="65" y="241"/>
                    </a:cubicBezTo>
                    <a:cubicBezTo>
                      <a:pt x="73" y="241"/>
                      <a:pt x="80" y="239"/>
                      <a:pt x="86" y="237"/>
                    </a:cubicBezTo>
                    <a:cubicBezTo>
                      <a:pt x="86" y="238"/>
                      <a:pt x="86" y="240"/>
                      <a:pt x="86" y="241"/>
                    </a:cubicBezTo>
                    <a:cubicBezTo>
                      <a:pt x="86" y="282"/>
                      <a:pt x="120" y="316"/>
                      <a:pt x="161" y="316"/>
                    </a:cubicBezTo>
                    <a:cubicBezTo>
                      <a:pt x="186" y="316"/>
                      <a:pt x="207" y="304"/>
                      <a:pt x="221" y="287"/>
                    </a:cubicBezTo>
                    <a:cubicBezTo>
                      <a:pt x="237" y="317"/>
                      <a:pt x="269" y="337"/>
                      <a:pt x="306" y="337"/>
                    </a:cubicBezTo>
                    <a:cubicBezTo>
                      <a:pt x="344" y="337"/>
                      <a:pt x="378" y="314"/>
                      <a:pt x="393" y="281"/>
                    </a:cubicBezTo>
                    <a:cubicBezTo>
                      <a:pt x="403" y="288"/>
                      <a:pt x="416" y="291"/>
                      <a:pt x="429" y="291"/>
                    </a:cubicBezTo>
                    <a:cubicBezTo>
                      <a:pt x="465" y="291"/>
                      <a:pt x="494" y="262"/>
                      <a:pt x="494" y="226"/>
                    </a:cubicBezTo>
                    <a:cubicBezTo>
                      <a:pt x="494" y="195"/>
                      <a:pt x="473" y="169"/>
                      <a:pt x="444" y="163"/>
                    </a:cubicBezTo>
                    <a:cubicBezTo>
                      <a:pt x="446" y="156"/>
                      <a:pt x="447" y="150"/>
                      <a:pt x="447" y="142"/>
                    </a:cubicBezTo>
                    <a:cubicBezTo>
                      <a:pt x="447" y="106"/>
                      <a:pt x="418" y="77"/>
                      <a:pt x="382" y="77"/>
                    </a:cubicBezTo>
                    <a:cubicBezTo>
                      <a:pt x="353" y="77"/>
                      <a:pt x="328" y="96"/>
                      <a:pt x="320" y="122"/>
                    </a:cubicBezTo>
                    <a:cubicBezTo>
                      <a:pt x="311" y="96"/>
                      <a:pt x="287" y="77"/>
                      <a:pt x="258" y="77"/>
                    </a:cubicBezTo>
                    <a:cubicBezTo>
                      <a:pt x="254" y="77"/>
                      <a:pt x="250" y="78"/>
                      <a:pt x="246" y="78"/>
                    </a:cubicBezTo>
                    <a:cubicBezTo>
                      <a:pt x="238" y="33"/>
                      <a:pt x="199" y="0"/>
                      <a:pt x="152" y="0"/>
                    </a:cubicBezTo>
                    <a:cubicBezTo>
                      <a:pt x="99" y="0"/>
                      <a:pt x="56" y="43"/>
                      <a:pt x="56" y="96"/>
                    </a:cubicBezTo>
                    <a:cubicBezTo>
                      <a:pt x="56" y="101"/>
                      <a:pt x="56" y="106"/>
                      <a:pt x="57" y="111"/>
                    </a:cubicBezTo>
                    <a:cubicBezTo>
                      <a:pt x="25" y="115"/>
                      <a:pt x="0" y="142"/>
                      <a:pt x="0" y="175"/>
                    </a:cubicBezTo>
                    <a:close/>
                    <a:moveTo>
                      <a:pt x="203" y="178"/>
                    </a:moveTo>
                    <a:cubicBezTo>
                      <a:pt x="203" y="178"/>
                      <a:pt x="202" y="178"/>
                      <a:pt x="202" y="178"/>
                    </a:cubicBezTo>
                    <a:cubicBezTo>
                      <a:pt x="202" y="178"/>
                      <a:pt x="202" y="178"/>
                      <a:pt x="203" y="178"/>
                    </a:cubicBezTo>
                    <a:cubicBezTo>
                      <a:pt x="203" y="178"/>
                      <a:pt x="203" y="178"/>
                      <a:pt x="203" y="178"/>
                    </a:cubicBezTo>
                    <a:close/>
                  </a:path>
                </a:pathLst>
              </a:custGeom>
              <a:solidFill>
                <a:schemeClr val="bg2">
                  <a:lumMod val="90000"/>
                </a:schemeClr>
              </a:solidFill>
              <a:ln>
                <a:noFill/>
              </a:ln>
            </p:spPr>
            <p:txBody>
              <a:bodyPr/>
              <a:lstStyle/>
              <a:p>
                <a:pPr eaLnBrk="1" fontAlgn="auto" hangingPunct="1">
                  <a:spcBef>
                    <a:spcPts val="0"/>
                  </a:spcBef>
                  <a:spcAft>
                    <a:spcPts val="0"/>
                  </a:spcAft>
                  <a:defRPr/>
                </a:pPr>
                <a:endParaRPr lang="en-US">
                  <a:latin typeface="+mn-lt"/>
                </a:endParaRPr>
              </a:p>
            </p:txBody>
          </p:sp>
          <p:sp>
            <p:nvSpPr>
              <p:cNvPr id="389" name="Freeform 12">
                <a:extLst>
                  <a:ext uri="{FF2B5EF4-FFF2-40B4-BE49-F238E27FC236}">
                    <a16:creationId xmlns:a16="http://schemas.microsoft.com/office/drawing/2014/main" id="{0F85F414-0E3D-AA73-0604-8BBC027278E5}"/>
                  </a:ext>
                </a:extLst>
              </p:cNvPr>
              <p:cNvSpPr>
                <a:spLocks/>
              </p:cNvSpPr>
              <p:nvPr/>
            </p:nvSpPr>
            <p:spPr bwMode="auto">
              <a:xfrm>
                <a:off x="3732" y="4060"/>
                <a:ext cx="3186" cy="1008"/>
              </a:xfrm>
              <a:custGeom>
                <a:avLst/>
                <a:gdLst>
                  <a:gd name="T0" fmla="*/ 3188 w 3188"/>
                  <a:gd name="T1" fmla="*/ 0 h 1007"/>
                  <a:gd name="T2" fmla="*/ 0 w 3188"/>
                  <a:gd name="T3" fmla="*/ 461 h 1007"/>
                  <a:gd name="T4" fmla="*/ 2031 w 3188"/>
                  <a:gd name="T5" fmla="*/ 1007 h 1007"/>
                  <a:gd name="T6" fmla="*/ 3188 w 3188"/>
                  <a:gd name="T7" fmla="*/ 0 h 1007"/>
                </a:gdLst>
                <a:ahLst/>
                <a:cxnLst>
                  <a:cxn ang="0">
                    <a:pos x="T0" y="T1"/>
                  </a:cxn>
                  <a:cxn ang="0">
                    <a:pos x="T2" y="T3"/>
                  </a:cxn>
                  <a:cxn ang="0">
                    <a:pos x="T4" y="T5"/>
                  </a:cxn>
                  <a:cxn ang="0">
                    <a:pos x="T6" y="T7"/>
                  </a:cxn>
                </a:cxnLst>
                <a:rect l="0" t="0" r="r" b="b"/>
                <a:pathLst>
                  <a:path w="3188" h="1007">
                    <a:moveTo>
                      <a:pt x="3188" y="0"/>
                    </a:moveTo>
                    <a:lnTo>
                      <a:pt x="0" y="461"/>
                    </a:lnTo>
                    <a:lnTo>
                      <a:pt x="2031" y="1007"/>
                    </a:lnTo>
                    <a:lnTo>
                      <a:pt x="3188" y="0"/>
                    </a:lnTo>
                    <a:close/>
                  </a:path>
                </a:pathLst>
              </a:custGeom>
              <a:solidFill>
                <a:schemeClr val="tx1">
                  <a:lumMod val="40000"/>
                  <a:lumOff val="60000"/>
                </a:schemeClr>
              </a:solidFill>
              <a:ln>
                <a:noFill/>
              </a:ln>
            </p:spPr>
            <p:txBody>
              <a:bodyPr/>
              <a:lstStyle/>
              <a:p>
                <a:pPr eaLnBrk="1" fontAlgn="auto" hangingPunct="1">
                  <a:spcBef>
                    <a:spcPts val="0"/>
                  </a:spcBef>
                  <a:spcAft>
                    <a:spcPts val="0"/>
                  </a:spcAft>
                  <a:defRPr/>
                </a:pPr>
                <a:endParaRPr lang="en-US">
                  <a:latin typeface="+mn-lt"/>
                </a:endParaRPr>
              </a:p>
            </p:txBody>
          </p:sp>
          <p:sp>
            <p:nvSpPr>
              <p:cNvPr id="25700" name="Freeform 13">
                <a:extLst>
                  <a:ext uri="{FF2B5EF4-FFF2-40B4-BE49-F238E27FC236}">
                    <a16:creationId xmlns:a16="http://schemas.microsoft.com/office/drawing/2014/main" id="{AECA536A-A191-ABF7-2F86-D02261D51EA2}"/>
                  </a:ext>
                </a:extLst>
              </p:cNvPr>
              <p:cNvSpPr>
                <a:spLocks/>
              </p:cNvSpPr>
              <p:nvPr/>
            </p:nvSpPr>
            <p:spPr bwMode="auto">
              <a:xfrm>
                <a:off x="655" y="3900"/>
                <a:ext cx="6448" cy="1026"/>
              </a:xfrm>
              <a:custGeom>
                <a:avLst/>
                <a:gdLst>
                  <a:gd name="T0" fmla="*/ 6448 w 6448"/>
                  <a:gd name="T1" fmla="*/ 0 h 1026"/>
                  <a:gd name="T2" fmla="*/ 0 w 6448"/>
                  <a:gd name="T3" fmla="*/ 0 h 1026"/>
                  <a:gd name="T4" fmla="*/ 941 w 6448"/>
                  <a:gd name="T5" fmla="*/ 1026 h 1026"/>
                  <a:gd name="T6" fmla="*/ 3001 w 6448"/>
                  <a:gd name="T7" fmla="*/ 601 h 1026"/>
                  <a:gd name="T8" fmla="*/ 3083 w 6448"/>
                  <a:gd name="T9" fmla="*/ 624 h 1026"/>
                  <a:gd name="T10" fmla="*/ 6264 w 6448"/>
                  <a:gd name="T11" fmla="*/ 161 h 1026"/>
                  <a:gd name="T12" fmla="*/ 6448 w 6448"/>
                  <a:gd name="T13" fmla="*/ 0 h 10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448" h="1026">
                    <a:moveTo>
                      <a:pt x="6448" y="0"/>
                    </a:moveTo>
                    <a:lnTo>
                      <a:pt x="0" y="0"/>
                    </a:lnTo>
                    <a:lnTo>
                      <a:pt x="941" y="1026"/>
                    </a:lnTo>
                    <a:lnTo>
                      <a:pt x="3001" y="601"/>
                    </a:lnTo>
                    <a:lnTo>
                      <a:pt x="3083" y="624"/>
                    </a:lnTo>
                    <a:lnTo>
                      <a:pt x="6264" y="161"/>
                    </a:lnTo>
                    <a:lnTo>
                      <a:pt x="644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01" name="Rectangle 14">
                <a:extLst>
                  <a:ext uri="{FF2B5EF4-FFF2-40B4-BE49-F238E27FC236}">
                    <a16:creationId xmlns:a16="http://schemas.microsoft.com/office/drawing/2014/main" id="{9921F374-0EB6-8BCD-ED3E-E8955AE4BEBA}"/>
                  </a:ext>
                </a:extLst>
              </p:cNvPr>
              <p:cNvSpPr>
                <a:spLocks noChangeArrowheads="1"/>
              </p:cNvSpPr>
              <p:nvPr/>
            </p:nvSpPr>
            <p:spPr bwMode="auto">
              <a:xfrm>
                <a:off x="5989" y="2140"/>
                <a:ext cx="149" cy="381"/>
              </a:xfrm>
              <a:prstGeom prst="rect">
                <a:avLst/>
              </a:prstGeom>
              <a:solidFill>
                <a:srgbClr val="08192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02" name="Freeform 15">
                <a:extLst>
                  <a:ext uri="{FF2B5EF4-FFF2-40B4-BE49-F238E27FC236}">
                    <a16:creationId xmlns:a16="http://schemas.microsoft.com/office/drawing/2014/main" id="{F2336CA2-0AC1-B6B3-D887-F61410FD6FE6}"/>
                  </a:ext>
                </a:extLst>
              </p:cNvPr>
              <p:cNvSpPr>
                <a:spLocks/>
              </p:cNvSpPr>
              <p:nvPr/>
            </p:nvSpPr>
            <p:spPr bwMode="auto">
              <a:xfrm>
                <a:off x="5190" y="2140"/>
                <a:ext cx="1085" cy="1772"/>
              </a:xfrm>
              <a:custGeom>
                <a:avLst/>
                <a:gdLst>
                  <a:gd name="T0" fmla="*/ 1085 w 1085"/>
                  <a:gd name="T1" fmla="*/ 1772 h 1772"/>
                  <a:gd name="T2" fmla="*/ 0 w 1085"/>
                  <a:gd name="T3" fmla="*/ 1772 h 1772"/>
                  <a:gd name="T4" fmla="*/ 0 w 1085"/>
                  <a:gd name="T5" fmla="*/ 747 h 1772"/>
                  <a:gd name="T6" fmla="*/ 537 w 1085"/>
                  <a:gd name="T7" fmla="*/ 0 h 1772"/>
                  <a:gd name="T8" fmla="*/ 1085 w 1085"/>
                  <a:gd name="T9" fmla="*/ 747 h 1772"/>
                  <a:gd name="T10" fmla="*/ 1085 w 1085"/>
                  <a:gd name="T11" fmla="*/ 1772 h 177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85" h="1772">
                    <a:moveTo>
                      <a:pt x="1085" y="1772"/>
                    </a:moveTo>
                    <a:lnTo>
                      <a:pt x="0" y="1772"/>
                    </a:lnTo>
                    <a:lnTo>
                      <a:pt x="0" y="747"/>
                    </a:lnTo>
                    <a:lnTo>
                      <a:pt x="537" y="0"/>
                    </a:lnTo>
                    <a:lnTo>
                      <a:pt x="1085" y="747"/>
                    </a:lnTo>
                    <a:lnTo>
                      <a:pt x="1085" y="1772"/>
                    </a:lnTo>
                    <a:close/>
                  </a:path>
                </a:pathLst>
              </a:custGeom>
              <a:solidFill>
                <a:srgbClr val="FDBE3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03" name="Freeform 16">
                <a:extLst>
                  <a:ext uri="{FF2B5EF4-FFF2-40B4-BE49-F238E27FC236}">
                    <a16:creationId xmlns:a16="http://schemas.microsoft.com/office/drawing/2014/main" id="{71843154-0036-225D-1FB6-ECD2446169DB}"/>
                  </a:ext>
                </a:extLst>
              </p:cNvPr>
              <p:cNvSpPr>
                <a:spLocks/>
              </p:cNvSpPr>
              <p:nvPr/>
            </p:nvSpPr>
            <p:spPr bwMode="auto">
              <a:xfrm>
                <a:off x="4923" y="1967"/>
                <a:ext cx="1622" cy="1050"/>
              </a:xfrm>
              <a:custGeom>
                <a:avLst/>
                <a:gdLst>
                  <a:gd name="T0" fmla="*/ 196 w 1622"/>
                  <a:gd name="T1" fmla="*/ 1048 h 1050"/>
                  <a:gd name="T2" fmla="*/ 0 w 1622"/>
                  <a:gd name="T3" fmla="*/ 1048 h 1050"/>
                  <a:gd name="T4" fmla="*/ 811 w 1622"/>
                  <a:gd name="T5" fmla="*/ 0 h 1050"/>
                  <a:gd name="T6" fmla="*/ 1622 w 1622"/>
                  <a:gd name="T7" fmla="*/ 1050 h 1050"/>
                  <a:gd name="T8" fmla="*/ 1423 w 1622"/>
                  <a:gd name="T9" fmla="*/ 1050 h 1050"/>
                  <a:gd name="T10" fmla="*/ 809 w 1622"/>
                  <a:gd name="T11" fmla="*/ 239 h 1050"/>
                  <a:gd name="T12" fmla="*/ 196 w 1622"/>
                  <a:gd name="T13" fmla="*/ 1048 h 105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22" h="1050">
                    <a:moveTo>
                      <a:pt x="196" y="1048"/>
                    </a:moveTo>
                    <a:lnTo>
                      <a:pt x="0" y="1048"/>
                    </a:lnTo>
                    <a:lnTo>
                      <a:pt x="811" y="0"/>
                    </a:lnTo>
                    <a:lnTo>
                      <a:pt x="1622" y="1050"/>
                    </a:lnTo>
                    <a:lnTo>
                      <a:pt x="1423" y="1050"/>
                    </a:lnTo>
                    <a:lnTo>
                      <a:pt x="809" y="239"/>
                    </a:lnTo>
                    <a:lnTo>
                      <a:pt x="196" y="1048"/>
                    </a:lnTo>
                    <a:close/>
                  </a:path>
                </a:pathLst>
              </a:custGeom>
              <a:solidFill>
                <a:srgbClr val="0F30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04" name="Rectangle 17">
                <a:extLst>
                  <a:ext uri="{FF2B5EF4-FFF2-40B4-BE49-F238E27FC236}">
                    <a16:creationId xmlns:a16="http://schemas.microsoft.com/office/drawing/2014/main" id="{51A88FD2-B52F-6DC7-5417-F8AB817BEA4F}"/>
                  </a:ext>
                </a:extLst>
              </p:cNvPr>
              <p:cNvSpPr>
                <a:spLocks noChangeArrowheads="1"/>
              </p:cNvSpPr>
              <p:nvPr/>
            </p:nvSpPr>
            <p:spPr bwMode="auto">
              <a:xfrm>
                <a:off x="5334" y="2954"/>
                <a:ext cx="154" cy="267"/>
              </a:xfrm>
              <a:prstGeom prst="rect">
                <a:avLst/>
              </a:prstGeom>
              <a:solidFill>
                <a:srgbClr val="906E1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05" name="Rectangle 18">
                <a:extLst>
                  <a:ext uri="{FF2B5EF4-FFF2-40B4-BE49-F238E27FC236}">
                    <a16:creationId xmlns:a16="http://schemas.microsoft.com/office/drawing/2014/main" id="{7F197808-EC50-8000-9CC4-4D7BE77D711F}"/>
                  </a:ext>
                </a:extLst>
              </p:cNvPr>
              <p:cNvSpPr>
                <a:spLocks noChangeArrowheads="1"/>
              </p:cNvSpPr>
              <p:nvPr/>
            </p:nvSpPr>
            <p:spPr bwMode="auto">
              <a:xfrm>
                <a:off x="5552" y="2954"/>
                <a:ext cx="156" cy="267"/>
              </a:xfrm>
              <a:prstGeom prst="rect">
                <a:avLst/>
              </a:prstGeom>
              <a:solidFill>
                <a:srgbClr val="906E1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06" name="Rectangle 19">
                <a:extLst>
                  <a:ext uri="{FF2B5EF4-FFF2-40B4-BE49-F238E27FC236}">
                    <a16:creationId xmlns:a16="http://schemas.microsoft.com/office/drawing/2014/main" id="{5EDB8F74-2F81-EB1F-AFFD-99BA5C3E3073}"/>
                  </a:ext>
                </a:extLst>
              </p:cNvPr>
              <p:cNvSpPr>
                <a:spLocks noChangeArrowheads="1"/>
              </p:cNvSpPr>
              <p:nvPr/>
            </p:nvSpPr>
            <p:spPr bwMode="auto">
              <a:xfrm>
                <a:off x="5772" y="2954"/>
                <a:ext cx="156" cy="267"/>
              </a:xfrm>
              <a:prstGeom prst="rect">
                <a:avLst/>
              </a:prstGeom>
              <a:solidFill>
                <a:srgbClr val="906E1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07" name="Rectangle 20">
                <a:extLst>
                  <a:ext uri="{FF2B5EF4-FFF2-40B4-BE49-F238E27FC236}">
                    <a16:creationId xmlns:a16="http://schemas.microsoft.com/office/drawing/2014/main" id="{56378D51-8C14-1C43-EB22-EDA1DD1606A2}"/>
                  </a:ext>
                </a:extLst>
              </p:cNvPr>
              <p:cNvSpPr>
                <a:spLocks noChangeArrowheads="1"/>
              </p:cNvSpPr>
              <p:nvPr/>
            </p:nvSpPr>
            <p:spPr bwMode="auto">
              <a:xfrm>
                <a:off x="5992" y="2954"/>
                <a:ext cx="156" cy="267"/>
              </a:xfrm>
              <a:prstGeom prst="rect">
                <a:avLst/>
              </a:prstGeom>
              <a:solidFill>
                <a:srgbClr val="906E1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08" name="Rectangle 21">
                <a:extLst>
                  <a:ext uri="{FF2B5EF4-FFF2-40B4-BE49-F238E27FC236}">
                    <a16:creationId xmlns:a16="http://schemas.microsoft.com/office/drawing/2014/main" id="{4D491F3C-355B-30AE-F9A7-4B5667F75054}"/>
                  </a:ext>
                </a:extLst>
              </p:cNvPr>
              <p:cNvSpPr>
                <a:spLocks noChangeArrowheads="1"/>
              </p:cNvSpPr>
              <p:nvPr/>
            </p:nvSpPr>
            <p:spPr bwMode="auto">
              <a:xfrm>
                <a:off x="5765" y="3420"/>
                <a:ext cx="156" cy="269"/>
              </a:xfrm>
              <a:prstGeom prst="rect">
                <a:avLst/>
              </a:prstGeom>
              <a:solidFill>
                <a:srgbClr val="906E1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09" name="Rectangle 22">
                <a:extLst>
                  <a:ext uri="{FF2B5EF4-FFF2-40B4-BE49-F238E27FC236}">
                    <a16:creationId xmlns:a16="http://schemas.microsoft.com/office/drawing/2014/main" id="{C84EAABF-5643-FC76-A347-E7FCEED4F955}"/>
                  </a:ext>
                </a:extLst>
              </p:cNvPr>
              <p:cNvSpPr>
                <a:spLocks noChangeArrowheads="1"/>
              </p:cNvSpPr>
              <p:nvPr/>
            </p:nvSpPr>
            <p:spPr bwMode="auto">
              <a:xfrm>
                <a:off x="5985" y="3420"/>
                <a:ext cx="156" cy="269"/>
              </a:xfrm>
              <a:prstGeom prst="rect">
                <a:avLst/>
              </a:prstGeom>
              <a:solidFill>
                <a:srgbClr val="906E1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10" name="Oval 23">
                <a:extLst>
                  <a:ext uri="{FF2B5EF4-FFF2-40B4-BE49-F238E27FC236}">
                    <a16:creationId xmlns:a16="http://schemas.microsoft.com/office/drawing/2014/main" id="{33BF7038-0AF6-1B68-5055-A95FA4FC03D7}"/>
                  </a:ext>
                </a:extLst>
              </p:cNvPr>
              <p:cNvSpPr>
                <a:spLocks noChangeArrowheads="1"/>
              </p:cNvSpPr>
              <p:nvPr/>
            </p:nvSpPr>
            <p:spPr bwMode="auto">
              <a:xfrm>
                <a:off x="5637" y="2511"/>
                <a:ext cx="173" cy="173"/>
              </a:xfrm>
              <a:prstGeom prst="ellipse">
                <a:avLst/>
              </a:prstGeom>
              <a:solidFill>
                <a:srgbClr val="906E1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11" name="Rectangle 24">
                <a:extLst>
                  <a:ext uri="{FF2B5EF4-FFF2-40B4-BE49-F238E27FC236}">
                    <a16:creationId xmlns:a16="http://schemas.microsoft.com/office/drawing/2014/main" id="{1C57AA36-5AE1-0281-7A73-507A7EC4BC9D}"/>
                  </a:ext>
                </a:extLst>
              </p:cNvPr>
              <p:cNvSpPr>
                <a:spLocks noChangeArrowheads="1"/>
              </p:cNvSpPr>
              <p:nvPr/>
            </p:nvSpPr>
            <p:spPr bwMode="auto">
              <a:xfrm>
                <a:off x="5190" y="3793"/>
                <a:ext cx="1085" cy="119"/>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12" name="Freeform 25">
                <a:extLst>
                  <a:ext uri="{FF2B5EF4-FFF2-40B4-BE49-F238E27FC236}">
                    <a16:creationId xmlns:a16="http://schemas.microsoft.com/office/drawing/2014/main" id="{37F4CE77-4AF5-1A3C-1B93-384BEF71365A}"/>
                  </a:ext>
                </a:extLst>
              </p:cNvPr>
              <p:cNvSpPr>
                <a:spLocks/>
              </p:cNvSpPr>
              <p:nvPr/>
            </p:nvSpPr>
            <p:spPr bwMode="auto">
              <a:xfrm>
                <a:off x="5344" y="3420"/>
                <a:ext cx="300" cy="489"/>
              </a:xfrm>
              <a:custGeom>
                <a:avLst/>
                <a:gdLst>
                  <a:gd name="T0" fmla="*/ 666510683 w 127"/>
                  <a:gd name="T1" fmla="*/ 335559326 h 207"/>
                  <a:gd name="T2" fmla="*/ 335344420 w 127"/>
                  <a:gd name="T3" fmla="*/ 0 h 207"/>
                  <a:gd name="T4" fmla="*/ 0 w 127"/>
                  <a:gd name="T5" fmla="*/ 335559326 h 207"/>
                  <a:gd name="T6" fmla="*/ 0 w 127"/>
                  <a:gd name="T7" fmla="*/ 1086191564 h 207"/>
                  <a:gd name="T8" fmla="*/ 666510683 w 127"/>
                  <a:gd name="T9" fmla="*/ 1086191564 h 207"/>
                  <a:gd name="T10" fmla="*/ 666510683 w 127"/>
                  <a:gd name="T11" fmla="*/ 335559326 h 20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7" h="207">
                    <a:moveTo>
                      <a:pt x="127" y="64"/>
                    </a:moveTo>
                    <a:cubicBezTo>
                      <a:pt x="127" y="29"/>
                      <a:pt x="99" y="0"/>
                      <a:pt x="64" y="0"/>
                    </a:cubicBezTo>
                    <a:cubicBezTo>
                      <a:pt x="28" y="0"/>
                      <a:pt x="0" y="29"/>
                      <a:pt x="0" y="64"/>
                    </a:cubicBezTo>
                    <a:cubicBezTo>
                      <a:pt x="0" y="207"/>
                      <a:pt x="0" y="207"/>
                      <a:pt x="0" y="207"/>
                    </a:cubicBezTo>
                    <a:cubicBezTo>
                      <a:pt x="127" y="207"/>
                      <a:pt x="127" y="207"/>
                      <a:pt x="127" y="207"/>
                    </a:cubicBezTo>
                    <a:lnTo>
                      <a:pt x="127" y="64"/>
                    </a:lnTo>
                    <a:close/>
                  </a:path>
                </a:pathLst>
              </a:custGeom>
              <a:solidFill>
                <a:srgbClr val="0F30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13" name="Freeform 26">
                <a:extLst>
                  <a:ext uri="{FF2B5EF4-FFF2-40B4-BE49-F238E27FC236}">
                    <a16:creationId xmlns:a16="http://schemas.microsoft.com/office/drawing/2014/main" id="{AD66EB93-ECB9-319E-58E1-5A6E38E964A3}"/>
                  </a:ext>
                </a:extLst>
              </p:cNvPr>
              <p:cNvSpPr>
                <a:spLocks/>
              </p:cNvSpPr>
              <p:nvPr/>
            </p:nvSpPr>
            <p:spPr bwMode="auto">
              <a:xfrm>
                <a:off x="5190" y="3306"/>
                <a:ext cx="64" cy="69"/>
              </a:xfrm>
              <a:custGeom>
                <a:avLst/>
                <a:gdLst>
                  <a:gd name="T0" fmla="*/ 150798644 w 27"/>
                  <a:gd name="T1" fmla="*/ 90920029 h 29"/>
                  <a:gd name="T2" fmla="*/ 77650709 w 27"/>
                  <a:gd name="T3" fmla="*/ 172945702 h 29"/>
                  <a:gd name="T4" fmla="*/ 0 w 27"/>
                  <a:gd name="T5" fmla="*/ 90920029 h 29"/>
                  <a:gd name="T6" fmla="*/ 0 w 27"/>
                  <a:gd name="T7" fmla="*/ 0 h 29"/>
                  <a:gd name="T8" fmla="*/ 150798644 w 27"/>
                  <a:gd name="T9" fmla="*/ 0 h 29"/>
                  <a:gd name="T10" fmla="*/ 150798644 w 27"/>
                  <a:gd name="T11" fmla="*/ 90920029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7" h="29">
                    <a:moveTo>
                      <a:pt x="27" y="15"/>
                    </a:moveTo>
                    <a:cubicBezTo>
                      <a:pt x="27" y="23"/>
                      <a:pt x="21" y="29"/>
                      <a:pt x="14" y="29"/>
                    </a:cubicBezTo>
                    <a:cubicBezTo>
                      <a:pt x="6" y="29"/>
                      <a:pt x="0" y="23"/>
                      <a:pt x="0" y="15"/>
                    </a:cubicBezTo>
                    <a:cubicBezTo>
                      <a:pt x="0" y="13"/>
                      <a:pt x="0" y="0"/>
                      <a:pt x="0" y="0"/>
                    </a:cubicBezTo>
                    <a:cubicBezTo>
                      <a:pt x="27" y="0"/>
                      <a:pt x="27" y="0"/>
                      <a:pt x="27" y="0"/>
                    </a:cubicBezTo>
                    <a:cubicBezTo>
                      <a:pt x="27" y="0"/>
                      <a:pt x="27" y="8"/>
                      <a:pt x="27" y="15"/>
                    </a:cubicBezTo>
                    <a:close/>
                  </a:path>
                </a:pathLst>
              </a:custGeom>
              <a:solidFill>
                <a:srgbClr val="664B3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14" name="Freeform 27">
                <a:extLst>
                  <a:ext uri="{FF2B5EF4-FFF2-40B4-BE49-F238E27FC236}">
                    <a16:creationId xmlns:a16="http://schemas.microsoft.com/office/drawing/2014/main" id="{5B1990C7-E60F-9667-ACE7-C7B9EDA34FBD}"/>
                  </a:ext>
                </a:extLst>
              </p:cNvPr>
              <p:cNvSpPr>
                <a:spLocks/>
              </p:cNvSpPr>
              <p:nvPr/>
            </p:nvSpPr>
            <p:spPr bwMode="auto">
              <a:xfrm>
                <a:off x="5254" y="3306"/>
                <a:ext cx="64" cy="69"/>
              </a:xfrm>
              <a:custGeom>
                <a:avLst/>
                <a:gdLst>
                  <a:gd name="T0" fmla="*/ 150798644 w 27"/>
                  <a:gd name="T1" fmla="*/ 90920029 h 29"/>
                  <a:gd name="T2" fmla="*/ 77650709 w 27"/>
                  <a:gd name="T3" fmla="*/ 172945702 h 29"/>
                  <a:gd name="T4" fmla="*/ 0 w 27"/>
                  <a:gd name="T5" fmla="*/ 90920029 h 29"/>
                  <a:gd name="T6" fmla="*/ 0 w 27"/>
                  <a:gd name="T7" fmla="*/ 0 h 29"/>
                  <a:gd name="T8" fmla="*/ 150798644 w 27"/>
                  <a:gd name="T9" fmla="*/ 0 h 29"/>
                  <a:gd name="T10" fmla="*/ 150798644 w 27"/>
                  <a:gd name="T11" fmla="*/ 90920029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7" h="29">
                    <a:moveTo>
                      <a:pt x="27" y="15"/>
                    </a:moveTo>
                    <a:cubicBezTo>
                      <a:pt x="27" y="23"/>
                      <a:pt x="21" y="29"/>
                      <a:pt x="14" y="29"/>
                    </a:cubicBezTo>
                    <a:cubicBezTo>
                      <a:pt x="6" y="29"/>
                      <a:pt x="0" y="23"/>
                      <a:pt x="0" y="15"/>
                    </a:cubicBezTo>
                    <a:cubicBezTo>
                      <a:pt x="0" y="13"/>
                      <a:pt x="0" y="0"/>
                      <a:pt x="0" y="0"/>
                    </a:cubicBezTo>
                    <a:cubicBezTo>
                      <a:pt x="27" y="0"/>
                      <a:pt x="27" y="0"/>
                      <a:pt x="27" y="0"/>
                    </a:cubicBezTo>
                    <a:cubicBezTo>
                      <a:pt x="27" y="0"/>
                      <a:pt x="27" y="8"/>
                      <a:pt x="27" y="15"/>
                    </a:cubicBezTo>
                    <a:close/>
                  </a:path>
                </a:pathLst>
              </a:custGeom>
              <a:solidFill>
                <a:srgbClr val="CE903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15" name="Freeform 28">
                <a:extLst>
                  <a:ext uri="{FF2B5EF4-FFF2-40B4-BE49-F238E27FC236}">
                    <a16:creationId xmlns:a16="http://schemas.microsoft.com/office/drawing/2014/main" id="{AEB6F712-C2F4-B465-BBD3-76884B96ABF6}"/>
                  </a:ext>
                </a:extLst>
              </p:cNvPr>
              <p:cNvSpPr>
                <a:spLocks/>
              </p:cNvSpPr>
              <p:nvPr/>
            </p:nvSpPr>
            <p:spPr bwMode="auto">
              <a:xfrm>
                <a:off x="5318" y="3306"/>
                <a:ext cx="64" cy="69"/>
              </a:xfrm>
              <a:custGeom>
                <a:avLst/>
                <a:gdLst>
                  <a:gd name="T0" fmla="*/ 150798644 w 27"/>
                  <a:gd name="T1" fmla="*/ 90920029 h 29"/>
                  <a:gd name="T2" fmla="*/ 77650709 w 27"/>
                  <a:gd name="T3" fmla="*/ 172945702 h 29"/>
                  <a:gd name="T4" fmla="*/ 0 w 27"/>
                  <a:gd name="T5" fmla="*/ 90920029 h 29"/>
                  <a:gd name="T6" fmla="*/ 0 w 27"/>
                  <a:gd name="T7" fmla="*/ 0 h 29"/>
                  <a:gd name="T8" fmla="*/ 150798644 w 27"/>
                  <a:gd name="T9" fmla="*/ 0 h 29"/>
                  <a:gd name="T10" fmla="*/ 150798644 w 27"/>
                  <a:gd name="T11" fmla="*/ 90920029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7" h="29">
                    <a:moveTo>
                      <a:pt x="27" y="15"/>
                    </a:moveTo>
                    <a:cubicBezTo>
                      <a:pt x="27" y="23"/>
                      <a:pt x="21" y="29"/>
                      <a:pt x="14" y="29"/>
                    </a:cubicBezTo>
                    <a:cubicBezTo>
                      <a:pt x="6" y="29"/>
                      <a:pt x="0" y="23"/>
                      <a:pt x="0" y="15"/>
                    </a:cubicBezTo>
                    <a:cubicBezTo>
                      <a:pt x="0" y="13"/>
                      <a:pt x="0" y="0"/>
                      <a:pt x="0" y="0"/>
                    </a:cubicBezTo>
                    <a:cubicBezTo>
                      <a:pt x="27" y="0"/>
                      <a:pt x="27" y="0"/>
                      <a:pt x="27" y="0"/>
                    </a:cubicBezTo>
                    <a:cubicBezTo>
                      <a:pt x="27" y="0"/>
                      <a:pt x="27" y="8"/>
                      <a:pt x="27" y="15"/>
                    </a:cubicBezTo>
                    <a:close/>
                  </a:path>
                </a:pathLst>
              </a:custGeom>
              <a:solidFill>
                <a:srgbClr val="664B3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16" name="Freeform 29">
                <a:extLst>
                  <a:ext uri="{FF2B5EF4-FFF2-40B4-BE49-F238E27FC236}">
                    <a16:creationId xmlns:a16="http://schemas.microsoft.com/office/drawing/2014/main" id="{708EBA98-C0D7-E33D-9412-FDB4715B3231}"/>
                  </a:ext>
                </a:extLst>
              </p:cNvPr>
              <p:cNvSpPr>
                <a:spLocks/>
              </p:cNvSpPr>
              <p:nvPr/>
            </p:nvSpPr>
            <p:spPr bwMode="auto">
              <a:xfrm>
                <a:off x="5382" y="3306"/>
                <a:ext cx="63" cy="69"/>
              </a:xfrm>
              <a:custGeom>
                <a:avLst/>
                <a:gdLst>
                  <a:gd name="T0" fmla="*/ 113450920 w 27"/>
                  <a:gd name="T1" fmla="*/ 90920029 h 29"/>
                  <a:gd name="T2" fmla="*/ 59561721 w 27"/>
                  <a:gd name="T3" fmla="*/ 172945702 h 29"/>
                  <a:gd name="T4" fmla="*/ 0 w 27"/>
                  <a:gd name="T5" fmla="*/ 90920029 h 29"/>
                  <a:gd name="T6" fmla="*/ 0 w 27"/>
                  <a:gd name="T7" fmla="*/ 0 h 29"/>
                  <a:gd name="T8" fmla="*/ 113450920 w 27"/>
                  <a:gd name="T9" fmla="*/ 0 h 29"/>
                  <a:gd name="T10" fmla="*/ 113450920 w 27"/>
                  <a:gd name="T11" fmla="*/ 90920029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7" h="29">
                    <a:moveTo>
                      <a:pt x="27" y="15"/>
                    </a:moveTo>
                    <a:cubicBezTo>
                      <a:pt x="27" y="23"/>
                      <a:pt x="21" y="29"/>
                      <a:pt x="14" y="29"/>
                    </a:cubicBezTo>
                    <a:cubicBezTo>
                      <a:pt x="6" y="29"/>
                      <a:pt x="0" y="23"/>
                      <a:pt x="0" y="15"/>
                    </a:cubicBezTo>
                    <a:cubicBezTo>
                      <a:pt x="0" y="13"/>
                      <a:pt x="0" y="0"/>
                      <a:pt x="0" y="0"/>
                    </a:cubicBezTo>
                    <a:cubicBezTo>
                      <a:pt x="27" y="0"/>
                      <a:pt x="27" y="0"/>
                      <a:pt x="27" y="0"/>
                    </a:cubicBezTo>
                    <a:cubicBezTo>
                      <a:pt x="27" y="0"/>
                      <a:pt x="27" y="8"/>
                      <a:pt x="27" y="15"/>
                    </a:cubicBezTo>
                    <a:close/>
                  </a:path>
                </a:pathLst>
              </a:custGeom>
              <a:solidFill>
                <a:srgbClr val="CE903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17" name="Freeform 30">
                <a:extLst>
                  <a:ext uri="{FF2B5EF4-FFF2-40B4-BE49-F238E27FC236}">
                    <a16:creationId xmlns:a16="http://schemas.microsoft.com/office/drawing/2014/main" id="{49F7EA42-EDC9-A387-BBEE-8FD094253F3B}"/>
                  </a:ext>
                </a:extLst>
              </p:cNvPr>
              <p:cNvSpPr>
                <a:spLocks/>
              </p:cNvSpPr>
              <p:nvPr/>
            </p:nvSpPr>
            <p:spPr bwMode="auto">
              <a:xfrm>
                <a:off x="5445" y="3306"/>
                <a:ext cx="64" cy="69"/>
              </a:xfrm>
              <a:custGeom>
                <a:avLst/>
                <a:gdLst>
                  <a:gd name="T0" fmla="*/ 150798644 w 27"/>
                  <a:gd name="T1" fmla="*/ 90920029 h 29"/>
                  <a:gd name="T2" fmla="*/ 77650709 w 27"/>
                  <a:gd name="T3" fmla="*/ 172945702 h 29"/>
                  <a:gd name="T4" fmla="*/ 0 w 27"/>
                  <a:gd name="T5" fmla="*/ 90920029 h 29"/>
                  <a:gd name="T6" fmla="*/ 0 w 27"/>
                  <a:gd name="T7" fmla="*/ 0 h 29"/>
                  <a:gd name="T8" fmla="*/ 150798644 w 27"/>
                  <a:gd name="T9" fmla="*/ 0 h 29"/>
                  <a:gd name="T10" fmla="*/ 150798644 w 27"/>
                  <a:gd name="T11" fmla="*/ 90920029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7" h="29">
                    <a:moveTo>
                      <a:pt x="27" y="15"/>
                    </a:moveTo>
                    <a:cubicBezTo>
                      <a:pt x="27" y="23"/>
                      <a:pt x="21" y="29"/>
                      <a:pt x="14" y="29"/>
                    </a:cubicBezTo>
                    <a:cubicBezTo>
                      <a:pt x="6" y="29"/>
                      <a:pt x="0" y="23"/>
                      <a:pt x="0" y="15"/>
                    </a:cubicBezTo>
                    <a:cubicBezTo>
                      <a:pt x="0" y="13"/>
                      <a:pt x="0" y="0"/>
                      <a:pt x="0" y="0"/>
                    </a:cubicBezTo>
                    <a:cubicBezTo>
                      <a:pt x="27" y="0"/>
                      <a:pt x="27" y="0"/>
                      <a:pt x="27" y="0"/>
                    </a:cubicBezTo>
                    <a:cubicBezTo>
                      <a:pt x="27" y="0"/>
                      <a:pt x="27" y="8"/>
                      <a:pt x="27" y="15"/>
                    </a:cubicBezTo>
                    <a:close/>
                  </a:path>
                </a:pathLst>
              </a:custGeom>
              <a:solidFill>
                <a:srgbClr val="664B3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18" name="Freeform 31">
                <a:extLst>
                  <a:ext uri="{FF2B5EF4-FFF2-40B4-BE49-F238E27FC236}">
                    <a16:creationId xmlns:a16="http://schemas.microsoft.com/office/drawing/2014/main" id="{453B98B9-DDB9-F90C-82D8-C6679D46C9FD}"/>
                  </a:ext>
                </a:extLst>
              </p:cNvPr>
              <p:cNvSpPr>
                <a:spLocks/>
              </p:cNvSpPr>
              <p:nvPr/>
            </p:nvSpPr>
            <p:spPr bwMode="auto">
              <a:xfrm>
                <a:off x="5509" y="3306"/>
                <a:ext cx="64" cy="69"/>
              </a:xfrm>
              <a:custGeom>
                <a:avLst/>
                <a:gdLst>
                  <a:gd name="T0" fmla="*/ 150798644 w 27"/>
                  <a:gd name="T1" fmla="*/ 90920029 h 29"/>
                  <a:gd name="T2" fmla="*/ 77650709 w 27"/>
                  <a:gd name="T3" fmla="*/ 172945702 h 29"/>
                  <a:gd name="T4" fmla="*/ 0 w 27"/>
                  <a:gd name="T5" fmla="*/ 90920029 h 29"/>
                  <a:gd name="T6" fmla="*/ 0 w 27"/>
                  <a:gd name="T7" fmla="*/ 0 h 29"/>
                  <a:gd name="T8" fmla="*/ 150798644 w 27"/>
                  <a:gd name="T9" fmla="*/ 0 h 29"/>
                  <a:gd name="T10" fmla="*/ 150798644 w 27"/>
                  <a:gd name="T11" fmla="*/ 90920029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7" h="29">
                    <a:moveTo>
                      <a:pt x="27" y="15"/>
                    </a:moveTo>
                    <a:cubicBezTo>
                      <a:pt x="27" y="23"/>
                      <a:pt x="21" y="29"/>
                      <a:pt x="14" y="29"/>
                    </a:cubicBezTo>
                    <a:cubicBezTo>
                      <a:pt x="6" y="29"/>
                      <a:pt x="0" y="23"/>
                      <a:pt x="0" y="15"/>
                    </a:cubicBezTo>
                    <a:cubicBezTo>
                      <a:pt x="0" y="13"/>
                      <a:pt x="0" y="0"/>
                      <a:pt x="0" y="0"/>
                    </a:cubicBezTo>
                    <a:cubicBezTo>
                      <a:pt x="27" y="0"/>
                      <a:pt x="27" y="0"/>
                      <a:pt x="27" y="0"/>
                    </a:cubicBezTo>
                    <a:cubicBezTo>
                      <a:pt x="27" y="0"/>
                      <a:pt x="27" y="8"/>
                      <a:pt x="27" y="15"/>
                    </a:cubicBezTo>
                    <a:close/>
                  </a:path>
                </a:pathLst>
              </a:custGeom>
              <a:solidFill>
                <a:srgbClr val="CE903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19" name="Freeform 32">
                <a:extLst>
                  <a:ext uri="{FF2B5EF4-FFF2-40B4-BE49-F238E27FC236}">
                    <a16:creationId xmlns:a16="http://schemas.microsoft.com/office/drawing/2014/main" id="{E4C5A665-46CF-7283-E13E-BC9CDA0F4360}"/>
                  </a:ext>
                </a:extLst>
              </p:cNvPr>
              <p:cNvSpPr>
                <a:spLocks/>
              </p:cNvSpPr>
              <p:nvPr/>
            </p:nvSpPr>
            <p:spPr bwMode="auto">
              <a:xfrm>
                <a:off x="5573" y="3306"/>
                <a:ext cx="64" cy="69"/>
              </a:xfrm>
              <a:custGeom>
                <a:avLst/>
                <a:gdLst>
                  <a:gd name="T0" fmla="*/ 150798644 w 27"/>
                  <a:gd name="T1" fmla="*/ 90920029 h 29"/>
                  <a:gd name="T2" fmla="*/ 77650709 w 27"/>
                  <a:gd name="T3" fmla="*/ 172945702 h 29"/>
                  <a:gd name="T4" fmla="*/ 0 w 27"/>
                  <a:gd name="T5" fmla="*/ 90920029 h 29"/>
                  <a:gd name="T6" fmla="*/ 0 w 27"/>
                  <a:gd name="T7" fmla="*/ 0 h 29"/>
                  <a:gd name="T8" fmla="*/ 150798644 w 27"/>
                  <a:gd name="T9" fmla="*/ 0 h 29"/>
                  <a:gd name="T10" fmla="*/ 150798644 w 27"/>
                  <a:gd name="T11" fmla="*/ 90920029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7" h="29">
                    <a:moveTo>
                      <a:pt x="27" y="15"/>
                    </a:moveTo>
                    <a:cubicBezTo>
                      <a:pt x="27" y="23"/>
                      <a:pt x="21" y="29"/>
                      <a:pt x="14" y="29"/>
                    </a:cubicBezTo>
                    <a:cubicBezTo>
                      <a:pt x="6" y="29"/>
                      <a:pt x="0" y="23"/>
                      <a:pt x="0" y="15"/>
                    </a:cubicBezTo>
                    <a:cubicBezTo>
                      <a:pt x="0" y="13"/>
                      <a:pt x="0" y="0"/>
                      <a:pt x="0" y="0"/>
                    </a:cubicBezTo>
                    <a:cubicBezTo>
                      <a:pt x="27" y="0"/>
                      <a:pt x="27" y="0"/>
                      <a:pt x="27" y="0"/>
                    </a:cubicBezTo>
                    <a:cubicBezTo>
                      <a:pt x="27" y="0"/>
                      <a:pt x="27" y="8"/>
                      <a:pt x="27" y="15"/>
                    </a:cubicBezTo>
                    <a:close/>
                  </a:path>
                </a:pathLst>
              </a:custGeom>
              <a:solidFill>
                <a:srgbClr val="664B3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20" name="Freeform 33">
                <a:extLst>
                  <a:ext uri="{FF2B5EF4-FFF2-40B4-BE49-F238E27FC236}">
                    <a16:creationId xmlns:a16="http://schemas.microsoft.com/office/drawing/2014/main" id="{BBA43728-C26A-EFFF-8A06-8B34C7005F67}"/>
                  </a:ext>
                </a:extLst>
              </p:cNvPr>
              <p:cNvSpPr>
                <a:spLocks/>
              </p:cNvSpPr>
              <p:nvPr/>
            </p:nvSpPr>
            <p:spPr bwMode="auto">
              <a:xfrm>
                <a:off x="5637" y="3306"/>
                <a:ext cx="64" cy="69"/>
              </a:xfrm>
              <a:custGeom>
                <a:avLst/>
                <a:gdLst>
                  <a:gd name="T0" fmla="*/ 150798644 w 27"/>
                  <a:gd name="T1" fmla="*/ 90920029 h 29"/>
                  <a:gd name="T2" fmla="*/ 77650709 w 27"/>
                  <a:gd name="T3" fmla="*/ 172945702 h 29"/>
                  <a:gd name="T4" fmla="*/ 0 w 27"/>
                  <a:gd name="T5" fmla="*/ 90920029 h 29"/>
                  <a:gd name="T6" fmla="*/ 0 w 27"/>
                  <a:gd name="T7" fmla="*/ 0 h 29"/>
                  <a:gd name="T8" fmla="*/ 150798644 w 27"/>
                  <a:gd name="T9" fmla="*/ 0 h 29"/>
                  <a:gd name="T10" fmla="*/ 150798644 w 27"/>
                  <a:gd name="T11" fmla="*/ 90920029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7" h="29">
                    <a:moveTo>
                      <a:pt x="27" y="15"/>
                    </a:moveTo>
                    <a:cubicBezTo>
                      <a:pt x="27" y="23"/>
                      <a:pt x="21" y="29"/>
                      <a:pt x="14" y="29"/>
                    </a:cubicBezTo>
                    <a:cubicBezTo>
                      <a:pt x="6" y="29"/>
                      <a:pt x="0" y="23"/>
                      <a:pt x="0" y="15"/>
                    </a:cubicBezTo>
                    <a:cubicBezTo>
                      <a:pt x="0" y="13"/>
                      <a:pt x="0" y="0"/>
                      <a:pt x="0" y="0"/>
                    </a:cubicBezTo>
                    <a:cubicBezTo>
                      <a:pt x="27" y="0"/>
                      <a:pt x="27" y="0"/>
                      <a:pt x="27" y="0"/>
                    </a:cubicBezTo>
                    <a:cubicBezTo>
                      <a:pt x="27" y="0"/>
                      <a:pt x="27" y="8"/>
                      <a:pt x="27" y="15"/>
                    </a:cubicBezTo>
                    <a:close/>
                  </a:path>
                </a:pathLst>
              </a:custGeom>
              <a:solidFill>
                <a:srgbClr val="CE903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21" name="Freeform 34">
                <a:extLst>
                  <a:ext uri="{FF2B5EF4-FFF2-40B4-BE49-F238E27FC236}">
                    <a16:creationId xmlns:a16="http://schemas.microsoft.com/office/drawing/2014/main" id="{9868E914-C6F1-C799-D836-AB04ED4C60AF}"/>
                  </a:ext>
                </a:extLst>
              </p:cNvPr>
              <p:cNvSpPr>
                <a:spLocks/>
              </p:cNvSpPr>
              <p:nvPr/>
            </p:nvSpPr>
            <p:spPr bwMode="auto">
              <a:xfrm>
                <a:off x="5701" y="3306"/>
                <a:ext cx="64" cy="69"/>
              </a:xfrm>
              <a:custGeom>
                <a:avLst/>
                <a:gdLst>
                  <a:gd name="T0" fmla="*/ 150798644 w 27"/>
                  <a:gd name="T1" fmla="*/ 90920029 h 29"/>
                  <a:gd name="T2" fmla="*/ 77650709 w 27"/>
                  <a:gd name="T3" fmla="*/ 172945702 h 29"/>
                  <a:gd name="T4" fmla="*/ 0 w 27"/>
                  <a:gd name="T5" fmla="*/ 90920029 h 29"/>
                  <a:gd name="T6" fmla="*/ 0 w 27"/>
                  <a:gd name="T7" fmla="*/ 0 h 29"/>
                  <a:gd name="T8" fmla="*/ 150798644 w 27"/>
                  <a:gd name="T9" fmla="*/ 0 h 29"/>
                  <a:gd name="T10" fmla="*/ 150798644 w 27"/>
                  <a:gd name="T11" fmla="*/ 90920029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7" h="29">
                    <a:moveTo>
                      <a:pt x="27" y="15"/>
                    </a:moveTo>
                    <a:cubicBezTo>
                      <a:pt x="27" y="23"/>
                      <a:pt x="21" y="29"/>
                      <a:pt x="14" y="29"/>
                    </a:cubicBezTo>
                    <a:cubicBezTo>
                      <a:pt x="6" y="29"/>
                      <a:pt x="0" y="23"/>
                      <a:pt x="0" y="15"/>
                    </a:cubicBezTo>
                    <a:cubicBezTo>
                      <a:pt x="0" y="13"/>
                      <a:pt x="0" y="0"/>
                      <a:pt x="0" y="0"/>
                    </a:cubicBezTo>
                    <a:cubicBezTo>
                      <a:pt x="27" y="0"/>
                      <a:pt x="27" y="0"/>
                      <a:pt x="27" y="0"/>
                    </a:cubicBezTo>
                    <a:cubicBezTo>
                      <a:pt x="27" y="0"/>
                      <a:pt x="27" y="8"/>
                      <a:pt x="27" y="15"/>
                    </a:cubicBezTo>
                    <a:close/>
                  </a:path>
                </a:pathLst>
              </a:custGeom>
              <a:solidFill>
                <a:srgbClr val="664B3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22" name="Freeform 35">
                <a:extLst>
                  <a:ext uri="{FF2B5EF4-FFF2-40B4-BE49-F238E27FC236}">
                    <a16:creationId xmlns:a16="http://schemas.microsoft.com/office/drawing/2014/main" id="{D7B17339-0B7F-CFAC-8DBD-2A496E4125EB}"/>
                  </a:ext>
                </a:extLst>
              </p:cNvPr>
              <p:cNvSpPr>
                <a:spLocks/>
              </p:cNvSpPr>
              <p:nvPr/>
            </p:nvSpPr>
            <p:spPr bwMode="auto">
              <a:xfrm>
                <a:off x="5765" y="3306"/>
                <a:ext cx="64" cy="69"/>
              </a:xfrm>
              <a:custGeom>
                <a:avLst/>
                <a:gdLst>
                  <a:gd name="T0" fmla="*/ 150798644 w 27"/>
                  <a:gd name="T1" fmla="*/ 90920029 h 29"/>
                  <a:gd name="T2" fmla="*/ 77650709 w 27"/>
                  <a:gd name="T3" fmla="*/ 172945702 h 29"/>
                  <a:gd name="T4" fmla="*/ 0 w 27"/>
                  <a:gd name="T5" fmla="*/ 90920029 h 29"/>
                  <a:gd name="T6" fmla="*/ 0 w 27"/>
                  <a:gd name="T7" fmla="*/ 0 h 29"/>
                  <a:gd name="T8" fmla="*/ 150798644 w 27"/>
                  <a:gd name="T9" fmla="*/ 0 h 29"/>
                  <a:gd name="T10" fmla="*/ 150798644 w 27"/>
                  <a:gd name="T11" fmla="*/ 90920029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7" h="29">
                    <a:moveTo>
                      <a:pt x="27" y="15"/>
                    </a:moveTo>
                    <a:cubicBezTo>
                      <a:pt x="27" y="23"/>
                      <a:pt x="21" y="29"/>
                      <a:pt x="14" y="29"/>
                    </a:cubicBezTo>
                    <a:cubicBezTo>
                      <a:pt x="6" y="29"/>
                      <a:pt x="0" y="23"/>
                      <a:pt x="0" y="15"/>
                    </a:cubicBezTo>
                    <a:cubicBezTo>
                      <a:pt x="0" y="13"/>
                      <a:pt x="0" y="0"/>
                      <a:pt x="0" y="0"/>
                    </a:cubicBezTo>
                    <a:cubicBezTo>
                      <a:pt x="27" y="0"/>
                      <a:pt x="27" y="0"/>
                      <a:pt x="27" y="0"/>
                    </a:cubicBezTo>
                    <a:cubicBezTo>
                      <a:pt x="27" y="0"/>
                      <a:pt x="27" y="8"/>
                      <a:pt x="27" y="15"/>
                    </a:cubicBezTo>
                    <a:close/>
                  </a:path>
                </a:pathLst>
              </a:custGeom>
              <a:solidFill>
                <a:srgbClr val="CE903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23" name="Freeform 36">
                <a:extLst>
                  <a:ext uri="{FF2B5EF4-FFF2-40B4-BE49-F238E27FC236}">
                    <a16:creationId xmlns:a16="http://schemas.microsoft.com/office/drawing/2014/main" id="{18CC88B4-B133-C286-218E-DC53304DA092}"/>
                  </a:ext>
                </a:extLst>
              </p:cNvPr>
              <p:cNvSpPr>
                <a:spLocks/>
              </p:cNvSpPr>
              <p:nvPr/>
            </p:nvSpPr>
            <p:spPr bwMode="auto">
              <a:xfrm>
                <a:off x="5829" y="3306"/>
                <a:ext cx="63" cy="69"/>
              </a:xfrm>
              <a:custGeom>
                <a:avLst/>
                <a:gdLst>
                  <a:gd name="T0" fmla="*/ 113450920 w 27"/>
                  <a:gd name="T1" fmla="*/ 90920029 h 29"/>
                  <a:gd name="T2" fmla="*/ 53913589 w 27"/>
                  <a:gd name="T3" fmla="*/ 172945702 h 29"/>
                  <a:gd name="T4" fmla="*/ 0 w 27"/>
                  <a:gd name="T5" fmla="*/ 90920029 h 29"/>
                  <a:gd name="T6" fmla="*/ 0 w 27"/>
                  <a:gd name="T7" fmla="*/ 0 h 29"/>
                  <a:gd name="T8" fmla="*/ 113450920 w 27"/>
                  <a:gd name="T9" fmla="*/ 0 h 29"/>
                  <a:gd name="T10" fmla="*/ 113450920 w 27"/>
                  <a:gd name="T11" fmla="*/ 90920029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7" h="29">
                    <a:moveTo>
                      <a:pt x="27" y="15"/>
                    </a:moveTo>
                    <a:cubicBezTo>
                      <a:pt x="27" y="23"/>
                      <a:pt x="21" y="29"/>
                      <a:pt x="13" y="29"/>
                    </a:cubicBezTo>
                    <a:cubicBezTo>
                      <a:pt x="6" y="29"/>
                      <a:pt x="0" y="23"/>
                      <a:pt x="0" y="15"/>
                    </a:cubicBezTo>
                    <a:cubicBezTo>
                      <a:pt x="0" y="13"/>
                      <a:pt x="0" y="0"/>
                      <a:pt x="0" y="0"/>
                    </a:cubicBezTo>
                    <a:cubicBezTo>
                      <a:pt x="27" y="0"/>
                      <a:pt x="27" y="0"/>
                      <a:pt x="27" y="0"/>
                    </a:cubicBezTo>
                    <a:cubicBezTo>
                      <a:pt x="27" y="0"/>
                      <a:pt x="27" y="8"/>
                      <a:pt x="27" y="15"/>
                    </a:cubicBezTo>
                    <a:close/>
                  </a:path>
                </a:pathLst>
              </a:custGeom>
              <a:solidFill>
                <a:srgbClr val="664B3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24" name="Freeform 37">
                <a:extLst>
                  <a:ext uri="{FF2B5EF4-FFF2-40B4-BE49-F238E27FC236}">
                    <a16:creationId xmlns:a16="http://schemas.microsoft.com/office/drawing/2014/main" id="{EB01B0FA-52F4-8C66-95CC-0575310B9E42}"/>
                  </a:ext>
                </a:extLst>
              </p:cNvPr>
              <p:cNvSpPr>
                <a:spLocks/>
              </p:cNvSpPr>
              <p:nvPr/>
            </p:nvSpPr>
            <p:spPr bwMode="auto">
              <a:xfrm>
                <a:off x="5892" y="3306"/>
                <a:ext cx="64" cy="69"/>
              </a:xfrm>
              <a:custGeom>
                <a:avLst/>
                <a:gdLst>
                  <a:gd name="T0" fmla="*/ 150798644 w 27"/>
                  <a:gd name="T1" fmla="*/ 90920029 h 29"/>
                  <a:gd name="T2" fmla="*/ 72486310 w 27"/>
                  <a:gd name="T3" fmla="*/ 172945702 h 29"/>
                  <a:gd name="T4" fmla="*/ 0 w 27"/>
                  <a:gd name="T5" fmla="*/ 90920029 h 29"/>
                  <a:gd name="T6" fmla="*/ 0 w 27"/>
                  <a:gd name="T7" fmla="*/ 0 h 29"/>
                  <a:gd name="T8" fmla="*/ 150798644 w 27"/>
                  <a:gd name="T9" fmla="*/ 0 h 29"/>
                  <a:gd name="T10" fmla="*/ 150798644 w 27"/>
                  <a:gd name="T11" fmla="*/ 90920029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7" h="29">
                    <a:moveTo>
                      <a:pt x="27" y="15"/>
                    </a:moveTo>
                    <a:cubicBezTo>
                      <a:pt x="27" y="23"/>
                      <a:pt x="21" y="29"/>
                      <a:pt x="13" y="29"/>
                    </a:cubicBezTo>
                    <a:cubicBezTo>
                      <a:pt x="6" y="29"/>
                      <a:pt x="0" y="23"/>
                      <a:pt x="0" y="15"/>
                    </a:cubicBezTo>
                    <a:cubicBezTo>
                      <a:pt x="0" y="13"/>
                      <a:pt x="0" y="0"/>
                      <a:pt x="0" y="0"/>
                    </a:cubicBezTo>
                    <a:cubicBezTo>
                      <a:pt x="27" y="0"/>
                      <a:pt x="27" y="0"/>
                      <a:pt x="27" y="0"/>
                    </a:cubicBezTo>
                    <a:cubicBezTo>
                      <a:pt x="27" y="0"/>
                      <a:pt x="27" y="8"/>
                      <a:pt x="27" y="15"/>
                    </a:cubicBezTo>
                    <a:close/>
                  </a:path>
                </a:pathLst>
              </a:custGeom>
              <a:solidFill>
                <a:srgbClr val="CE903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25" name="Freeform 38">
                <a:extLst>
                  <a:ext uri="{FF2B5EF4-FFF2-40B4-BE49-F238E27FC236}">
                    <a16:creationId xmlns:a16="http://schemas.microsoft.com/office/drawing/2014/main" id="{C1C4728F-4933-D301-5216-A5609152A1E8}"/>
                  </a:ext>
                </a:extLst>
              </p:cNvPr>
              <p:cNvSpPr>
                <a:spLocks/>
              </p:cNvSpPr>
              <p:nvPr/>
            </p:nvSpPr>
            <p:spPr bwMode="auto">
              <a:xfrm>
                <a:off x="5956" y="3306"/>
                <a:ext cx="64" cy="69"/>
              </a:xfrm>
              <a:custGeom>
                <a:avLst/>
                <a:gdLst>
                  <a:gd name="T0" fmla="*/ 150798644 w 27"/>
                  <a:gd name="T1" fmla="*/ 90920029 h 29"/>
                  <a:gd name="T2" fmla="*/ 72486310 w 27"/>
                  <a:gd name="T3" fmla="*/ 172945702 h 29"/>
                  <a:gd name="T4" fmla="*/ 0 w 27"/>
                  <a:gd name="T5" fmla="*/ 90920029 h 29"/>
                  <a:gd name="T6" fmla="*/ 0 w 27"/>
                  <a:gd name="T7" fmla="*/ 0 h 29"/>
                  <a:gd name="T8" fmla="*/ 150798644 w 27"/>
                  <a:gd name="T9" fmla="*/ 0 h 29"/>
                  <a:gd name="T10" fmla="*/ 150798644 w 27"/>
                  <a:gd name="T11" fmla="*/ 90920029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7" h="29">
                    <a:moveTo>
                      <a:pt x="27" y="15"/>
                    </a:moveTo>
                    <a:cubicBezTo>
                      <a:pt x="27" y="23"/>
                      <a:pt x="21" y="29"/>
                      <a:pt x="13" y="29"/>
                    </a:cubicBezTo>
                    <a:cubicBezTo>
                      <a:pt x="6" y="29"/>
                      <a:pt x="0" y="23"/>
                      <a:pt x="0" y="15"/>
                    </a:cubicBezTo>
                    <a:cubicBezTo>
                      <a:pt x="0" y="13"/>
                      <a:pt x="0" y="0"/>
                      <a:pt x="0" y="0"/>
                    </a:cubicBezTo>
                    <a:cubicBezTo>
                      <a:pt x="27" y="0"/>
                      <a:pt x="27" y="0"/>
                      <a:pt x="27" y="0"/>
                    </a:cubicBezTo>
                    <a:cubicBezTo>
                      <a:pt x="27" y="0"/>
                      <a:pt x="27" y="8"/>
                      <a:pt x="27" y="15"/>
                    </a:cubicBezTo>
                    <a:close/>
                  </a:path>
                </a:pathLst>
              </a:custGeom>
              <a:solidFill>
                <a:srgbClr val="664B3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26" name="Freeform 39">
                <a:extLst>
                  <a:ext uri="{FF2B5EF4-FFF2-40B4-BE49-F238E27FC236}">
                    <a16:creationId xmlns:a16="http://schemas.microsoft.com/office/drawing/2014/main" id="{6C5C2852-B541-21A6-CD3B-3959286C6F51}"/>
                  </a:ext>
                </a:extLst>
              </p:cNvPr>
              <p:cNvSpPr>
                <a:spLocks/>
              </p:cNvSpPr>
              <p:nvPr/>
            </p:nvSpPr>
            <p:spPr bwMode="auto">
              <a:xfrm>
                <a:off x="6020" y="3306"/>
                <a:ext cx="64" cy="69"/>
              </a:xfrm>
              <a:custGeom>
                <a:avLst/>
                <a:gdLst>
                  <a:gd name="T0" fmla="*/ 150798644 w 27"/>
                  <a:gd name="T1" fmla="*/ 90920029 h 29"/>
                  <a:gd name="T2" fmla="*/ 72486310 w 27"/>
                  <a:gd name="T3" fmla="*/ 172945702 h 29"/>
                  <a:gd name="T4" fmla="*/ 0 w 27"/>
                  <a:gd name="T5" fmla="*/ 90920029 h 29"/>
                  <a:gd name="T6" fmla="*/ 0 w 27"/>
                  <a:gd name="T7" fmla="*/ 0 h 29"/>
                  <a:gd name="T8" fmla="*/ 150798644 w 27"/>
                  <a:gd name="T9" fmla="*/ 0 h 29"/>
                  <a:gd name="T10" fmla="*/ 150798644 w 27"/>
                  <a:gd name="T11" fmla="*/ 90920029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7" h="29">
                    <a:moveTo>
                      <a:pt x="27" y="15"/>
                    </a:moveTo>
                    <a:cubicBezTo>
                      <a:pt x="27" y="23"/>
                      <a:pt x="21" y="29"/>
                      <a:pt x="13" y="29"/>
                    </a:cubicBezTo>
                    <a:cubicBezTo>
                      <a:pt x="6" y="29"/>
                      <a:pt x="0" y="23"/>
                      <a:pt x="0" y="15"/>
                    </a:cubicBezTo>
                    <a:cubicBezTo>
                      <a:pt x="0" y="13"/>
                      <a:pt x="0" y="0"/>
                      <a:pt x="0" y="0"/>
                    </a:cubicBezTo>
                    <a:cubicBezTo>
                      <a:pt x="27" y="0"/>
                      <a:pt x="27" y="0"/>
                      <a:pt x="27" y="0"/>
                    </a:cubicBezTo>
                    <a:cubicBezTo>
                      <a:pt x="27" y="0"/>
                      <a:pt x="27" y="8"/>
                      <a:pt x="27" y="15"/>
                    </a:cubicBezTo>
                    <a:close/>
                  </a:path>
                </a:pathLst>
              </a:custGeom>
              <a:solidFill>
                <a:srgbClr val="CE903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27" name="Freeform 40">
                <a:extLst>
                  <a:ext uri="{FF2B5EF4-FFF2-40B4-BE49-F238E27FC236}">
                    <a16:creationId xmlns:a16="http://schemas.microsoft.com/office/drawing/2014/main" id="{73FFA22F-ACE6-8F4E-F2CD-E6576D278CCC}"/>
                  </a:ext>
                </a:extLst>
              </p:cNvPr>
              <p:cNvSpPr>
                <a:spLocks/>
              </p:cNvSpPr>
              <p:nvPr/>
            </p:nvSpPr>
            <p:spPr bwMode="auto">
              <a:xfrm>
                <a:off x="6084" y="3306"/>
                <a:ext cx="64" cy="69"/>
              </a:xfrm>
              <a:custGeom>
                <a:avLst/>
                <a:gdLst>
                  <a:gd name="T0" fmla="*/ 150798644 w 27"/>
                  <a:gd name="T1" fmla="*/ 90920029 h 29"/>
                  <a:gd name="T2" fmla="*/ 72486310 w 27"/>
                  <a:gd name="T3" fmla="*/ 172945702 h 29"/>
                  <a:gd name="T4" fmla="*/ 0 w 27"/>
                  <a:gd name="T5" fmla="*/ 90920029 h 29"/>
                  <a:gd name="T6" fmla="*/ 0 w 27"/>
                  <a:gd name="T7" fmla="*/ 0 h 29"/>
                  <a:gd name="T8" fmla="*/ 150798644 w 27"/>
                  <a:gd name="T9" fmla="*/ 0 h 29"/>
                  <a:gd name="T10" fmla="*/ 150798644 w 27"/>
                  <a:gd name="T11" fmla="*/ 90920029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7" h="29">
                    <a:moveTo>
                      <a:pt x="27" y="15"/>
                    </a:moveTo>
                    <a:cubicBezTo>
                      <a:pt x="27" y="23"/>
                      <a:pt x="21" y="29"/>
                      <a:pt x="13" y="29"/>
                    </a:cubicBezTo>
                    <a:cubicBezTo>
                      <a:pt x="6" y="29"/>
                      <a:pt x="0" y="23"/>
                      <a:pt x="0" y="15"/>
                    </a:cubicBezTo>
                    <a:cubicBezTo>
                      <a:pt x="0" y="13"/>
                      <a:pt x="0" y="0"/>
                      <a:pt x="0" y="0"/>
                    </a:cubicBezTo>
                    <a:cubicBezTo>
                      <a:pt x="27" y="0"/>
                      <a:pt x="27" y="0"/>
                      <a:pt x="27" y="0"/>
                    </a:cubicBezTo>
                    <a:cubicBezTo>
                      <a:pt x="27" y="0"/>
                      <a:pt x="27" y="8"/>
                      <a:pt x="27" y="15"/>
                    </a:cubicBezTo>
                    <a:close/>
                  </a:path>
                </a:pathLst>
              </a:custGeom>
              <a:solidFill>
                <a:srgbClr val="664B3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28" name="Freeform 41">
                <a:extLst>
                  <a:ext uri="{FF2B5EF4-FFF2-40B4-BE49-F238E27FC236}">
                    <a16:creationId xmlns:a16="http://schemas.microsoft.com/office/drawing/2014/main" id="{51C57268-9EA1-0ADA-8274-54B0F622430E}"/>
                  </a:ext>
                </a:extLst>
              </p:cNvPr>
              <p:cNvSpPr>
                <a:spLocks/>
              </p:cNvSpPr>
              <p:nvPr/>
            </p:nvSpPr>
            <p:spPr bwMode="auto">
              <a:xfrm>
                <a:off x="6148" y="3306"/>
                <a:ext cx="64" cy="69"/>
              </a:xfrm>
              <a:custGeom>
                <a:avLst/>
                <a:gdLst>
                  <a:gd name="T0" fmla="*/ 150798644 w 27"/>
                  <a:gd name="T1" fmla="*/ 90920029 h 29"/>
                  <a:gd name="T2" fmla="*/ 72486310 w 27"/>
                  <a:gd name="T3" fmla="*/ 172945702 h 29"/>
                  <a:gd name="T4" fmla="*/ 0 w 27"/>
                  <a:gd name="T5" fmla="*/ 90920029 h 29"/>
                  <a:gd name="T6" fmla="*/ 0 w 27"/>
                  <a:gd name="T7" fmla="*/ 0 h 29"/>
                  <a:gd name="T8" fmla="*/ 150798644 w 27"/>
                  <a:gd name="T9" fmla="*/ 0 h 29"/>
                  <a:gd name="T10" fmla="*/ 150798644 w 27"/>
                  <a:gd name="T11" fmla="*/ 90920029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7" h="29">
                    <a:moveTo>
                      <a:pt x="27" y="15"/>
                    </a:moveTo>
                    <a:cubicBezTo>
                      <a:pt x="27" y="23"/>
                      <a:pt x="21" y="29"/>
                      <a:pt x="13" y="29"/>
                    </a:cubicBezTo>
                    <a:cubicBezTo>
                      <a:pt x="6" y="29"/>
                      <a:pt x="0" y="23"/>
                      <a:pt x="0" y="15"/>
                    </a:cubicBezTo>
                    <a:cubicBezTo>
                      <a:pt x="0" y="13"/>
                      <a:pt x="0" y="0"/>
                      <a:pt x="0" y="0"/>
                    </a:cubicBezTo>
                    <a:cubicBezTo>
                      <a:pt x="27" y="0"/>
                      <a:pt x="27" y="0"/>
                      <a:pt x="27" y="0"/>
                    </a:cubicBezTo>
                    <a:cubicBezTo>
                      <a:pt x="27" y="0"/>
                      <a:pt x="27" y="8"/>
                      <a:pt x="27" y="15"/>
                    </a:cubicBezTo>
                    <a:close/>
                  </a:path>
                </a:pathLst>
              </a:custGeom>
              <a:solidFill>
                <a:srgbClr val="CE903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29" name="Freeform 42">
                <a:extLst>
                  <a:ext uri="{FF2B5EF4-FFF2-40B4-BE49-F238E27FC236}">
                    <a16:creationId xmlns:a16="http://schemas.microsoft.com/office/drawing/2014/main" id="{2EFBD490-8625-6893-A1B8-561D7A92CB7D}"/>
                  </a:ext>
                </a:extLst>
              </p:cNvPr>
              <p:cNvSpPr>
                <a:spLocks/>
              </p:cNvSpPr>
              <p:nvPr/>
            </p:nvSpPr>
            <p:spPr bwMode="auto">
              <a:xfrm>
                <a:off x="6212" y="3306"/>
                <a:ext cx="63" cy="69"/>
              </a:xfrm>
              <a:custGeom>
                <a:avLst/>
                <a:gdLst>
                  <a:gd name="T0" fmla="*/ 113450920 w 27"/>
                  <a:gd name="T1" fmla="*/ 90920029 h 29"/>
                  <a:gd name="T2" fmla="*/ 53913589 w 27"/>
                  <a:gd name="T3" fmla="*/ 172945702 h 29"/>
                  <a:gd name="T4" fmla="*/ 0 w 27"/>
                  <a:gd name="T5" fmla="*/ 90920029 h 29"/>
                  <a:gd name="T6" fmla="*/ 0 w 27"/>
                  <a:gd name="T7" fmla="*/ 0 h 29"/>
                  <a:gd name="T8" fmla="*/ 113450920 w 27"/>
                  <a:gd name="T9" fmla="*/ 0 h 29"/>
                  <a:gd name="T10" fmla="*/ 113450920 w 27"/>
                  <a:gd name="T11" fmla="*/ 90920029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7" h="29">
                    <a:moveTo>
                      <a:pt x="27" y="15"/>
                    </a:moveTo>
                    <a:cubicBezTo>
                      <a:pt x="27" y="23"/>
                      <a:pt x="21" y="29"/>
                      <a:pt x="13" y="29"/>
                    </a:cubicBezTo>
                    <a:cubicBezTo>
                      <a:pt x="6" y="29"/>
                      <a:pt x="0" y="23"/>
                      <a:pt x="0" y="15"/>
                    </a:cubicBezTo>
                    <a:cubicBezTo>
                      <a:pt x="0" y="13"/>
                      <a:pt x="0" y="0"/>
                      <a:pt x="0" y="0"/>
                    </a:cubicBezTo>
                    <a:cubicBezTo>
                      <a:pt x="27" y="0"/>
                      <a:pt x="27" y="0"/>
                      <a:pt x="27" y="0"/>
                    </a:cubicBezTo>
                    <a:cubicBezTo>
                      <a:pt x="27" y="0"/>
                      <a:pt x="27" y="8"/>
                      <a:pt x="27" y="15"/>
                    </a:cubicBezTo>
                    <a:close/>
                  </a:path>
                </a:pathLst>
              </a:custGeom>
              <a:solidFill>
                <a:srgbClr val="664B3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30" name="Rectangle 43">
                <a:extLst>
                  <a:ext uri="{FF2B5EF4-FFF2-40B4-BE49-F238E27FC236}">
                    <a16:creationId xmlns:a16="http://schemas.microsoft.com/office/drawing/2014/main" id="{45D065B9-E900-195C-9B26-A8D8E732A206}"/>
                  </a:ext>
                </a:extLst>
              </p:cNvPr>
              <p:cNvSpPr>
                <a:spLocks noChangeArrowheads="1"/>
              </p:cNvSpPr>
              <p:nvPr/>
            </p:nvSpPr>
            <p:spPr bwMode="auto">
              <a:xfrm>
                <a:off x="5190" y="3294"/>
                <a:ext cx="1085" cy="22"/>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31" name="Freeform 44">
                <a:extLst>
                  <a:ext uri="{FF2B5EF4-FFF2-40B4-BE49-F238E27FC236}">
                    <a16:creationId xmlns:a16="http://schemas.microsoft.com/office/drawing/2014/main" id="{716C80C7-9A69-4704-B8B2-E027006BE399}"/>
                  </a:ext>
                </a:extLst>
              </p:cNvPr>
              <p:cNvSpPr>
                <a:spLocks/>
              </p:cNvSpPr>
              <p:nvPr/>
            </p:nvSpPr>
            <p:spPr bwMode="auto">
              <a:xfrm>
                <a:off x="2367" y="2005"/>
                <a:ext cx="1289" cy="1907"/>
              </a:xfrm>
              <a:custGeom>
                <a:avLst/>
                <a:gdLst>
                  <a:gd name="T0" fmla="*/ 1289 w 1289"/>
                  <a:gd name="T1" fmla="*/ 1907 h 1907"/>
                  <a:gd name="T2" fmla="*/ 0 w 1289"/>
                  <a:gd name="T3" fmla="*/ 1907 h 1907"/>
                  <a:gd name="T4" fmla="*/ 0 w 1289"/>
                  <a:gd name="T5" fmla="*/ 814 h 1907"/>
                  <a:gd name="T6" fmla="*/ 638 w 1289"/>
                  <a:gd name="T7" fmla="*/ 0 h 1907"/>
                  <a:gd name="T8" fmla="*/ 1289 w 1289"/>
                  <a:gd name="T9" fmla="*/ 814 h 1907"/>
                  <a:gd name="T10" fmla="*/ 1289 w 1289"/>
                  <a:gd name="T11" fmla="*/ 1907 h 190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89" h="1907">
                    <a:moveTo>
                      <a:pt x="1289" y="1907"/>
                    </a:moveTo>
                    <a:lnTo>
                      <a:pt x="0" y="1907"/>
                    </a:lnTo>
                    <a:lnTo>
                      <a:pt x="0" y="814"/>
                    </a:lnTo>
                    <a:lnTo>
                      <a:pt x="638" y="0"/>
                    </a:lnTo>
                    <a:lnTo>
                      <a:pt x="1289" y="814"/>
                    </a:lnTo>
                    <a:lnTo>
                      <a:pt x="1289" y="1907"/>
                    </a:lnTo>
                    <a:close/>
                  </a:path>
                </a:pathLst>
              </a:custGeom>
              <a:solidFill>
                <a:srgbClr val="F26C2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32" name="Rectangle 45">
                <a:extLst>
                  <a:ext uri="{FF2B5EF4-FFF2-40B4-BE49-F238E27FC236}">
                    <a16:creationId xmlns:a16="http://schemas.microsoft.com/office/drawing/2014/main" id="{8FAC4EAF-D9A2-9259-CE57-EE9AA1C811D6}"/>
                  </a:ext>
                </a:extLst>
              </p:cNvPr>
              <p:cNvSpPr>
                <a:spLocks noChangeArrowheads="1"/>
              </p:cNvSpPr>
              <p:nvPr/>
            </p:nvSpPr>
            <p:spPr bwMode="auto">
              <a:xfrm>
                <a:off x="2367" y="3800"/>
                <a:ext cx="1289" cy="112"/>
              </a:xfrm>
              <a:prstGeom prst="rect">
                <a:avLst/>
              </a:prstGeom>
              <a:solidFill>
                <a:srgbClr val="DBC7A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33" name="Rectangle 46">
                <a:extLst>
                  <a:ext uri="{FF2B5EF4-FFF2-40B4-BE49-F238E27FC236}">
                    <a16:creationId xmlns:a16="http://schemas.microsoft.com/office/drawing/2014/main" id="{89AF39D2-23D4-25BE-16F4-84D3528EE687}"/>
                  </a:ext>
                </a:extLst>
              </p:cNvPr>
              <p:cNvSpPr>
                <a:spLocks noChangeArrowheads="1"/>
              </p:cNvSpPr>
              <p:nvPr/>
            </p:nvSpPr>
            <p:spPr bwMode="auto">
              <a:xfrm>
                <a:off x="2556" y="3450"/>
                <a:ext cx="206" cy="216"/>
              </a:xfrm>
              <a:prstGeom prst="rect">
                <a:avLst/>
              </a:prstGeom>
              <a:solidFill>
                <a:srgbClr val="8D3B1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34" name="Rectangle 47">
                <a:extLst>
                  <a:ext uri="{FF2B5EF4-FFF2-40B4-BE49-F238E27FC236}">
                    <a16:creationId xmlns:a16="http://schemas.microsoft.com/office/drawing/2014/main" id="{5BA80CAD-654B-5CE0-C3F3-739818677051}"/>
                  </a:ext>
                </a:extLst>
              </p:cNvPr>
              <p:cNvSpPr>
                <a:spLocks noChangeArrowheads="1"/>
              </p:cNvSpPr>
              <p:nvPr/>
            </p:nvSpPr>
            <p:spPr bwMode="auto">
              <a:xfrm>
                <a:off x="3280" y="3450"/>
                <a:ext cx="205" cy="216"/>
              </a:xfrm>
              <a:prstGeom prst="rect">
                <a:avLst/>
              </a:prstGeom>
              <a:solidFill>
                <a:srgbClr val="8D3B1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35" name="Oval 48">
                <a:extLst>
                  <a:ext uri="{FF2B5EF4-FFF2-40B4-BE49-F238E27FC236}">
                    <a16:creationId xmlns:a16="http://schemas.microsoft.com/office/drawing/2014/main" id="{B32FB199-70BD-833C-B81D-BCD7EBF70EDD}"/>
                  </a:ext>
                </a:extLst>
              </p:cNvPr>
              <p:cNvSpPr>
                <a:spLocks noChangeArrowheads="1"/>
              </p:cNvSpPr>
              <p:nvPr/>
            </p:nvSpPr>
            <p:spPr bwMode="auto">
              <a:xfrm>
                <a:off x="2930" y="2400"/>
                <a:ext cx="172" cy="173"/>
              </a:xfrm>
              <a:prstGeom prst="ellipse">
                <a:avLst/>
              </a:prstGeom>
              <a:solidFill>
                <a:srgbClr val="8D3B1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36" name="Rectangle 49">
                <a:extLst>
                  <a:ext uri="{FF2B5EF4-FFF2-40B4-BE49-F238E27FC236}">
                    <a16:creationId xmlns:a16="http://schemas.microsoft.com/office/drawing/2014/main" id="{A95EEC84-443D-F580-81CC-CE4A01A1DEB0}"/>
                  </a:ext>
                </a:extLst>
              </p:cNvPr>
              <p:cNvSpPr>
                <a:spLocks noChangeArrowheads="1"/>
              </p:cNvSpPr>
              <p:nvPr/>
            </p:nvSpPr>
            <p:spPr bwMode="auto">
              <a:xfrm>
                <a:off x="2495" y="2894"/>
                <a:ext cx="224" cy="235"/>
              </a:xfrm>
              <a:prstGeom prst="rect">
                <a:avLst/>
              </a:prstGeom>
              <a:solidFill>
                <a:srgbClr val="8D3B1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37" name="Rectangle 50">
                <a:extLst>
                  <a:ext uri="{FF2B5EF4-FFF2-40B4-BE49-F238E27FC236}">
                    <a16:creationId xmlns:a16="http://schemas.microsoft.com/office/drawing/2014/main" id="{15592E26-8584-2056-BB9F-BAE70780D0D5}"/>
                  </a:ext>
                </a:extLst>
              </p:cNvPr>
              <p:cNvSpPr>
                <a:spLocks noChangeArrowheads="1"/>
              </p:cNvSpPr>
              <p:nvPr/>
            </p:nvSpPr>
            <p:spPr bwMode="auto">
              <a:xfrm>
                <a:off x="3055" y="2894"/>
                <a:ext cx="225" cy="235"/>
              </a:xfrm>
              <a:prstGeom prst="rect">
                <a:avLst/>
              </a:prstGeom>
              <a:solidFill>
                <a:srgbClr val="8D3B1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38" name="Rectangle 51">
                <a:extLst>
                  <a:ext uri="{FF2B5EF4-FFF2-40B4-BE49-F238E27FC236}">
                    <a16:creationId xmlns:a16="http://schemas.microsoft.com/office/drawing/2014/main" id="{8767932A-98D7-0A02-F624-A47AC6FE2C37}"/>
                  </a:ext>
                </a:extLst>
              </p:cNvPr>
              <p:cNvSpPr>
                <a:spLocks noChangeArrowheads="1"/>
              </p:cNvSpPr>
              <p:nvPr/>
            </p:nvSpPr>
            <p:spPr bwMode="auto">
              <a:xfrm>
                <a:off x="3334" y="2894"/>
                <a:ext cx="225" cy="235"/>
              </a:xfrm>
              <a:prstGeom prst="rect">
                <a:avLst/>
              </a:prstGeom>
              <a:solidFill>
                <a:srgbClr val="8D3B1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39" name="Rectangle 52">
                <a:extLst>
                  <a:ext uri="{FF2B5EF4-FFF2-40B4-BE49-F238E27FC236}">
                    <a16:creationId xmlns:a16="http://schemas.microsoft.com/office/drawing/2014/main" id="{5672BB63-3D9C-CE46-8E26-6FFD8B0EA636}"/>
                  </a:ext>
                </a:extLst>
              </p:cNvPr>
              <p:cNvSpPr>
                <a:spLocks noChangeArrowheads="1"/>
              </p:cNvSpPr>
              <p:nvPr/>
            </p:nvSpPr>
            <p:spPr bwMode="auto">
              <a:xfrm>
                <a:off x="2771" y="2894"/>
                <a:ext cx="227" cy="235"/>
              </a:xfrm>
              <a:prstGeom prst="rect">
                <a:avLst/>
              </a:prstGeom>
              <a:solidFill>
                <a:srgbClr val="8D3B1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40" name="Freeform 53">
                <a:extLst>
                  <a:ext uri="{FF2B5EF4-FFF2-40B4-BE49-F238E27FC236}">
                    <a16:creationId xmlns:a16="http://schemas.microsoft.com/office/drawing/2014/main" id="{FA3F2E86-72B1-95CE-97CB-FC4B984FC411}"/>
                  </a:ext>
                </a:extLst>
              </p:cNvPr>
              <p:cNvSpPr>
                <a:spLocks/>
              </p:cNvSpPr>
              <p:nvPr/>
            </p:nvSpPr>
            <p:spPr bwMode="auto">
              <a:xfrm>
                <a:off x="2367" y="2776"/>
                <a:ext cx="33" cy="1024"/>
              </a:xfrm>
              <a:custGeom>
                <a:avLst/>
                <a:gdLst>
                  <a:gd name="T0" fmla="*/ 33 w 33"/>
                  <a:gd name="T1" fmla="*/ 1024 h 1024"/>
                  <a:gd name="T2" fmla="*/ 0 w 33"/>
                  <a:gd name="T3" fmla="*/ 1024 h 1024"/>
                  <a:gd name="T4" fmla="*/ 0 w 33"/>
                  <a:gd name="T5" fmla="*/ 43 h 1024"/>
                  <a:gd name="T6" fmla="*/ 33 w 33"/>
                  <a:gd name="T7" fmla="*/ 0 h 1024"/>
                  <a:gd name="T8" fmla="*/ 33 w 33"/>
                  <a:gd name="T9" fmla="*/ 1024 h 10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1024">
                    <a:moveTo>
                      <a:pt x="33" y="1024"/>
                    </a:moveTo>
                    <a:lnTo>
                      <a:pt x="0" y="1024"/>
                    </a:lnTo>
                    <a:lnTo>
                      <a:pt x="0" y="43"/>
                    </a:lnTo>
                    <a:lnTo>
                      <a:pt x="33" y="0"/>
                    </a:lnTo>
                    <a:lnTo>
                      <a:pt x="33" y="1024"/>
                    </a:lnTo>
                    <a:close/>
                  </a:path>
                </a:pathLst>
              </a:custGeom>
              <a:solidFill>
                <a:srgbClr val="F3DB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41" name="Freeform 54">
                <a:extLst>
                  <a:ext uri="{FF2B5EF4-FFF2-40B4-BE49-F238E27FC236}">
                    <a16:creationId xmlns:a16="http://schemas.microsoft.com/office/drawing/2014/main" id="{86B4F960-E4D5-629A-3689-A921AF9B39C7}"/>
                  </a:ext>
                </a:extLst>
              </p:cNvPr>
              <p:cNvSpPr>
                <a:spLocks/>
              </p:cNvSpPr>
              <p:nvPr/>
            </p:nvSpPr>
            <p:spPr bwMode="auto">
              <a:xfrm>
                <a:off x="3625" y="2776"/>
                <a:ext cx="31" cy="1024"/>
              </a:xfrm>
              <a:custGeom>
                <a:avLst/>
                <a:gdLst>
                  <a:gd name="T0" fmla="*/ 31 w 31"/>
                  <a:gd name="T1" fmla="*/ 1024 h 1024"/>
                  <a:gd name="T2" fmla="*/ 0 w 31"/>
                  <a:gd name="T3" fmla="*/ 1024 h 1024"/>
                  <a:gd name="T4" fmla="*/ 0 w 31"/>
                  <a:gd name="T5" fmla="*/ 0 h 1024"/>
                  <a:gd name="T6" fmla="*/ 31 w 31"/>
                  <a:gd name="T7" fmla="*/ 50 h 1024"/>
                  <a:gd name="T8" fmla="*/ 31 w 31"/>
                  <a:gd name="T9" fmla="*/ 1024 h 10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1024">
                    <a:moveTo>
                      <a:pt x="31" y="1024"/>
                    </a:moveTo>
                    <a:lnTo>
                      <a:pt x="0" y="1024"/>
                    </a:lnTo>
                    <a:lnTo>
                      <a:pt x="0" y="0"/>
                    </a:lnTo>
                    <a:lnTo>
                      <a:pt x="31" y="50"/>
                    </a:lnTo>
                    <a:lnTo>
                      <a:pt x="31" y="1024"/>
                    </a:lnTo>
                    <a:close/>
                  </a:path>
                </a:pathLst>
              </a:custGeom>
              <a:solidFill>
                <a:srgbClr val="F3DB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42" name="Rectangle 55">
                <a:extLst>
                  <a:ext uri="{FF2B5EF4-FFF2-40B4-BE49-F238E27FC236}">
                    <a16:creationId xmlns:a16="http://schemas.microsoft.com/office/drawing/2014/main" id="{AE18688A-7F3B-EF88-836B-6857B7815232}"/>
                  </a:ext>
                </a:extLst>
              </p:cNvPr>
              <p:cNvSpPr>
                <a:spLocks noChangeArrowheads="1"/>
              </p:cNvSpPr>
              <p:nvPr/>
            </p:nvSpPr>
            <p:spPr bwMode="auto">
              <a:xfrm>
                <a:off x="2388" y="3247"/>
                <a:ext cx="1239" cy="43"/>
              </a:xfrm>
              <a:prstGeom prst="rect">
                <a:avLst/>
              </a:prstGeom>
              <a:solidFill>
                <a:srgbClr val="0F304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43" name="Freeform 56">
                <a:extLst>
                  <a:ext uri="{FF2B5EF4-FFF2-40B4-BE49-F238E27FC236}">
                    <a16:creationId xmlns:a16="http://schemas.microsoft.com/office/drawing/2014/main" id="{50CF9624-A547-5EA3-B8A7-30BA57CE6744}"/>
                  </a:ext>
                </a:extLst>
              </p:cNvPr>
              <p:cNvSpPr>
                <a:spLocks/>
              </p:cNvSpPr>
              <p:nvPr/>
            </p:nvSpPr>
            <p:spPr bwMode="auto">
              <a:xfrm>
                <a:off x="2128" y="1799"/>
                <a:ext cx="1769" cy="1074"/>
              </a:xfrm>
              <a:custGeom>
                <a:avLst/>
                <a:gdLst>
                  <a:gd name="T0" fmla="*/ 201 w 1769"/>
                  <a:gd name="T1" fmla="*/ 1074 h 1074"/>
                  <a:gd name="T2" fmla="*/ 0 w 1769"/>
                  <a:gd name="T3" fmla="*/ 1074 h 1074"/>
                  <a:gd name="T4" fmla="*/ 887 w 1769"/>
                  <a:gd name="T5" fmla="*/ 0 h 1074"/>
                  <a:gd name="T6" fmla="*/ 1769 w 1769"/>
                  <a:gd name="T7" fmla="*/ 1074 h 1074"/>
                  <a:gd name="T8" fmla="*/ 1565 w 1769"/>
                  <a:gd name="T9" fmla="*/ 1074 h 1074"/>
                  <a:gd name="T10" fmla="*/ 882 w 1769"/>
                  <a:gd name="T11" fmla="*/ 244 h 1074"/>
                  <a:gd name="T12" fmla="*/ 201 w 1769"/>
                  <a:gd name="T13" fmla="*/ 1074 h 107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769" h="1074">
                    <a:moveTo>
                      <a:pt x="201" y="1074"/>
                    </a:moveTo>
                    <a:lnTo>
                      <a:pt x="0" y="1074"/>
                    </a:lnTo>
                    <a:lnTo>
                      <a:pt x="887" y="0"/>
                    </a:lnTo>
                    <a:lnTo>
                      <a:pt x="1769" y="1074"/>
                    </a:lnTo>
                    <a:lnTo>
                      <a:pt x="1565" y="1074"/>
                    </a:lnTo>
                    <a:lnTo>
                      <a:pt x="882" y="244"/>
                    </a:lnTo>
                    <a:lnTo>
                      <a:pt x="201" y="1074"/>
                    </a:ln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44" name="Freeform 57">
                <a:extLst>
                  <a:ext uri="{FF2B5EF4-FFF2-40B4-BE49-F238E27FC236}">
                    <a16:creationId xmlns:a16="http://schemas.microsoft.com/office/drawing/2014/main" id="{C54CC0B5-9676-F9D4-3303-EC86D62406F5}"/>
                  </a:ext>
                </a:extLst>
              </p:cNvPr>
              <p:cNvSpPr>
                <a:spLocks/>
              </p:cNvSpPr>
              <p:nvPr/>
            </p:nvSpPr>
            <p:spPr bwMode="auto">
              <a:xfrm>
                <a:off x="2847" y="3424"/>
                <a:ext cx="300" cy="490"/>
              </a:xfrm>
              <a:custGeom>
                <a:avLst/>
                <a:gdLst>
                  <a:gd name="T0" fmla="*/ 666510683 w 127"/>
                  <a:gd name="T1" fmla="*/ 343273770 h 207"/>
                  <a:gd name="T2" fmla="*/ 335344420 w 127"/>
                  <a:gd name="T3" fmla="*/ 0 h 207"/>
                  <a:gd name="T4" fmla="*/ 0 w 127"/>
                  <a:gd name="T5" fmla="*/ 343273770 h 207"/>
                  <a:gd name="T6" fmla="*/ 0 w 127"/>
                  <a:gd name="T7" fmla="*/ 1127352095 h 207"/>
                  <a:gd name="T8" fmla="*/ 666510683 w 127"/>
                  <a:gd name="T9" fmla="*/ 1127352095 h 207"/>
                  <a:gd name="T10" fmla="*/ 666510683 w 127"/>
                  <a:gd name="T11" fmla="*/ 343273770 h 20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7" h="207">
                    <a:moveTo>
                      <a:pt x="127" y="63"/>
                    </a:moveTo>
                    <a:cubicBezTo>
                      <a:pt x="127" y="28"/>
                      <a:pt x="99" y="0"/>
                      <a:pt x="64" y="0"/>
                    </a:cubicBezTo>
                    <a:cubicBezTo>
                      <a:pt x="28" y="0"/>
                      <a:pt x="0" y="28"/>
                      <a:pt x="0" y="63"/>
                    </a:cubicBezTo>
                    <a:cubicBezTo>
                      <a:pt x="0" y="207"/>
                      <a:pt x="0" y="207"/>
                      <a:pt x="0" y="207"/>
                    </a:cubicBezTo>
                    <a:cubicBezTo>
                      <a:pt x="127" y="207"/>
                      <a:pt x="127" y="207"/>
                      <a:pt x="127" y="207"/>
                    </a:cubicBezTo>
                    <a:lnTo>
                      <a:pt x="127" y="63"/>
                    </a:lnTo>
                    <a:close/>
                  </a:path>
                </a:pathLst>
              </a:custGeom>
              <a:solidFill>
                <a:srgbClr val="0F30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45" name="Freeform 58">
                <a:extLst>
                  <a:ext uri="{FF2B5EF4-FFF2-40B4-BE49-F238E27FC236}">
                    <a16:creationId xmlns:a16="http://schemas.microsoft.com/office/drawing/2014/main" id="{6D731159-0F74-709F-316F-275B9F1474FF}"/>
                  </a:ext>
                </a:extLst>
              </p:cNvPr>
              <p:cNvSpPr>
                <a:spLocks/>
              </p:cNvSpPr>
              <p:nvPr/>
            </p:nvSpPr>
            <p:spPr bwMode="auto">
              <a:xfrm>
                <a:off x="3377" y="1513"/>
                <a:ext cx="1468" cy="2399"/>
              </a:xfrm>
              <a:custGeom>
                <a:avLst/>
                <a:gdLst>
                  <a:gd name="T0" fmla="*/ 1468 w 1468"/>
                  <a:gd name="T1" fmla="*/ 2399 h 2399"/>
                  <a:gd name="T2" fmla="*/ 0 w 1468"/>
                  <a:gd name="T3" fmla="*/ 2399 h 2399"/>
                  <a:gd name="T4" fmla="*/ 0 w 1468"/>
                  <a:gd name="T5" fmla="*/ 1010 h 2399"/>
                  <a:gd name="T6" fmla="*/ 725 w 1468"/>
                  <a:gd name="T7" fmla="*/ 0 h 2399"/>
                  <a:gd name="T8" fmla="*/ 1468 w 1468"/>
                  <a:gd name="T9" fmla="*/ 1010 h 2399"/>
                  <a:gd name="T10" fmla="*/ 1468 w 1468"/>
                  <a:gd name="T11" fmla="*/ 2399 h 239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68" h="2399">
                    <a:moveTo>
                      <a:pt x="1468" y="2399"/>
                    </a:moveTo>
                    <a:lnTo>
                      <a:pt x="0" y="2399"/>
                    </a:lnTo>
                    <a:lnTo>
                      <a:pt x="0" y="1010"/>
                    </a:lnTo>
                    <a:lnTo>
                      <a:pt x="725" y="0"/>
                    </a:lnTo>
                    <a:lnTo>
                      <a:pt x="1468" y="1010"/>
                    </a:lnTo>
                    <a:lnTo>
                      <a:pt x="1468" y="2399"/>
                    </a:lnTo>
                    <a:close/>
                  </a:path>
                </a:pathLst>
              </a:custGeom>
              <a:solidFill>
                <a:srgbClr val="F68E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46" name="Rectangle 59">
                <a:extLst>
                  <a:ext uri="{FF2B5EF4-FFF2-40B4-BE49-F238E27FC236}">
                    <a16:creationId xmlns:a16="http://schemas.microsoft.com/office/drawing/2014/main" id="{531F6C94-3BAF-5694-852A-8808D5C42E77}"/>
                  </a:ext>
                </a:extLst>
              </p:cNvPr>
              <p:cNvSpPr>
                <a:spLocks noChangeArrowheads="1"/>
              </p:cNvSpPr>
              <p:nvPr/>
            </p:nvSpPr>
            <p:spPr bwMode="auto">
              <a:xfrm>
                <a:off x="3377" y="2523"/>
                <a:ext cx="66" cy="123"/>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47" name="Rectangle 60">
                <a:extLst>
                  <a:ext uri="{FF2B5EF4-FFF2-40B4-BE49-F238E27FC236}">
                    <a16:creationId xmlns:a16="http://schemas.microsoft.com/office/drawing/2014/main" id="{5BA89A14-2F45-A46A-F69E-FD281B9FDF5D}"/>
                  </a:ext>
                </a:extLst>
              </p:cNvPr>
              <p:cNvSpPr>
                <a:spLocks noChangeArrowheads="1"/>
              </p:cNvSpPr>
              <p:nvPr/>
            </p:nvSpPr>
            <p:spPr bwMode="auto">
              <a:xfrm>
                <a:off x="3377" y="2663"/>
                <a:ext cx="111" cy="123"/>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48" name="Rectangle 61">
                <a:extLst>
                  <a:ext uri="{FF2B5EF4-FFF2-40B4-BE49-F238E27FC236}">
                    <a16:creationId xmlns:a16="http://schemas.microsoft.com/office/drawing/2014/main" id="{8F18FA02-254C-A068-FB92-1EB15E236359}"/>
                  </a:ext>
                </a:extLst>
              </p:cNvPr>
              <p:cNvSpPr>
                <a:spLocks noChangeArrowheads="1"/>
              </p:cNvSpPr>
              <p:nvPr/>
            </p:nvSpPr>
            <p:spPr bwMode="auto">
              <a:xfrm>
                <a:off x="3377" y="2805"/>
                <a:ext cx="66" cy="123"/>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49" name="Rectangle 62">
                <a:extLst>
                  <a:ext uri="{FF2B5EF4-FFF2-40B4-BE49-F238E27FC236}">
                    <a16:creationId xmlns:a16="http://schemas.microsoft.com/office/drawing/2014/main" id="{A056CF27-25B6-B53F-C39A-3A47FBC0E08F}"/>
                  </a:ext>
                </a:extLst>
              </p:cNvPr>
              <p:cNvSpPr>
                <a:spLocks noChangeArrowheads="1"/>
              </p:cNvSpPr>
              <p:nvPr/>
            </p:nvSpPr>
            <p:spPr bwMode="auto">
              <a:xfrm>
                <a:off x="3377" y="2944"/>
                <a:ext cx="111" cy="123"/>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50" name="Rectangle 63">
                <a:extLst>
                  <a:ext uri="{FF2B5EF4-FFF2-40B4-BE49-F238E27FC236}">
                    <a16:creationId xmlns:a16="http://schemas.microsoft.com/office/drawing/2014/main" id="{2A280F60-DC34-9801-3CD2-4B114F1DC0F9}"/>
                  </a:ext>
                </a:extLst>
              </p:cNvPr>
              <p:cNvSpPr>
                <a:spLocks noChangeArrowheads="1"/>
              </p:cNvSpPr>
              <p:nvPr/>
            </p:nvSpPr>
            <p:spPr bwMode="auto">
              <a:xfrm>
                <a:off x="3377" y="3226"/>
                <a:ext cx="111" cy="123"/>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51" name="Rectangle 64">
                <a:extLst>
                  <a:ext uri="{FF2B5EF4-FFF2-40B4-BE49-F238E27FC236}">
                    <a16:creationId xmlns:a16="http://schemas.microsoft.com/office/drawing/2014/main" id="{D9C6ACC1-AFF0-B513-4EA4-38716CCD573E}"/>
                  </a:ext>
                </a:extLst>
              </p:cNvPr>
              <p:cNvSpPr>
                <a:spLocks noChangeArrowheads="1"/>
              </p:cNvSpPr>
              <p:nvPr/>
            </p:nvSpPr>
            <p:spPr bwMode="auto">
              <a:xfrm>
                <a:off x="3377" y="3368"/>
                <a:ext cx="66" cy="123"/>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52" name="Rectangle 65">
                <a:extLst>
                  <a:ext uri="{FF2B5EF4-FFF2-40B4-BE49-F238E27FC236}">
                    <a16:creationId xmlns:a16="http://schemas.microsoft.com/office/drawing/2014/main" id="{DE9333C0-BA6E-5D8E-5782-D25110190B1E}"/>
                  </a:ext>
                </a:extLst>
              </p:cNvPr>
              <p:cNvSpPr>
                <a:spLocks noChangeArrowheads="1"/>
              </p:cNvSpPr>
              <p:nvPr/>
            </p:nvSpPr>
            <p:spPr bwMode="auto">
              <a:xfrm>
                <a:off x="3377" y="3507"/>
                <a:ext cx="111" cy="123"/>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53" name="Rectangle 66">
                <a:extLst>
                  <a:ext uri="{FF2B5EF4-FFF2-40B4-BE49-F238E27FC236}">
                    <a16:creationId xmlns:a16="http://schemas.microsoft.com/office/drawing/2014/main" id="{95365D47-FD29-449C-707E-DD9EE0D0169A}"/>
                  </a:ext>
                </a:extLst>
              </p:cNvPr>
              <p:cNvSpPr>
                <a:spLocks noChangeArrowheads="1"/>
              </p:cNvSpPr>
              <p:nvPr/>
            </p:nvSpPr>
            <p:spPr bwMode="auto">
              <a:xfrm>
                <a:off x="3377" y="3649"/>
                <a:ext cx="66" cy="123"/>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54" name="Rectangle 67">
                <a:extLst>
                  <a:ext uri="{FF2B5EF4-FFF2-40B4-BE49-F238E27FC236}">
                    <a16:creationId xmlns:a16="http://schemas.microsoft.com/office/drawing/2014/main" id="{EBBBEC7F-0E18-48A0-4AA0-EE84E8222287}"/>
                  </a:ext>
                </a:extLst>
              </p:cNvPr>
              <p:cNvSpPr>
                <a:spLocks noChangeArrowheads="1"/>
              </p:cNvSpPr>
              <p:nvPr/>
            </p:nvSpPr>
            <p:spPr bwMode="auto">
              <a:xfrm>
                <a:off x="4779" y="2523"/>
                <a:ext cx="66" cy="123"/>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55" name="Rectangle 68">
                <a:extLst>
                  <a:ext uri="{FF2B5EF4-FFF2-40B4-BE49-F238E27FC236}">
                    <a16:creationId xmlns:a16="http://schemas.microsoft.com/office/drawing/2014/main" id="{32A70649-6363-B29A-E0F1-5BD8D9881C88}"/>
                  </a:ext>
                </a:extLst>
              </p:cNvPr>
              <p:cNvSpPr>
                <a:spLocks noChangeArrowheads="1"/>
              </p:cNvSpPr>
              <p:nvPr/>
            </p:nvSpPr>
            <p:spPr bwMode="auto">
              <a:xfrm>
                <a:off x="4734" y="2663"/>
                <a:ext cx="111" cy="123"/>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56" name="Rectangle 69">
                <a:extLst>
                  <a:ext uri="{FF2B5EF4-FFF2-40B4-BE49-F238E27FC236}">
                    <a16:creationId xmlns:a16="http://schemas.microsoft.com/office/drawing/2014/main" id="{3CBC30E9-F068-D24F-0654-EA0F052FF312}"/>
                  </a:ext>
                </a:extLst>
              </p:cNvPr>
              <p:cNvSpPr>
                <a:spLocks noChangeArrowheads="1"/>
              </p:cNvSpPr>
              <p:nvPr/>
            </p:nvSpPr>
            <p:spPr bwMode="auto">
              <a:xfrm>
                <a:off x="4779" y="2805"/>
                <a:ext cx="66" cy="123"/>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57" name="Rectangle 70">
                <a:extLst>
                  <a:ext uri="{FF2B5EF4-FFF2-40B4-BE49-F238E27FC236}">
                    <a16:creationId xmlns:a16="http://schemas.microsoft.com/office/drawing/2014/main" id="{D9713483-35EA-11FE-4936-3DFE04818B69}"/>
                  </a:ext>
                </a:extLst>
              </p:cNvPr>
              <p:cNvSpPr>
                <a:spLocks noChangeArrowheads="1"/>
              </p:cNvSpPr>
              <p:nvPr/>
            </p:nvSpPr>
            <p:spPr bwMode="auto">
              <a:xfrm>
                <a:off x="4734" y="2944"/>
                <a:ext cx="111" cy="123"/>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58" name="Rectangle 71">
                <a:extLst>
                  <a:ext uri="{FF2B5EF4-FFF2-40B4-BE49-F238E27FC236}">
                    <a16:creationId xmlns:a16="http://schemas.microsoft.com/office/drawing/2014/main" id="{53F9F97B-C485-5B6D-1E60-8374BE7F1EC7}"/>
                  </a:ext>
                </a:extLst>
              </p:cNvPr>
              <p:cNvSpPr>
                <a:spLocks noChangeArrowheads="1"/>
              </p:cNvSpPr>
              <p:nvPr/>
            </p:nvSpPr>
            <p:spPr bwMode="auto">
              <a:xfrm>
                <a:off x="4779" y="3086"/>
                <a:ext cx="66" cy="123"/>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59" name="Rectangle 72">
                <a:extLst>
                  <a:ext uri="{FF2B5EF4-FFF2-40B4-BE49-F238E27FC236}">
                    <a16:creationId xmlns:a16="http://schemas.microsoft.com/office/drawing/2014/main" id="{32001908-184D-249A-5115-9382D1B6426F}"/>
                  </a:ext>
                </a:extLst>
              </p:cNvPr>
              <p:cNvSpPr>
                <a:spLocks noChangeArrowheads="1"/>
              </p:cNvSpPr>
              <p:nvPr/>
            </p:nvSpPr>
            <p:spPr bwMode="auto">
              <a:xfrm>
                <a:off x="4734" y="3226"/>
                <a:ext cx="111" cy="123"/>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60" name="Rectangle 73">
                <a:extLst>
                  <a:ext uri="{FF2B5EF4-FFF2-40B4-BE49-F238E27FC236}">
                    <a16:creationId xmlns:a16="http://schemas.microsoft.com/office/drawing/2014/main" id="{C022BA0A-07CA-B0F1-8D30-13037EB6F0DB}"/>
                  </a:ext>
                </a:extLst>
              </p:cNvPr>
              <p:cNvSpPr>
                <a:spLocks noChangeArrowheads="1"/>
              </p:cNvSpPr>
              <p:nvPr/>
            </p:nvSpPr>
            <p:spPr bwMode="auto">
              <a:xfrm>
                <a:off x="4779" y="3368"/>
                <a:ext cx="66" cy="123"/>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61" name="Rectangle 74">
                <a:extLst>
                  <a:ext uri="{FF2B5EF4-FFF2-40B4-BE49-F238E27FC236}">
                    <a16:creationId xmlns:a16="http://schemas.microsoft.com/office/drawing/2014/main" id="{0A0DD679-9DD2-6EAE-8EB3-7FC84B4094AD}"/>
                  </a:ext>
                </a:extLst>
              </p:cNvPr>
              <p:cNvSpPr>
                <a:spLocks noChangeArrowheads="1"/>
              </p:cNvSpPr>
              <p:nvPr/>
            </p:nvSpPr>
            <p:spPr bwMode="auto">
              <a:xfrm>
                <a:off x="4734" y="3507"/>
                <a:ext cx="111" cy="123"/>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62" name="Rectangle 75">
                <a:extLst>
                  <a:ext uri="{FF2B5EF4-FFF2-40B4-BE49-F238E27FC236}">
                    <a16:creationId xmlns:a16="http://schemas.microsoft.com/office/drawing/2014/main" id="{ACDD3DA6-96CD-CA2C-8BE9-612BEED31529}"/>
                  </a:ext>
                </a:extLst>
              </p:cNvPr>
              <p:cNvSpPr>
                <a:spLocks noChangeArrowheads="1"/>
              </p:cNvSpPr>
              <p:nvPr/>
            </p:nvSpPr>
            <p:spPr bwMode="auto">
              <a:xfrm>
                <a:off x="4779" y="3649"/>
                <a:ext cx="66" cy="123"/>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63" name="Freeform 76">
                <a:extLst>
                  <a:ext uri="{FF2B5EF4-FFF2-40B4-BE49-F238E27FC236}">
                    <a16:creationId xmlns:a16="http://schemas.microsoft.com/office/drawing/2014/main" id="{58C7A07A-CBFD-6EA3-1EE3-4F2D63233857}"/>
                  </a:ext>
                </a:extLst>
              </p:cNvPr>
              <p:cNvSpPr>
                <a:spLocks/>
              </p:cNvSpPr>
              <p:nvPr/>
            </p:nvSpPr>
            <p:spPr bwMode="auto">
              <a:xfrm>
                <a:off x="4027" y="1967"/>
                <a:ext cx="189" cy="249"/>
              </a:xfrm>
              <a:custGeom>
                <a:avLst/>
                <a:gdLst>
                  <a:gd name="T0" fmla="*/ 420980603 w 80"/>
                  <a:gd name="T1" fmla="*/ 213098381 h 105"/>
                  <a:gd name="T2" fmla="*/ 210895669 w 80"/>
                  <a:gd name="T3" fmla="*/ 0 h 105"/>
                  <a:gd name="T4" fmla="*/ 4723065 w 80"/>
                  <a:gd name="T5" fmla="*/ 213098381 h 105"/>
                  <a:gd name="T6" fmla="*/ 0 w 80"/>
                  <a:gd name="T7" fmla="*/ 213098381 h 105"/>
                  <a:gd name="T8" fmla="*/ 0 w 80"/>
                  <a:gd name="T9" fmla="*/ 590180125 h 105"/>
                  <a:gd name="T10" fmla="*/ 420980603 w 80"/>
                  <a:gd name="T11" fmla="*/ 590180125 h 105"/>
                  <a:gd name="T12" fmla="*/ 420980603 w 80"/>
                  <a:gd name="T13" fmla="*/ 213098381 h 10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0" h="105">
                    <a:moveTo>
                      <a:pt x="80" y="38"/>
                    </a:moveTo>
                    <a:cubicBezTo>
                      <a:pt x="79" y="17"/>
                      <a:pt x="62" y="0"/>
                      <a:pt x="40" y="0"/>
                    </a:cubicBezTo>
                    <a:cubicBezTo>
                      <a:pt x="19" y="0"/>
                      <a:pt x="1" y="17"/>
                      <a:pt x="1" y="38"/>
                    </a:cubicBezTo>
                    <a:cubicBezTo>
                      <a:pt x="0" y="38"/>
                      <a:pt x="0" y="38"/>
                      <a:pt x="0" y="38"/>
                    </a:cubicBezTo>
                    <a:cubicBezTo>
                      <a:pt x="0" y="105"/>
                      <a:pt x="0" y="105"/>
                      <a:pt x="0" y="105"/>
                    </a:cubicBezTo>
                    <a:cubicBezTo>
                      <a:pt x="80" y="105"/>
                      <a:pt x="80" y="105"/>
                      <a:pt x="80" y="105"/>
                    </a:cubicBezTo>
                    <a:cubicBezTo>
                      <a:pt x="80" y="38"/>
                      <a:pt x="80" y="38"/>
                      <a:pt x="80" y="38"/>
                    </a:cubicBezTo>
                    <a:close/>
                  </a:path>
                </a:pathLst>
              </a:custGeom>
              <a:solidFill>
                <a:srgbClr val="8F510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64" name="Freeform 77">
                <a:extLst>
                  <a:ext uri="{FF2B5EF4-FFF2-40B4-BE49-F238E27FC236}">
                    <a16:creationId xmlns:a16="http://schemas.microsoft.com/office/drawing/2014/main" id="{C56D1ECC-CBA2-6148-5B98-A29777532234}"/>
                  </a:ext>
                </a:extLst>
              </p:cNvPr>
              <p:cNvSpPr>
                <a:spLocks/>
              </p:cNvSpPr>
              <p:nvPr/>
            </p:nvSpPr>
            <p:spPr bwMode="auto">
              <a:xfrm>
                <a:off x="3641" y="2540"/>
                <a:ext cx="190" cy="371"/>
              </a:xfrm>
              <a:custGeom>
                <a:avLst/>
                <a:gdLst>
                  <a:gd name="T0" fmla="*/ 462178311 w 80"/>
                  <a:gd name="T1" fmla="*/ 201312641 h 157"/>
                  <a:gd name="T2" fmla="*/ 231638291 w 80"/>
                  <a:gd name="T3" fmla="*/ 0 h 157"/>
                  <a:gd name="T4" fmla="*/ 0 w 80"/>
                  <a:gd name="T5" fmla="*/ 201312641 h 157"/>
                  <a:gd name="T6" fmla="*/ 0 w 80"/>
                  <a:gd name="T7" fmla="*/ 201312641 h 157"/>
                  <a:gd name="T8" fmla="*/ 0 w 80"/>
                  <a:gd name="T9" fmla="*/ 828899951 h 157"/>
                  <a:gd name="T10" fmla="*/ 462178311 w 80"/>
                  <a:gd name="T11" fmla="*/ 828899951 h 157"/>
                  <a:gd name="T12" fmla="*/ 462178311 w 80"/>
                  <a:gd name="T13" fmla="*/ 201312641 h 1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0" h="157">
                    <a:moveTo>
                      <a:pt x="80" y="38"/>
                    </a:moveTo>
                    <a:cubicBezTo>
                      <a:pt x="79" y="17"/>
                      <a:pt x="62" y="0"/>
                      <a:pt x="40" y="0"/>
                    </a:cubicBezTo>
                    <a:cubicBezTo>
                      <a:pt x="19" y="0"/>
                      <a:pt x="1" y="17"/>
                      <a:pt x="0" y="38"/>
                    </a:cubicBezTo>
                    <a:cubicBezTo>
                      <a:pt x="0" y="38"/>
                      <a:pt x="0" y="38"/>
                      <a:pt x="0" y="38"/>
                    </a:cubicBezTo>
                    <a:cubicBezTo>
                      <a:pt x="0" y="157"/>
                      <a:pt x="0" y="157"/>
                      <a:pt x="0" y="157"/>
                    </a:cubicBezTo>
                    <a:cubicBezTo>
                      <a:pt x="80" y="157"/>
                      <a:pt x="80" y="157"/>
                      <a:pt x="80" y="157"/>
                    </a:cubicBezTo>
                    <a:cubicBezTo>
                      <a:pt x="80" y="38"/>
                      <a:pt x="80" y="38"/>
                      <a:pt x="80" y="38"/>
                    </a:cubicBezTo>
                    <a:close/>
                  </a:path>
                </a:pathLst>
              </a:custGeom>
              <a:solidFill>
                <a:srgbClr val="8F510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65" name="Freeform 78">
                <a:extLst>
                  <a:ext uri="{FF2B5EF4-FFF2-40B4-BE49-F238E27FC236}">
                    <a16:creationId xmlns:a16="http://schemas.microsoft.com/office/drawing/2014/main" id="{8FEE84F1-0130-64DF-2B6F-4B2F7D579C5A}"/>
                  </a:ext>
                </a:extLst>
              </p:cNvPr>
              <p:cNvSpPr>
                <a:spLocks/>
              </p:cNvSpPr>
              <p:nvPr/>
            </p:nvSpPr>
            <p:spPr bwMode="auto">
              <a:xfrm>
                <a:off x="4462" y="2525"/>
                <a:ext cx="187" cy="372"/>
              </a:xfrm>
              <a:custGeom>
                <a:avLst/>
                <a:gdLst>
                  <a:gd name="T0" fmla="*/ 430466155 w 79"/>
                  <a:gd name="T1" fmla="*/ 215370883 h 157"/>
                  <a:gd name="T2" fmla="*/ 218766613 w 79"/>
                  <a:gd name="T3" fmla="*/ 0 h 157"/>
                  <a:gd name="T4" fmla="*/ 0 w 79"/>
                  <a:gd name="T5" fmla="*/ 215370883 h 157"/>
                  <a:gd name="T6" fmla="*/ 0 w 79"/>
                  <a:gd name="T7" fmla="*/ 215370883 h 157"/>
                  <a:gd name="T8" fmla="*/ 0 w 79"/>
                  <a:gd name="T9" fmla="*/ 869329120 h 157"/>
                  <a:gd name="T10" fmla="*/ 430466155 w 79"/>
                  <a:gd name="T11" fmla="*/ 869329120 h 157"/>
                  <a:gd name="T12" fmla="*/ 430466155 w 79"/>
                  <a:gd name="T13" fmla="*/ 215370883 h 1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9" h="157">
                    <a:moveTo>
                      <a:pt x="79" y="39"/>
                    </a:moveTo>
                    <a:cubicBezTo>
                      <a:pt x="79" y="17"/>
                      <a:pt x="61" y="0"/>
                      <a:pt x="40" y="0"/>
                    </a:cubicBezTo>
                    <a:cubicBezTo>
                      <a:pt x="18" y="0"/>
                      <a:pt x="1" y="17"/>
                      <a:pt x="0" y="39"/>
                    </a:cubicBezTo>
                    <a:cubicBezTo>
                      <a:pt x="0" y="39"/>
                      <a:pt x="0" y="39"/>
                      <a:pt x="0" y="39"/>
                    </a:cubicBezTo>
                    <a:cubicBezTo>
                      <a:pt x="0" y="157"/>
                      <a:pt x="0" y="157"/>
                      <a:pt x="0" y="157"/>
                    </a:cubicBezTo>
                    <a:cubicBezTo>
                      <a:pt x="79" y="157"/>
                      <a:pt x="79" y="157"/>
                      <a:pt x="79" y="157"/>
                    </a:cubicBezTo>
                    <a:cubicBezTo>
                      <a:pt x="79" y="39"/>
                      <a:pt x="79" y="39"/>
                      <a:pt x="79" y="39"/>
                    </a:cubicBezTo>
                    <a:close/>
                  </a:path>
                </a:pathLst>
              </a:custGeom>
              <a:solidFill>
                <a:srgbClr val="8F510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66" name="Freeform 79">
                <a:extLst>
                  <a:ext uri="{FF2B5EF4-FFF2-40B4-BE49-F238E27FC236}">
                    <a16:creationId xmlns:a16="http://schemas.microsoft.com/office/drawing/2014/main" id="{1C6682BE-25E6-4DEF-9DC4-5EEE5EB4E3E8}"/>
                  </a:ext>
                </a:extLst>
              </p:cNvPr>
              <p:cNvSpPr>
                <a:spLocks/>
              </p:cNvSpPr>
              <p:nvPr/>
            </p:nvSpPr>
            <p:spPr bwMode="auto">
              <a:xfrm>
                <a:off x="4448" y="3287"/>
                <a:ext cx="186" cy="372"/>
              </a:xfrm>
              <a:custGeom>
                <a:avLst/>
                <a:gdLst>
                  <a:gd name="T0" fmla="*/ 390342621 w 79"/>
                  <a:gd name="T1" fmla="*/ 210425567 h 157"/>
                  <a:gd name="T2" fmla="*/ 196873336 w 79"/>
                  <a:gd name="T3" fmla="*/ 0 h 157"/>
                  <a:gd name="T4" fmla="*/ 0 w 79"/>
                  <a:gd name="T5" fmla="*/ 210425567 h 157"/>
                  <a:gd name="T6" fmla="*/ 0 w 79"/>
                  <a:gd name="T7" fmla="*/ 210425567 h 157"/>
                  <a:gd name="T8" fmla="*/ 0 w 79"/>
                  <a:gd name="T9" fmla="*/ 869329120 h 157"/>
                  <a:gd name="T10" fmla="*/ 390342621 w 79"/>
                  <a:gd name="T11" fmla="*/ 869329120 h 157"/>
                  <a:gd name="T12" fmla="*/ 390342621 w 79"/>
                  <a:gd name="T13" fmla="*/ 210425567 h 1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9" h="157">
                    <a:moveTo>
                      <a:pt x="79" y="38"/>
                    </a:moveTo>
                    <a:cubicBezTo>
                      <a:pt x="79" y="17"/>
                      <a:pt x="61" y="0"/>
                      <a:pt x="40" y="0"/>
                    </a:cubicBezTo>
                    <a:cubicBezTo>
                      <a:pt x="18" y="0"/>
                      <a:pt x="1" y="17"/>
                      <a:pt x="0" y="38"/>
                    </a:cubicBezTo>
                    <a:cubicBezTo>
                      <a:pt x="0" y="38"/>
                      <a:pt x="0" y="38"/>
                      <a:pt x="0" y="38"/>
                    </a:cubicBezTo>
                    <a:cubicBezTo>
                      <a:pt x="0" y="157"/>
                      <a:pt x="0" y="157"/>
                      <a:pt x="0" y="157"/>
                    </a:cubicBezTo>
                    <a:cubicBezTo>
                      <a:pt x="79" y="157"/>
                      <a:pt x="79" y="157"/>
                      <a:pt x="79" y="157"/>
                    </a:cubicBezTo>
                    <a:cubicBezTo>
                      <a:pt x="79" y="38"/>
                      <a:pt x="79" y="38"/>
                      <a:pt x="79" y="38"/>
                    </a:cubicBezTo>
                    <a:close/>
                  </a:path>
                </a:pathLst>
              </a:custGeom>
              <a:solidFill>
                <a:srgbClr val="8F510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67" name="Freeform 80">
                <a:extLst>
                  <a:ext uri="{FF2B5EF4-FFF2-40B4-BE49-F238E27FC236}">
                    <a16:creationId xmlns:a16="http://schemas.microsoft.com/office/drawing/2014/main" id="{72A6E77C-1CB7-8118-CACD-19E7AE2D294C}"/>
                  </a:ext>
                </a:extLst>
              </p:cNvPr>
              <p:cNvSpPr>
                <a:spLocks/>
              </p:cNvSpPr>
              <p:nvPr/>
            </p:nvSpPr>
            <p:spPr bwMode="auto">
              <a:xfrm>
                <a:off x="4173" y="3287"/>
                <a:ext cx="187" cy="372"/>
              </a:xfrm>
              <a:custGeom>
                <a:avLst/>
                <a:gdLst>
                  <a:gd name="T0" fmla="*/ 430466155 w 79"/>
                  <a:gd name="T1" fmla="*/ 210425567 h 157"/>
                  <a:gd name="T2" fmla="*/ 211682961 w 79"/>
                  <a:gd name="T3" fmla="*/ 0 h 157"/>
                  <a:gd name="T4" fmla="*/ 0 w 79"/>
                  <a:gd name="T5" fmla="*/ 210425567 h 157"/>
                  <a:gd name="T6" fmla="*/ 0 w 79"/>
                  <a:gd name="T7" fmla="*/ 210425567 h 157"/>
                  <a:gd name="T8" fmla="*/ 0 w 79"/>
                  <a:gd name="T9" fmla="*/ 869329120 h 157"/>
                  <a:gd name="T10" fmla="*/ 430466155 w 79"/>
                  <a:gd name="T11" fmla="*/ 869329120 h 157"/>
                  <a:gd name="T12" fmla="*/ 430466155 w 79"/>
                  <a:gd name="T13" fmla="*/ 210425567 h 1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9" h="157">
                    <a:moveTo>
                      <a:pt x="79" y="38"/>
                    </a:moveTo>
                    <a:cubicBezTo>
                      <a:pt x="78" y="17"/>
                      <a:pt x="61" y="0"/>
                      <a:pt x="39" y="0"/>
                    </a:cubicBezTo>
                    <a:cubicBezTo>
                      <a:pt x="18" y="0"/>
                      <a:pt x="0" y="17"/>
                      <a:pt x="0" y="38"/>
                    </a:cubicBezTo>
                    <a:cubicBezTo>
                      <a:pt x="0" y="38"/>
                      <a:pt x="0" y="38"/>
                      <a:pt x="0" y="38"/>
                    </a:cubicBezTo>
                    <a:cubicBezTo>
                      <a:pt x="0" y="157"/>
                      <a:pt x="0" y="157"/>
                      <a:pt x="0" y="157"/>
                    </a:cubicBezTo>
                    <a:cubicBezTo>
                      <a:pt x="79" y="157"/>
                      <a:pt x="79" y="157"/>
                      <a:pt x="79" y="157"/>
                    </a:cubicBezTo>
                    <a:cubicBezTo>
                      <a:pt x="79" y="38"/>
                      <a:pt x="79" y="38"/>
                      <a:pt x="79" y="38"/>
                    </a:cubicBezTo>
                    <a:close/>
                  </a:path>
                </a:pathLst>
              </a:custGeom>
              <a:solidFill>
                <a:srgbClr val="8F510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68" name="Freeform 81">
                <a:extLst>
                  <a:ext uri="{FF2B5EF4-FFF2-40B4-BE49-F238E27FC236}">
                    <a16:creationId xmlns:a16="http://schemas.microsoft.com/office/drawing/2014/main" id="{C5BAEF92-0AA4-1AF9-0F16-D8B129CDB793}"/>
                  </a:ext>
                </a:extLst>
              </p:cNvPr>
              <p:cNvSpPr>
                <a:spLocks/>
              </p:cNvSpPr>
              <p:nvPr/>
            </p:nvSpPr>
            <p:spPr bwMode="auto">
              <a:xfrm>
                <a:off x="3897" y="3287"/>
                <a:ext cx="187" cy="372"/>
              </a:xfrm>
              <a:custGeom>
                <a:avLst/>
                <a:gdLst>
                  <a:gd name="T0" fmla="*/ 430466155 w 79"/>
                  <a:gd name="T1" fmla="*/ 210425567 h 157"/>
                  <a:gd name="T2" fmla="*/ 218766613 w 79"/>
                  <a:gd name="T3" fmla="*/ 0 h 157"/>
                  <a:gd name="T4" fmla="*/ 0 w 79"/>
                  <a:gd name="T5" fmla="*/ 210425567 h 157"/>
                  <a:gd name="T6" fmla="*/ 0 w 79"/>
                  <a:gd name="T7" fmla="*/ 210425567 h 157"/>
                  <a:gd name="T8" fmla="*/ 0 w 79"/>
                  <a:gd name="T9" fmla="*/ 869329120 h 157"/>
                  <a:gd name="T10" fmla="*/ 430466155 w 79"/>
                  <a:gd name="T11" fmla="*/ 869329120 h 157"/>
                  <a:gd name="T12" fmla="*/ 430466155 w 79"/>
                  <a:gd name="T13" fmla="*/ 210425567 h 1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9" h="157">
                    <a:moveTo>
                      <a:pt x="79" y="38"/>
                    </a:moveTo>
                    <a:cubicBezTo>
                      <a:pt x="79" y="17"/>
                      <a:pt x="61" y="0"/>
                      <a:pt x="40" y="0"/>
                    </a:cubicBezTo>
                    <a:cubicBezTo>
                      <a:pt x="18" y="0"/>
                      <a:pt x="1" y="17"/>
                      <a:pt x="0" y="38"/>
                    </a:cubicBezTo>
                    <a:cubicBezTo>
                      <a:pt x="0" y="38"/>
                      <a:pt x="0" y="38"/>
                      <a:pt x="0" y="38"/>
                    </a:cubicBezTo>
                    <a:cubicBezTo>
                      <a:pt x="0" y="157"/>
                      <a:pt x="0" y="157"/>
                      <a:pt x="0" y="157"/>
                    </a:cubicBezTo>
                    <a:cubicBezTo>
                      <a:pt x="79" y="157"/>
                      <a:pt x="79" y="157"/>
                      <a:pt x="79" y="157"/>
                    </a:cubicBezTo>
                    <a:cubicBezTo>
                      <a:pt x="79" y="38"/>
                      <a:pt x="79" y="38"/>
                      <a:pt x="79" y="38"/>
                    </a:cubicBezTo>
                    <a:close/>
                  </a:path>
                </a:pathLst>
              </a:custGeom>
              <a:solidFill>
                <a:srgbClr val="8F510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69" name="Freeform 82">
                <a:extLst>
                  <a:ext uri="{FF2B5EF4-FFF2-40B4-BE49-F238E27FC236}">
                    <a16:creationId xmlns:a16="http://schemas.microsoft.com/office/drawing/2014/main" id="{DD2766D9-5329-1B57-15EE-DEF4AD477434}"/>
                  </a:ext>
                </a:extLst>
              </p:cNvPr>
              <p:cNvSpPr>
                <a:spLocks/>
              </p:cNvSpPr>
              <p:nvPr/>
            </p:nvSpPr>
            <p:spPr bwMode="auto">
              <a:xfrm>
                <a:off x="3620" y="3287"/>
                <a:ext cx="189" cy="372"/>
              </a:xfrm>
              <a:custGeom>
                <a:avLst/>
                <a:gdLst>
                  <a:gd name="T0" fmla="*/ 420980603 w 80"/>
                  <a:gd name="T1" fmla="*/ 210425567 h 157"/>
                  <a:gd name="T2" fmla="*/ 210895669 w 80"/>
                  <a:gd name="T3" fmla="*/ 0 h 157"/>
                  <a:gd name="T4" fmla="*/ 0 w 80"/>
                  <a:gd name="T5" fmla="*/ 210425567 h 157"/>
                  <a:gd name="T6" fmla="*/ 0 w 80"/>
                  <a:gd name="T7" fmla="*/ 210425567 h 157"/>
                  <a:gd name="T8" fmla="*/ 0 w 80"/>
                  <a:gd name="T9" fmla="*/ 869329120 h 157"/>
                  <a:gd name="T10" fmla="*/ 420980603 w 80"/>
                  <a:gd name="T11" fmla="*/ 869329120 h 157"/>
                  <a:gd name="T12" fmla="*/ 420980603 w 80"/>
                  <a:gd name="T13" fmla="*/ 210425567 h 1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0" h="157">
                    <a:moveTo>
                      <a:pt x="80" y="38"/>
                    </a:moveTo>
                    <a:cubicBezTo>
                      <a:pt x="79" y="17"/>
                      <a:pt x="62" y="0"/>
                      <a:pt x="40" y="0"/>
                    </a:cubicBezTo>
                    <a:cubicBezTo>
                      <a:pt x="19" y="0"/>
                      <a:pt x="1" y="17"/>
                      <a:pt x="0" y="38"/>
                    </a:cubicBezTo>
                    <a:cubicBezTo>
                      <a:pt x="0" y="38"/>
                      <a:pt x="0" y="38"/>
                      <a:pt x="0" y="38"/>
                    </a:cubicBezTo>
                    <a:cubicBezTo>
                      <a:pt x="0" y="157"/>
                      <a:pt x="0" y="157"/>
                      <a:pt x="0" y="157"/>
                    </a:cubicBezTo>
                    <a:cubicBezTo>
                      <a:pt x="80" y="157"/>
                      <a:pt x="80" y="157"/>
                      <a:pt x="80" y="157"/>
                    </a:cubicBezTo>
                    <a:cubicBezTo>
                      <a:pt x="80" y="38"/>
                      <a:pt x="80" y="38"/>
                      <a:pt x="80" y="38"/>
                    </a:cubicBezTo>
                    <a:close/>
                  </a:path>
                </a:pathLst>
              </a:custGeom>
              <a:solidFill>
                <a:srgbClr val="8F510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70" name="Freeform 83">
                <a:extLst>
                  <a:ext uri="{FF2B5EF4-FFF2-40B4-BE49-F238E27FC236}">
                    <a16:creationId xmlns:a16="http://schemas.microsoft.com/office/drawing/2014/main" id="{17A61383-8878-0E93-5E8E-3500AEECDEFA}"/>
                  </a:ext>
                </a:extLst>
              </p:cNvPr>
              <p:cNvSpPr>
                <a:spLocks/>
              </p:cNvSpPr>
              <p:nvPr/>
            </p:nvSpPr>
            <p:spPr bwMode="auto">
              <a:xfrm>
                <a:off x="3963" y="2525"/>
                <a:ext cx="317" cy="559"/>
              </a:xfrm>
              <a:custGeom>
                <a:avLst/>
                <a:gdLst>
                  <a:gd name="T0" fmla="*/ 721632199 w 134"/>
                  <a:gd name="T1" fmla="*/ 319147764 h 236"/>
                  <a:gd name="T2" fmla="*/ 355032132 w 134"/>
                  <a:gd name="T3" fmla="*/ 0 h 236"/>
                  <a:gd name="T4" fmla="*/ 0 w 134"/>
                  <a:gd name="T5" fmla="*/ 319147764 h 236"/>
                  <a:gd name="T6" fmla="*/ 0 w 134"/>
                  <a:gd name="T7" fmla="*/ 319147764 h 236"/>
                  <a:gd name="T8" fmla="*/ 0 w 134"/>
                  <a:gd name="T9" fmla="*/ 1299759760 h 236"/>
                  <a:gd name="T10" fmla="*/ 721632199 w 134"/>
                  <a:gd name="T11" fmla="*/ 1299759760 h 236"/>
                  <a:gd name="T12" fmla="*/ 721632199 w 134"/>
                  <a:gd name="T13" fmla="*/ 319147764 h 2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4" h="236">
                    <a:moveTo>
                      <a:pt x="134" y="58"/>
                    </a:moveTo>
                    <a:cubicBezTo>
                      <a:pt x="133" y="26"/>
                      <a:pt x="98" y="0"/>
                      <a:pt x="66" y="0"/>
                    </a:cubicBezTo>
                    <a:cubicBezTo>
                      <a:pt x="34" y="0"/>
                      <a:pt x="1" y="26"/>
                      <a:pt x="0" y="58"/>
                    </a:cubicBezTo>
                    <a:cubicBezTo>
                      <a:pt x="0" y="58"/>
                      <a:pt x="0" y="58"/>
                      <a:pt x="0" y="58"/>
                    </a:cubicBezTo>
                    <a:cubicBezTo>
                      <a:pt x="0" y="236"/>
                      <a:pt x="0" y="236"/>
                      <a:pt x="0" y="236"/>
                    </a:cubicBezTo>
                    <a:cubicBezTo>
                      <a:pt x="134" y="236"/>
                      <a:pt x="134" y="236"/>
                      <a:pt x="134" y="236"/>
                    </a:cubicBezTo>
                    <a:cubicBezTo>
                      <a:pt x="134" y="58"/>
                      <a:pt x="134" y="58"/>
                      <a:pt x="134" y="58"/>
                    </a:cubicBezTo>
                    <a:close/>
                  </a:path>
                </a:pathLst>
              </a:custGeom>
              <a:solidFill>
                <a:srgbClr val="8F510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71" name="Rectangle 84">
                <a:extLst>
                  <a:ext uri="{FF2B5EF4-FFF2-40B4-BE49-F238E27FC236}">
                    <a16:creationId xmlns:a16="http://schemas.microsoft.com/office/drawing/2014/main" id="{0C031020-CC86-D60B-C4F2-A24ED070C390}"/>
                  </a:ext>
                </a:extLst>
              </p:cNvPr>
              <p:cNvSpPr>
                <a:spLocks noChangeArrowheads="1"/>
              </p:cNvSpPr>
              <p:nvPr/>
            </p:nvSpPr>
            <p:spPr bwMode="auto">
              <a:xfrm>
                <a:off x="4613" y="2852"/>
                <a:ext cx="29" cy="227"/>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72" name="Rectangle 85">
                <a:extLst>
                  <a:ext uri="{FF2B5EF4-FFF2-40B4-BE49-F238E27FC236}">
                    <a16:creationId xmlns:a16="http://schemas.microsoft.com/office/drawing/2014/main" id="{9F1292B2-F9BE-E303-D7CE-E96B87AB4DCD}"/>
                  </a:ext>
                </a:extLst>
              </p:cNvPr>
              <p:cNvSpPr>
                <a:spLocks noChangeArrowheads="1"/>
              </p:cNvSpPr>
              <p:nvPr/>
            </p:nvSpPr>
            <p:spPr bwMode="auto">
              <a:xfrm>
                <a:off x="4549" y="2852"/>
                <a:ext cx="19" cy="227"/>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73" name="Rectangle 86">
                <a:extLst>
                  <a:ext uri="{FF2B5EF4-FFF2-40B4-BE49-F238E27FC236}">
                    <a16:creationId xmlns:a16="http://schemas.microsoft.com/office/drawing/2014/main" id="{2A081B94-50CF-A551-EB80-0909004806BE}"/>
                  </a:ext>
                </a:extLst>
              </p:cNvPr>
              <p:cNvSpPr>
                <a:spLocks noChangeArrowheads="1"/>
              </p:cNvSpPr>
              <p:nvPr/>
            </p:nvSpPr>
            <p:spPr bwMode="auto">
              <a:xfrm>
                <a:off x="4485" y="2852"/>
                <a:ext cx="19" cy="227"/>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74" name="Rectangle 87">
                <a:extLst>
                  <a:ext uri="{FF2B5EF4-FFF2-40B4-BE49-F238E27FC236}">
                    <a16:creationId xmlns:a16="http://schemas.microsoft.com/office/drawing/2014/main" id="{6A180BF4-A888-B5BF-0D7C-0F69BA6BE45D}"/>
                  </a:ext>
                </a:extLst>
              </p:cNvPr>
              <p:cNvSpPr>
                <a:spLocks noChangeArrowheads="1"/>
              </p:cNvSpPr>
              <p:nvPr/>
            </p:nvSpPr>
            <p:spPr bwMode="auto">
              <a:xfrm>
                <a:off x="4424" y="2852"/>
                <a:ext cx="19" cy="227"/>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75" name="Rectangle 88">
                <a:extLst>
                  <a:ext uri="{FF2B5EF4-FFF2-40B4-BE49-F238E27FC236}">
                    <a16:creationId xmlns:a16="http://schemas.microsoft.com/office/drawing/2014/main" id="{8A976A6B-06E9-07FE-2B54-EEF8DD0EA837}"/>
                  </a:ext>
                </a:extLst>
              </p:cNvPr>
              <p:cNvSpPr>
                <a:spLocks noChangeArrowheads="1"/>
              </p:cNvSpPr>
              <p:nvPr/>
            </p:nvSpPr>
            <p:spPr bwMode="auto">
              <a:xfrm>
                <a:off x="4363" y="2852"/>
                <a:ext cx="16" cy="227"/>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76" name="Rectangle 89">
                <a:extLst>
                  <a:ext uri="{FF2B5EF4-FFF2-40B4-BE49-F238E27FC236}">
                    <a16:creationId xmlns:a16="http://schemas.microsoft.com/office/drawing/2014/main" id="{CD96D428-2952-8046-978F-CE7D33185585}"/>
                  </a:ext>
                </a:extLst>
              </p:cNvPr>
              <p:cNvSpPr>
                <a:spLocks noChangeArrowheads="1"/>
              </p:cNvSpPr>
              <p:nvPr/>
            </p:nvSpPr>
            <p:spPr bwMode="auto">
              <a:xfrm>
                <a:off x="4299" y="2852"/>
                <a:ext cx="19" cy="227"/>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77" name="Rectangle 90">
                <a:extLst>
                  <a:ext uri="{FF2B5EF4-FFF2-40B4-BE49-F238E27FC236}">
                    <a16:creationId xmlns:a16="http://schemas.microsoft.com/office/drawing/2014/main" id="{9A8C49DC-65E8-4217-C65C-D24E13048DF3}"/>
                  </a:ext>
                </a:extLst>
              </p:cNvPr>
              <p:cNvSpPr>
                <a:spLocks noChangeArrowheads="1"/>
              </p:cNvSpPr>
              <p:nvPr/>
            </p:nvSpPr>
            <p:spPr bwMode="auto">
              <a:xfrm>
                <a:off x="4237" y="2852"/>
                <a:ext cx="17" cy="227"/>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78" name="Rectangle 91">
                <a:extLst>
                  <a:ext uri="{FF2B5EF4-FFF2-40B4-BE49-F238E27FC236}">
                    <a16:creationId xmlns:a16="http://schemas.microsoft.com/office/drawing/2014/main" id="{623C5484-F943-0C64-2DF5-25A118BBB59B}"/>
                  </a:ext>
                </a:extLst>
              </p:cNvPr>
              <p:cNvSpPr>
                <a:spLocks noChangeArrowheads="1"/>
              </p:cNvSpPr>
              <p:nvPr/>
            </p:nvSpPr>
            <p:spPr bwMode="auto">
              <a:xfrm>
                <a:off x="4173" y="2852"/>
                <a:ext cx="19" cy="227"/>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79" name="Rectangle 92">
                <a:extLst>
                  <a:ext uri="{FF2B5EF4-FFF2-40B4-BE49-F238E27FC236}">
                    <a16:creationId xmlns:a16="http://schemas.microsoft.com/office/drawing/2014/main" id="{A19F6FD9-1193-D271-EAC2-9955D089E3A1}"/>
                  </a:ext>
                </a:extLst>
              </p:cNvPr>
              <p:cNvSpPr>
                <a:spLocks noChangeArrowheads="1"/>
              </p:cNvSpPr>
              <p:nvPr/>
            </p:nvSpPr>
            <p:spPr bwMode="auto">
              <a:xfrm>
                <a:off x="4112" y="2852"/>
                <a:ext cx="16" cy="227"/>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80" name="Rectangle 93">
                <a:extLst>
                  <a:ext uri="{FF2B5EF4-FFF2-40B4-BE49-F238E27FC236}">
                    <a16:creationId xmlns:a16="http://schemas.microsoft.com/office/drawing/2014/main" id="{52BCCE65-8C51-4485-8359-7B861BFD7FF9}"/>
                  </a:ext>
                </a:extLst>
              </p:cNvPr>
              <p:cNvSpPr>
                <a:spLocks noChangeArrowheads="1"/>
              </p:cNvSpPr>
              <p:nvPr/>
            </p:nvSpPr>
            <p:spPr bwMode="auto">
              <a:xfrm>
                <a:off x="4048" y="2852"/>
                <a:ext cx="19" cy="227"/>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81" name="Rectangle 94">
                <a:extLst>
                  <a:ext uri="{FF2B5EF4-FFF2-40B4-BE49-F238E27FC236}">
                    <a16:creationId xmlns:a16="http://schemas.microsoft.com/office/drawing/2014/main" id="{589A227B-AB87-FDCD-4F28-D723840F7947}"/>
                  </a:ext>
                </a:extLst>
              </p:cNvPr>
              <p:cNvSpPr>
                <a:spLocks noChangeArrowheads="1"/>
              </p:cNvSpPr>
              <p:nvPr/>
            </p:nvSpPr>
            <p:spPr bwMode="auto">
              <a:xfrm>
                <a:off x="3987" y="2852"/>
                <a:ext cx="16" cy="227"/>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82" name="Rectangle 95">
                <a:extLst>
                  <a:ext uri="{FF2B5EF4-FFF2-40B4-BE49-F238E27FC236}">
                    <a16:creationId xmlns:a16="http://schemas.microsoft.com/office/drawing/2014/main" id="{ADE4763B-B4BE-7B27-287D-23E87D183206}"/>
                  </a:ext>
                </a:extLst>
              </p:cNvPr>
              <p:cNvSpPr>
                <a:spLocks noChangeArrowheads="1"/>
              </p:cNvSpPr>
              <p:nvPr/>
            </p:nvSpPr>
            <p:spPr bwMode="auto">
              <a:xfrm>
                <a:off x="3923" y="2852"/>
                <a:ext cx="19" cy="227"/>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83" name="Rectangle 96">
                <a:extLst>
                  <a:ext uri="{FF2B5EF4-FFF2-40B4-BE49-F238E27FC236}">
                    <a16:creationId xmlns:a16="http://schemas.microsoft.com/office/drawing/2014/main" id="{0AEA9A54-38A9-1E26-5EA1-8DFDD76626CA}"/>
                  </a:ext>
                </a:extLst>
              </p:cNvPr>
              <p:cNvSpPr>
                <a:spLocks noChangeArrowheads="1"/>
              </p:cNvSpPr>
              <p:nvPr/>
            </p:nvSpPr>
            <p:spPr bwMode="auto">
              <a:xfrm>
                <a:off x="3861" y="2852"/>
                <a:ext cx="17" cy="227"/>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84" name="Rectangle 97">
                <a:extLst>
                  <a:ext uri="{FF2B5EF4-FFF2-40B4-BE49-F238E27FC236}">
                    <a16:creationId xmlns:a16="http://schemas.microsoft.com/office/drawing/2014/main" id="{7066A1D3-3BA8-B2A1-4A6D-0878E8037B29}"/>
                  </a:ext>
                </a:extLst>
              </p:cNvPr>
              <p:cNvSpPr>
                <a:spLocks noChangeArrowheads="1"/>
              </p:cNvSpPr>
              <p:nvPr/>
            </p:nvSpPr>
            <p:spPr bwMode="auto">
              <a:xfrm>
                <a:off x="3797" y="2852"/>
                <a:ext cx="19" cy="227"/>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85" name="Rectangle 98">
                <a:extLst>
                  <a:ext uri="{FF2B5EF4-FFF2-40B4-BE49-F238E27FC236}">
                    <a16:creationId xmlns:a16="http://schemas.microsoft.com/office/drawing/2014/main" id="{075C297A-5D4E-AC4C-23CD-C7EB3CC6EE98}"/>
                  </a:ext>
                </a:extLst>
              </p:cNvPr>
              <p:cNvSpPr>
                <a:spLocks noChangeArrowheads="1"/>
              </p:cNvSpPr>
              <p:nvPr/>
            </p:nvSpPr>
            <p:spPr bwMode="auto">
              <a:xfrm>
                <a:off x="3736" y="2852"/>
                <a:ext cx="16" cy="227"/>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86" name="Rectangle 99">
                <a:extLst>
                  <a:ext uri="{FF2B5EF4-FFF2-40B4-BE49-F238E27FC236}">
                    <a16:creationId xmlns:a16="http://schemas.microsoft.com/office/drawing/2014/main" id="{5B025839-DC87-6727-A97B-B4BE42EBE804}"/>
                  </a:ext>
                </a:extLst>
              </p:cNvPr>
              <p:cNvSpPr>
                <a:spLocks noChangeArrowheads="1"/>
              </p:cNvSpPr>
              <p:nvPr/>
            </p:nvSpPr>
            <p:spPr bwMode="auto">
              <a:xfrm>
                <a:off x="3672" y="2852"/>
                <a:ext cx="19" cy="227"/>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87" name="Rectangle 100">
                <a:extLst>
                  <a:ext uri="{FF2B5EF4-FFF2-40B4-BE49-F238E27FC236}">
                    <a16:creationId xmlns:a16="http://schemas.microsoft.com/office/drawing/2014/main" id="{D8E680EC-D6E8-2509-1272-396C0385B6A1}"/>
                  </a:ext>
                </a:extLst>
              </p:cNvPr>
              <p:cNvSpPr>
                <a:spLocks noChangeArrowheads="1"/>
              </p:cNvSpPr>
              <p:nvPr/>
            </p:nvSpPr>
            <p:spPr bwMode="auto">
              <a:xfrm>
                <a:off x="3599" y="2852"/>
                <a:ext cx="28" cy="227"/>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88" name="Rectangle 101">
                <a:extLst>
                  <a:ext uri="{FF2B5EF4-FFF2-40B4-BE49-F238E27FC236}">
                    <a16:creationId xmlns:a16="http://schemas.microsoft.com/office/drawing/2014/main" id="{CCDA714C-28B4-953B-39EB-6040F4C4759A}"/>
                  </a:ext>
                </a:extLst>
              </p:cNvPr>
              <p:cNvSpPr>
                <a:spLocks noChangeArrowheads="1"/>
              </p:cNvSpPr>
              <p:nvPr/>
            </p:nvSpPr>
            <p:spPr bwMode="auto">
              <a:xfrm>
                <a:off x="3568" y="3067"/>
                <a:ext cx="1104" cy="36"/>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89" name="Rectangle 102">
                <a:extLst>
                  <a:ext uri="{FF2B5EF4-FFF2-40B4-BE49-F238E27FC236}">
                    <a16:creationId xmlns:a16="http://schemas.microsoft.com/office/drawing/2014/main" id="{F4DBD187-4F4A-F5FE-1D34-3735369F7412}"/>
                  </a:ext>
                </a:extLst>
              </p:cNvPr>
              <p:cNvSpPr>
                <a:spLocks noChangeArrowheads="1"/>
              </p:cNvSpPr>
              <p:nvPr/>
            </p:nvSpPr>
            <p:spPr bwMode="auto">
              <a:xfrm>
                <a:off x="3568" y="2847"/>
                <a:ext cx="1104" cy="19"/>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90" name="Freeform 103">
                <a:extLst>
                  <a:ext uri="{FF2B5EF4-FFF2-40B4-BE49-F238E27FC236}">
                    <a16:creationId xmlns:a16="http://schemas.microsoft.com/office/drawing/2014/main" id="{E9A858BC-A0F4-D564-F72D-32EBAD45B346}"/>
                  </a:ext>
                </a:extLst>
              </p:cNvPr>
              <p:cNvSpPr>
                <a:spLocks/>
              </p:cNvSpPr>
              <p:nvPr/>
            </p:nvSpPr>
            <p:spPr bwMode="auto">
              <a:xfrm>
                <a:off x="3105" y="1279"/>
                <a:ext cx="2012" cy="1306"/>
              </a:xfrm>
              <a:custGeom>
                <a:avLst/>
                <a:gdLst>
                  <a:gd name="T0" fmla="*/ 227 w 2012"/>
                  <a:gd name="T1" fmla="*/ 1306 h 1306"/>
                  <a:gd name="T2" fmla="*/ 0 w 2012"/>
                  <a:gd name="T3" fmla="*/ 1306 h 1306"/>
                  <a:gd name="T4" fmla="*/ 1007 w 2012"/>
                  <a:gd name="T5" fmla="*/ 0 h 1306"/>
                  <a:gd name="T6" fmla="*/ 2012 w 2012"/>
                  <a:gd name="T7" fmla="*/ 1306 h 1306"/>
                  <a:gd name="T8" fmla="*/ 1782 w 2012"/>
                  <a:gd name="T9" fmla="*/ 1306 h 1306"/>
                  <a:gd name="T10" fmla="*/ 1002 w 2012"/>
                  <a:gd name="T11" fmla="*/ 279 h 1306"/>
                  <a:gd name="T12" fmla="*/ 227 w 2012"/>
                  <a:gd name="T13" fmla="*/ 1306 h 130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12" h="1306">
                    <a:moveTo>
                      <a:pt x="227" y="1306"/>
                    </a:moveTo>
                    <a:lnTo>
                      <a:pt x="0" y="1306"/>
                    </a:lnTo>
                    <a:lnTo>
                      <a:pt x="1007" y="0"/>
                    </a:lnTo>
                    <a:lnTo>
                      <a:pt x="2012" y="1306"/>
                    </a:lnTo>
                    <a:lnTo>
                      <a:pt x="1782" y="1306"/>
                    </a:lnTo>
                    <a:lnTo>
                      <a:pt x="1002" y="279"/>
                    </a:lnTo>
                    <a:lnTo>
                      <a:pt x="227" y="1306"/>
                    </a:lnTo>
                    <a:close/>
                  </a:path>
                </a:pathLst>
              </a:custGeom>
              <a:solidFill>
                <a:srgbClr val="0F30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91" name="Rectangle 104">
                <a:extLst>
                  <a:ext uri="{FF2B5EF4-FFF2-40B4-BE49-F238E27FC236}">
                    <a16:creationId xmlns:a16="http://schemas.microsoft.com/office/drawing/2014/main" id="{CA9DFC28-FC1C-AE03-9FB5-C8725A44E7AF}"/>
                  </a:ext>
                </a:extLst>
              </p:cNvPr>
              <p:cNvSpPr>
                <a:spLocks noChangeArrowheads="1"/>
              </p:cNvSpPr>
              <p:nvPr/>
            </p:nvSpPr>
            <p:spPr bwMode="auto">
              <a:xfrm>
                <a:off x="3377" y="3086"/>
                <a:ext cx="1468" cy="123"/>
              </a:xfrm>
              <a:prstGeom prst="rect">
                <a:avLst/>
              </a:prstGeom>
              <a:solidFill>
                <a:srgbClr val="0F304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92" name="Rectangle 105">
                <a:extLst>
                  <a:ext uri="{FF2B5EF4-FFF2-40B4-BE49-F238E27FC236}">
                    <a16:creationId xmlns:a16="http://schemas.microsoft.com/office/drawing/2014/main" id="{811291AD-5ABB-943F-A6A1-9C1FB80A3EAF}"/>
                  </a:ext>
                </a:extLst>
              </p:cNvPr>
              <p:cNvSpPr>
                <a:spLocks noChangeArrowheads="1"/>
              </p:cNvSpPr>
              <p:nvPr/>
            </p:nvSpPr>
            <p:spPr bwMode="auto">
              <a:xfrm>
                <a:off x="3377" y="3786"/>
                <a:ext cx="1468" cy="126"/>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93" name="Freeform 106">
                <a:extLst>
                  <a:ext uri="{FF2B5EF4-FFF2-40B4-BE49-F238E27FC236}">
                    <a16:creationId xmlns:a16="http://schemas.microsoft.com/office/drawing/2014/main" id="{B215561B-31CF-D955-2C87-2056EC37A649}"/>
                  </a:ext>
                </a:extLst>
              </p:cNvPr>
              <p:cNvSpPr>
                <a:spLocks/>
              </p:cNvSpPr>
              <p:nvPr/>
            </p:nvSpPr>
            <p:spPr bwMode="auto">
              <a:xfrm>
                <a:off x="3377" y="3786"/>
                <a:ext cx="1468" cy="126"/>
              </a:xfrm>
              <a:custGeom>
                <a:avLst/>
                <a:gdLst>
                  <a:gd name="T0" fmla="*/ 0 w 1468"/>
                  <a:gd name="T1" fmla="*/ 126 h 126"/>
                  <a:gd name="T2" fmla="*/ 0 w 1468"/>
                  <a:gd name="T3" fmla="*/ 0 h 126"/>
                  <a:gd name="T4" fmla="*/ 1468 w 1468"/>
                  <a:gd name="T5" fmla="*/ 0 h 126"/>
                  <a:gd name="T6" fmla="*/ 1468 w 1468"/>
                  <a:gd name="T7" fmla="*/ 126 h 12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68" h="126">
                    <a:moveTo>
                      <a:pt x="0" y="126"/>
                    </a:moveTo>
                    <a:lnTo>
                      <a:pt x="0" y="0"/>
                    </a:lnTo>
                    <a:lnTo>
                      <a:pt x="1468" y="0"/>
                    </a:lnTo>
                    <a:lnTo>
                      <a:pt x="1468" y="1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94" name="Freeform 107">
                <a:extLst>
                  <a:ext uri="{FF2B5EF4-FFF2-40B4-BE49-F238E27FC236}">
                    <a16:creationId xmlns:a16="http://schemas.microsoft.com/office/drawing/2014/main" id="{75D05C17-4DE4-9C43-2855-C925C5D04A83}"/>
                  </a:ext>
                </a:extLst>
              </p:cNvPr>
              <p:cNvSpPr>
                <a:spLocks/>
              </p:cNvSpPr>
              <p:nvPr/>
            </p:nvSpPr>
            <p:spPr bwMode="auto">
              <a:xfrm>
                <a:off x="4398" y="3363"/>
                <a:ext cx="773" cy="539"/>
              </a:xfrm>
              <a:custGeom>
                <a:avLst/>
                <a:gdLst>
                  <a:gd name="T0" fmla="*/ 1737296114 w 327"/>
                  <a:gd name="T1" fmla="*/ 654514064 h 228"/>
                  <a:gd name="T2" fmla="*/ 1402596236 w 327"/>
                  <a:gd name="T3" fmla="*/ 313097507 h 228"/>
                  <a:gd name="T4" fmla="*/ 1397845525 w 327"/>
                  <a:gd name="T5" fmla="*/ 313097507 h 228"/>
                  <a:gd name="T6" fmla="*/ 1402596236 w 327"/>
                  <a:gd name="T7" fmla="*/ 281776002 h 228"/>
                  <a:gd name="T8" fmla="*/ 1121818801 w 327"/>
                  <a:gd name="T9" fmla="*/ 0 h 228"/>
                  <a:gd name="T10" fmla="*/ 881240663 w 327"/>
                  <a:gd name="T11" fmla="*/ 136927402 h 228"/>
                  <a:gd name="T12" fmla="*/ 701898432 w 327"/>
                  <a:gd name="T13" fmla="*/ 47533493 h 228"/>
                  <a:gd name="T14" fmla="*/ 487801130 w 327"/>
                  <a:gd name="T15" fmla="*/ 206574693 h 228"/>
                  <a:gd name="T16" fmla="*/ 339450615 w 327"/>
                  <a:gd name="T17" fmla="*/ 171503431 h 228"/>
                  <a:gd name="T18" fmla="*/ 0 w 327"/>
                  <a:gd name="T19" fmla="*/ 510828219 h 228"/>
                  <a:gd name="T20" fmla="*/ 143596832 w 327"/>
                  <a:gd name="T21" fmla="*/ 787059214 h 228"/>
                  <a:gd name="T22" fmla="*/ 0 w 327"/>
                  <a:gd name="T23" fmla="*/ 989815085 h 228"/>
                  <a:gd name="T24" fmla="*/ 222401402 w 327"/>
                  <a:gd name="T25" fmla="*/ 1212357882 h 228"/>
                  <a:gd name="T26" fmla="*/ 1503174081 w 327"/>
                  <a:gd name="T27" fmla="*/ 1212357882 h 228"/>
                  <a:gd name="T28" fmla="*/ 1721982849 w 327"/>
                  <a:gd name="T29" fmla="*/ 989815085 h 228"/>
                  <a:gd name="T30" fmla="*/ 1674475987 w 327"/>
                  <a:gd name="T31" fmla="*/ 857348804 h 228"/>
                  <a:gd name="T32" fmla="*/ 1737296114 w 327"/>
                  <a:gd name="T33" fmla="*/ 654514064 h 2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27" h="228">
                    <a:moveTo>
                      <a:pt x="327" y="123"/>
                    </a:moveTo>
                    <a:cubicBezTo>
                      <a:pt x="327" y="88"/>
                      <a:pt x="299" y="59"/>
                      <a:pt x="264" y="59"/>
                    </a:cubicBezTo>
                    <a:cubicBezTo>
                      <a:pt x="264" y="59"/>
                      <a:pt x="263" y="59"/>
                      <a:pt x="263" y="59"/>
                    </a:cubicBezTo>
                    <a:cubicBezTo>
                      <a:pt x="263" y="57"/>
                      <a:pt x="264" y="55"/>
                      <a:pt x="264" y="53"/>
                    </a:cubicBezTo>
                    <a:cubicBezTo>
                      <a:pt x="264" y="24"/>
                      <a:pt x="240" y="0"/>
                      <a:pt x="211" y="0"/>
                    </a:cubicBezTo>
                    <a:cubicBezTo>
                      <a:pt x="192" y="0"/>
                      <a:pt x="175" y="11"/>
                      <a:pt x="166" y="26"/>
                    </a:cubicBezTo>
                    <a:cubicBezTo>
                      <a:pt x="159" y="16"/>
                      <a:pt x="146" y="9"/>
                      <a:pt x="132" y="9"/>
                    </a:cubicBezTo>
                    <a:cubicBezTo>
                      <a:pt x="113" y="9"/>
                      <a:pt x="97" y="21"/>
                      <a:pt x="92" y="39"/>
                    </a:cubicBezTo>
                    <a:cubicBezTo>
                      <a:pt x="84" y="34"/>
                      <a:pt x="74" y="32"/>
                      <a:pt x="64" y="32"/>
                    </a:cubicBezTo>
                    <a:cubicBezTo>
                      <a:pt x="29" y="32"/>
                      <a:pt x="0" y="61"/>
                      <a:pt x="0" y="96"/>
                    </a:cubicBezTo>
                    <a:cubicBezTo>
                      <a:pt x="0" y="117"/>
                      <a:pt x="11" y="136"/>
                      <a:pt x="27" y="148"/>
                    </a:cubicBezTo>
                    <a:cubicBezTo>
                      <a:pt x="11" y="154"/>
                      <a:pt x="0" y="169"/>
                      <a:pt x="0" y="186"/>
                    </a:cubicBezTo>
                    <a:cubicBezTo>
                      <a:pt x="0" y="209"/>
                      <a:pt x="19" y="228"/>
                      <a:pt x="42" y="228"/>
                    </a:cubicBezTo>
                    <a:cubicBezTo>
                      <a:pt x="283" y="228"/>
                      <a:pt x="283" y="228"/>
                      <a:pt x="283" y="228"/>
                    </a:cubicBezTo>
                    <a:cubicBezTo>
                      <a:pt x="305" y="228"/>
                      <a:pt x="324" y="209"/>
                      <a:pt x="324" y="186"/>
                    </a:cubicBezTo>
                    <a:cubicBezTo>
                      <a:pt x="324" y="177"/>
                      <a:pt x="321" y="168"/>
                      <a:pt x="315" y="161"/>
                    </a:cubicBezTo>
                    <a:cubicBezTo>
                      <a:pt x="323" y="150"/>
                      <a:pt x="327" y="137"/>
                      <a:pt x="327" y="123"/>
                    </a:cubicBezTo>
                    <a:close/>
                  </a:path>
                </a:pathLst>
              </a:custGeom>
              <a:solidFill>
                <a:srgbClr val="AFCD3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95" name="Oval 108">
                <a:extLst>
                  <a:ext uri="{FF2B5EF4-FFF2-40B4-BE49-F238E27FC236}">
                    <a16:creationId xmlns:a16="http://schemas.microsoft.com/office/drawing/2014/main" id="{143F8D87-81D6-D358-70C5-44D9BFACB05C}"/>
                  </a:ext>
                </a:extLst>
              </p:cNvPr>
              <p:cNvSpPr>
                <a:spLocks noChangeArrowheads="1"/>
              </p:cNvSpPr>
              <p:nvPr/>
            </p:nvSpPr>
            <p:spPr bwMode="auto">
              <a:xfrm>
                <a:off x="4932" y="3663"/>
                <a:ext cx="43" cy="40"/>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96" name="Oval 109">
                <a:extLst>
                  <a:ext uri="{FF2B5EF4-FFF2-40B4-BE49-F238E27FC236}">
                    <a16:creationId xmlns:a16="http://schemas.microsoft.com/office/drawing/2014/main" id="{87ACA104-D29D-24EF-83BE-DA5AA579C850}"/>
                  </a:ext>
                </a:extLst>
              </p:cNvPr>
              <p:cNvSpPr>
                <a:spLocks noChangeArrowheads="1"/>
              </p:cNvSpPr>
              <p:nvPr/>
            </p:nvSpPr>
            <p:spPr bwMode="auto">
              <a:xfrm>
                <a:off x="4639" y="3517"/>
                <a:ext cx="43" cy="40"/>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97" name="Oval 110">
                <a:extLst>
                  <a:ext uri="{FF2B5EF4-FFF2-40B4-BE49-F238E27FC236}">
                    <a16:creationId xmlns:a16="http://schemas.microsoft.com/office/drawing/2014/main" id="{651701ED-5487-EE56-2E1D-3B3841567D9B}"/>
                  </a:ext>
                </a:extLst>
              </p:cNvPr>
              <p:cNvSpPr>
                <a:spLocks noChangeArrowheads="1"/>
              </p:cNvSpPr>
              <p:nvPr/>
            </p:nvSpPr>
            <p:spPr bwMode="auto">
              <a:xfrm>
                <a:off x="4483" y="3578"/>
                <a:ext cx="40" cy="43"/>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98" name="Oval 111">
                <a:extLst>
                  <a:ext uri="{FF2B5EF4-FFF2-40B4-BE49-F238E27FC236}">
                    <a16:creationId xmlns:a16="http://schemas.microsoft.com/office/drawing/2014/main" id="{B4CBDB50-D5E1-36D1-2461-723E3D2A49A9}"/>
                  </a:ext>
                </a:extLst>
              </p:cNvPr>
              <p:cNvSpPr>
                <a:spLocks noChangeArrowheads="1"/>
              </p:cNvSpPr>
              <p:nvPr/>
            </p:nvSpPr>
            <p:spPr bwMode="auto">
              <a:xfrm>
                <a:off x="4528" y="3741"/>
                <a:ext cx="43" cy="41"/>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799" name="Oval 112">
                <a:extLst>
                  <a:ext uri="{FF2B5EF4-FFF2-40B4-BE49-F238E27FC236}">
                    <a16:creationId xmlns:a16="http://schemas.microsoft.com/office/drawing/2014/main" id="{60FDEE7D-C1D3-B411-180A-FD2E3A446393}"/>
                  </a:ext>
                </a:extLst>
              </p:cNvPr>
              <p:cNvSpPr>
                <a:spLocks noChangeArrowheads="1"/>
              </p:cNvSpPr>
              <p:nvPr/>
            </p:nvSpPr>
            <p:spPr bwMode="auto">
              <a:xfrm>
                <a:off x="4670" y="3827"/>
                <a:ext cx="42" cy="42"/>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00" name="Oval 113">
                <a:extLst>
                  <a:ext uri="{FF2B5EF4-FFF2-40B4-BE49-F238E27FC236}">
                    <a16:creationId xmlns:a16="http://schemas.microsoft.com/office/drawing/2014/main" id="{EF30E7FE-4FD5-6B9F-CC03-25202E881BA0}"/>
                  </a:ext>
                </a:extLst>
              </p:cNvPr>
              <p:cNvSpPr>
                <a:spLocks noChangeArrowheads="1"/>
              </p:cNvSpPr>
              <p:nvPr/>
            </p:nvSpPr>
            <p:spPr bwMode="auto">
              <a:xfrm>
                <a:off x="4712" y="3677"/>
                <a:ext cx="41" cy="41"/>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01" name="Oval 114">
                <a:extLst>
                  <a:ext uri="{FF2B5EF4-FFF2-40B4-BE49-F238E27FC236}">
                    <a16:creationId xmlns:a16="http://schemas.microsoft.com/office/drawing/2014/main" id="{11D271D0-1FDF-F9BB-EB2F-CCA388305E42}"/>
                  </a:ext>
                </a:extLst>
              </p:cNvPr>
              <p:cNvSpPr>
                <a:spLocks noChangeArrowheads="1"/>
              </p:cNvSpPr>
              <p:nvPr/>
            </p:nvSpPr>
            <p:spPr bwMode="auto">
              <a:xfrm>
                <a:off x="4786" y="3528"/>
                <a:ext cx="40" cy="43"/>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02" name="Oval 115">
                <a:extLst>
                  <a:ext uri="{FF2B5EF4-FFF2-40B4-BE49-F238E27FC236}">
                    <a16:creationId xmlns:a16="http://schemas.microsoft.com/office/drawing/2014/main" id="{74D27610-7AB6-5035-C642-85AE1BDDEF7F}"/>
                  </a:ext>
                </a:extLst>
              </p:cNvPr>
              <p:cNvSpPr>
                <a:spLocks noChangeArrowheads="1"/>
              </p:cNvSpPr>
              <p:nvPr/>
            </p:nvSpPr>
            <p:spPr bwMode="auto">
              <a:xfrm>
                <a:off x="4885" y="3441"/>
                <a:ext cx="40" cy="42"/>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03" name="Oval 116">
                <a:extLst>
                  <a:ext uri="{FF2B5EF4-FFF2-40B4-BE49-F238E27FC236}">
                    <a16:creationId xmlns:a16="http://schemas.microsoft.com/office/drawing/2014/main" id="{A9E03967-1FBF-41E4-D39E-4BE9542E9FA6}"/>
                  </a:ext>
                </a:extLst>
              </p:cNvPr>
              <p:cNvSpPr>
                <a:spLocks noChangeArrowheads="1"/>
              </p:cNvSpPr>
              <p:nvPr/>
            </p:nvSpPr>
            <p:spPr bwMode="auto">
              <a:xfrm>
                <a:off x="5041" y="3571"/>
                <a:ext cx="40" cy="40"/>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04" name="Oval 117">
                <a:extLst>
                  <a:ext uri="{FF2B5EF4-FFF2-40B4-BE49-F238E27FC236}">
                    <a16:creationId xmlns:a16="http://schemas.microsoft.com/office/drawing/2014/main" id="{BDE74F38-F102-A03A-368F-A5D4C6DF44EB}"/>
                  </a:ext>
                </a:extLst>
              </p:cNvPr>
              <p:cNvSpPr>
                <a:spLocks noChangeArrowheads="1"/>
              </p:cNvSpPr>
              <p:nvPr/>
            </p:nvSpPr>
            <p:spPr bwMode="auto">
              <a:xfrm>
                <a:off x="5032" y="3810"/>
                <a:ext cx="40" cy="43"/>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05" name="Oval 118">
                <a:extLst>
                  <a:ext uri="{FF2B5EF4-FFF2-40B4-BE49-F238E27FC236}">
                    <a16:creationId xmlns:a16="http://schemas.microsoft.com/office/drawing/2014/main" id="{070307D3-8399-5C5B-6E2D-8599902E38DF}"/>
                  </a:ext>
                </a:extLst>
              </p:cNvPr>
              <p:cNvSpPr>
                <a:spLocks noChangeArrowheads="1"/>
              </p:cNvSpPr>
              <p:nvPr/>
            </p:nvSpPr>
            <p:spPr bwMode="auto">
              <a:xfrm>
                <a:off x="4847" y="3756"/>
                <a:ext cx="40" cy="40"/>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06" name="Freeform 119">
                <a:extLst>
                  <a:ext uri="{FF2B5EF4-FFF2-40B4-BE49-F238E27FC236}">
                    <a16:creationId xmlns:a16="http://schemas.microsoft.com/office/drawing/2014/main" id="{6FB07212-FB65-8FA7-8486-21A5F4686D7F}"/>
                  </a:ext>
                </a:extLst>
              </p:cNvPr>
              <p:cNvSpPr>
                <a:spLocks/>
              </p:cNvSpPr>
              <p:nvPr/>
            </p:nvSpPr>
            <p:spPr bwMode="auto">
              <a:xfrm>
                <a:off x="608" y="3519"/>
                <a:ext cx="551" cy="383"/>
              </a:xfrm>
              <a:custGeom>
                <a:avLst/>
                <a:gdLst>
                  <a:gd name="T0" fmla="*/ 1246322872 w 233"/>
                  <a:gd name="T1" fmla="*/ 463769856 h 162"/>
                  <a:gd name="T2" fmla="*/ 1006519499 w 233"/>
                  <a:gd name="T3" fmla="*/ 218002839 h 162"/>
                  <a:gd name="T4" fmla="*/ 999517254 w 233"/>
                  <a:gd name="T5" fmla="*/ 218002839 h 162"/>
                  <a:gd name="T6" fmla="*/ 1006519499 w 233"/>
                  <a:gd name="T7" fmla="*/ 196163751 h 162"/>
                  <a:gd name="T8" fmla="*/ 803421256 w 233"/>
                  <a:gd name="T9" fmla="*/ 0 h 162"/>
                  <a:gd name="T10" fmla="*/ 631390616 w 233"/>
                  <a:gd name="T11" fmla="*/ 97186018 h 162"/>
                  <a:gd name="T12" fmla="*/ 502378348 w 233"/>
                  <a:gd name="T13" fmla="*/ 26594239 h 162"/>
                  <a:gd name="T14" fmla="*/ 348305749 w 233"/>
                  <a:gd name="T15" fmla="*/ 143839946 h 162"/>
                  <a:gd name="T16" fmla="*/ 240360937 w 233"/>
                  <a:gd name="T17" fmla="*/ 117305249 h 162"/>
                  <a:gd name="T18" fmla="*/ 0 w 233"/>
                  <a:gd name="T19" fmla="*/ 363049109 h 162"/>
                  <a:gd name="T20" fmla="*/ 101640832 w 233"/>
                  <a:gd name="T21" fmla="*/ 557992435 h 162"/>
                  <a:gd name="T22" fmla="*/ 0 w 233"/>
                  <a:gd name="T23" fmla="*/ 703262061 h 162"/>
                  <a:gd name="T24" fmla="*/ 155663920 w 233"/>
                  <a:gd name="T25" fmla="*/ 862230658 h 162"/>
                  <a:gd name="T26" fmla="*/ 1074357600 w 233"/>
                  <a:gd name="T27" fmla="*/ 862230658 h 162"/>
                  <a:gd name="T28" fmla="*/ 1235045172 w 233"/>
                  <a:gd name="T29" fmla="*/ 703262061 h 162"/>
                  <a:gd name="T30" fmla="*/ 1198583842 w 233"/>
                  <a:gd name="T31" fmla="*/ 607584682 h 162"/>
                  <a:gd name="T32" fmla="*/ 1246322872 w 233"/>
                  <a:gd name="T33" fmla="*/ 463769856 h 1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33" h="162">
                    <a:moveTo>
                      <a:pt x="233" y="87"/>
                    </a:moveTo>
                    <a:cubicBezTo>
                      <a:pt x="233" y="62"/>
                      <a:pt x="213" y="41"/>
                      <a:pt x="188" y="41"/>
                    </a:cubicBezTo>
                    <a:cubicBezTo>
                      <a:pt x="188" y="41"/>
                      <a:pt x="187" y="41"/>
                      <a:pt x="187" y="41"/>
                    </a:cubicBezTo>
                    <a:cubicBezTo>
                      <a:pt x="188" y="40"/>
                      <a:pt x="188" y="38"/>
                      <a:pt x="188" y="37"/>
                    </a:cubicBezTo>
                    <a:cubicBezTo>
                      <a:pt x="188" y="16"/>
                      <a:pt x="171" y="0"/>
                      <a:pt x="150" y="0"/>
                    </a:cubicBezTo>
                    <a:cubicBezTo>
                      <a:pt x="137" y="0"/>
                      <a:pt x="125" y="7"/>
                      <a:pt x="118" y="18"/>
                    </a:cubicBezTo>
                    <a:cubicBezTo>
                      <a:pt x="113" y="11"/>
                      <a:pt x="104" y="5"/>
                      <a:pt x="94" y="5"/>
                    </a:cubicBezTo>
                    <a:cubicBezTo>
                      <a:pt x="80" y="5"/>
                      <a:pt x="69" y="15"/>
                      <a:pt x="65" y="27"/>
                    </a:cubicBezTo>
                    <a:cubicBezTo>
                      <a:pt x="59" y="24"/>
                      <a:pt x="53" y="22"/>
                      <a:pt x="45" y="22"/>
                    </a:cubicBezTo>
                    <a:cubicBezTo>
                      <a:pt x="20" y="22"/>
                      <a:pt x="0" y="43"/>
                      <a:pt x="0" y="68"/>
                    </a:cubicBezTo>
                    <a:cubicBezTo>
                      <a:pt x="0" y="83"/>
                      <a:pt x="7" y="97"/>
                      <a:pt x="19" y="105"/>
                    </a:cubicBezTo>
                    <a:cubicBezTo>
                      <a:pt x="8" y="109"/>
                      <a:pt x="0" y="120"/>
                      <a:pt x="0" y="132"/>
                    </a:cubicBezTo>
                    <a:cubicBezTo>
                      <a:pt x="0" y="149"/>
                      <a:pt x="13" y="162"/>
                      <a:pt x="29" y="162"/>
                    </a:cubicBezTo>
                    <a:cubicBezTo>
                      <a:pt x="201" y="162"/>
                      <a:pt x="201" y="162"/>
                      <a:pt x="201" y="162"/>
                    </a:cubicBezTo>
                    <a:cubicBezTo>
                      <a:pt x="217" y="162"/>
                      <a:pt x="231" y="149"/>
                      <a:pt x="231" y="132"/>
                    </a:cubicBezTo>
                    <a:cubicBezTo>
                      <a:pt x="231" y="125"/>
                      <a:pt x="228" y="119"/>
                      <a:pt x="224" y="114"/>
                    </a:cubicBezTo>
                    <a:cubicBezTo>
                      <a:pt x="230" y="106"/>
                      <a:pt x="233" y="97"/>
                      <a:pt x="233" y="87"/>
                    </a:cubicBezTo>
                    <a:close/>
                  </a:path>
                </a:pathLst>
              </a:custGeom>
              <a:solidFill>
                <a:srgbClr val="AFCD3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07" name="Oval 120">
                <a:extLst>
                  <a:ext uri="{FF2B5EF4-FFF2-40B4-BE49-F238E27FC236}">
                    <a16:creationId xmlns:a16="http://schemas.microsoft.com/office/drawing/2014/main" id="{2C11A820-62A8-3768-80D6-CFA9492B4650}"/>
                  </a:ext>
                </a:extLst>
              </p:cNvPr>
              <p:cNvSpPr>
                <a:spLocks noChangeArrowheads="1"/>
              </p:cNvSpPr>
              <p:nvPr/>
            </p:nvSpPr>
            <p:spPr bwMode="auto">
              <a:xfrm>
                <a:off x="988" y="3732"/>
                <a:ext cx="31" cy="28"/>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08" name="Oval 121">
                <a:extLst>
                  <a:ext uri="{FF2B5EF4-FFF2-40B4-BE49-F238E27FC236}">
                    <a16:creationId xmlns:a16="http://schemas.microsoft.com/office/drawing/2014/main" id="{090B71AA-E68D-CFD5-693E-CAABA5419AEB}"/>
                  </a:ext>
                </a:extLst>
              </p:cNvPr>
              <p:cNvSpPr>
                <a:spLocks noChangeArrowheads="1"/>
              </p:cNvSpPr>
              <p:nvPr/>
            </p:nvSpPr>
            <p:spPr bwMode="auto">
              <a:xfrm>
                <a:off x="778" y="3625"/>
                <a:ext cx="31" cy="31"/>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09" name="Oval 122">
                <a:extLst>
                  <a:ext uri="{FF2B5EF4-FFF2-40B4-BE49-F238E27FC236}">
                    <a16:creationId xmlns:a16="http://schemas.microsoft.com/office/drawing/2014/main" id="{C47713C7-8AC6-7363-0FDE-8E75DD74F279}"/>
                  </a:ext>
                </a:extLst>
              </p:cNvPr>
              <p:cNvSpPr>
                <a:spLocks noChangeArrowheads="1"/>
              </p:cNvSpPr>
              <p:nvPr/>
            </p:nvSpPr>
            <p:spPr bwMode="auto">
              <a:xfrm>
                <a:off x="667" y="3670"/>
                <a:ext cx="31" cy="31"/>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10" name="Oval 123">
                <a:extLst>
                  <a:ext uri="{FF2B5EF4-FFF2-40B4-BE49-F238E27FC236}">
                    <a16:creationId xmlns:a16="http://schemas.microsoft.com/office/drawing/2014/main" id="{3989EB49-8DC5-A831-37B5-A06B48A684EA}"/>
                  </a:ext>
                </a:extLst>
              </p:cNvPr>
              <p:cNvSpPr>
                <a:spLocks noChangeArrowheads="1"/>
              </p:cNvSpPr>
              <p:nvPr/>
            </p:nvSpPr>
            <p:spPr bwMode="auto">
              <a:xfrm>
                <a:off x="700" y="3786"/>
                <a:ext cx="28" cy="31"/>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11" name="Oval 124">
                <a:extLst>
                  <a:ext uri="{FF2B5EF4-FFF2-40B4-BE49-F238E27FC236}">
                    <a16:creationId xmlns:a16="http://schemas.microsoft.com/office/drawing/2014/main" id="{9A0BECA3-6F22-1082-E0D9-5DA97EAF6FD0}"/>
                  </a:ext>
                </a:extLst>
              </p:cNvPr>
              <p:cNvSpPr>
                <a:spLocks noChangeArrowheads="1"/>
              </p:cNvSpPr>
              <p:nvPr/>
            </p:nvSpPr>
            <p:spPr bwMode="auto">
              <a:xfrm>
                <a:off x="802" y="3848"/>
                <a:ext cx="28" cy="31"/>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12" name="Oval 125">
                <a:extLst>
                  <a:ext uri="{FF2B5EF4-FFF2-40B4-BE49-F238E27FC236}">
                    <a16:creationId xmlns:a16="http://schemas.microsoft.com/office/drawing/2014/main" id="{F4B59D63-90C0-9501-0AD2-4808953A89CD}"/>
                  </a:ext>
                </a:extLst>
              </p:cNvPr>
              <p:cNvSpPr>
                <a:spLocks noChangeArrowheads="1"/>
              </p:cNvSpPr>
              <p:nvPr/>
            </p:nvSpPr>
            <p:spPr bwMode="auto">
              <a:xfrm>
                <a:off x="830" y="3741"/>
                <a:ext cx="31" cy="31"/>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13" name="Oval 126">
                <a:extLst>
                  <a:ext uri="{FF2B5EF4-FFF2-40B4-BE49-F238E27FC236}">
                    <a16:creationId xmlns:a16="http://schemas.microsoft.com/office/drawing/2014/main" id="{1E0DDBAB-3D81-0670-E1C7-6A9C69F9454D}"/>
                  </a:ext>
                </a:extLst>
              </p:cNvPr>
              <p:cNvSpPr>
                <a:spLocks noChangeArrowheads="1"/>
              </p:cNvSpPr>
              <p:nvPr/>
            </p:nvSpPr>
            <p:spPr bwMode="auto">
              <a:xfrm>
                <a:off x="882" y="3635"/>
                <a:ext cx="31" cy="31"/>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14" name="Oval 127">
                <a:extLst>
                  <a:ext uri="{FF2B5EF4-FFF2-40B4-BE49-F238E27FC236}">
                    <a16:creationId xmlns:a16="http://schemas.microsoft.com/office/drawing/2014/main" id="{7C76B4B4-2276-06AB-A16F-F7C1CD8EC732}"/>
                  </a:ext>
                </a:extLst>
              </p:cNvPr>
              <p:cNvSpPr>
                <a:spLocks noChangeArrowheads="1"/>
              </p:cNvSpPr>
              <p:nvPr/>
            </p:nvSpPr>
            <p:spPr bwMode="auto">
              <a:xfrm>
                <a:off x="953" y="3573"/>
                <a:ext cx="31" cy="31"/>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15" name="Oval 128">
                <a:extLst>
                  <a:ext uri="{FF2B5EF4-FFF2-40B4-BE49-F238E27FC236}">
                    <a16:creationId xmlns:a16="http://schemas.microsoft.com/office/drawing/2014/main" id="{0570C206-52AE-A335-6C33-77749B56E33A}"/>
                  </a:ext>
                </a:extLst>
              </p:cNvPr>
              <p:cNvSpPr>
                <a:spLocks noChangeArrowheads="1"/>
              </p:cNvSpPr>
              <p:nvPr/>
            </p:nvSpPr>
            <p:spPr bwMode="auto">
              <a:xfrm>
                <a:off x="1066" y="3666"/>
                <a:ext cx="29" cy="30"/>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16" name="Oval 129">
                <a:extLst>
                  <a:ext uri="{FF2B5EF4-FFF2-40B4-BE49-F238E27FC236}">
                    <a16:creationId xmlns:a16="http://schemas.microsoft.com/office/drawing/2014/main" id="{589E89A3-01EB-8E9B-4454-7085282B92BA}"/>
                  </a:ext>
                </a:extLst>
              </p:cNvPr>
              <p:cNvSpPr>
                <a:spLocks noChangeArrowheads="1"/>
              </p:cNvSpPr>
              <p:nvPr/>
            </p:nvSpPr>
            <p:spPr bwMode="auto">
              <a:xfrm>
                <a:off x="1059" y="3836"/>
                <a:ext cx="29" cy="31"/>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17" name="Oval 130">
                <a:extLst>
                  <a:ext uri="{FF2B5EF4-FFF2-40B4-BE49-F238E27FC236}">
                    <a16:creationId xmlns:a16="http://schemas.microsoft.com/office/drawing/2014/main" id="{6B9520BC-733F-7DA8-01B0-16E9446BFB04}"/>
                  </a:ext>
                </a:extLst>
              </p:cNvPr>
              <p:cNvSpPr>
                <a:spLocks noChangeArrowheads="1"/>
              </p:cNvSpPr>
              <p:nvPr/>
            </p:nvSpPr>
            <p:spPr bwMode="auto">
              <a:xfrm>
                <a:off x="927" y="3798"/>
                <a:ext cx="28" cy="29"/>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18" name="Freeform 131">
                <a:extLst>
                  <a:ext uri="{FF2B5EF4-FFF2-40B4-BE49-F238E27FC236}">
                    <a16:creationId xmlns:a16="http://schemas.microsoft.com/office/drawing/2014/main" id="{94F17D13-8642-40CE-6F65-F2EA050EB339}"/>
                  </a:ext>
                </a:extLst>
              </p:cNvPr>
              <p:cNvSpPr>
                <a:spLocks/>
              </p:cNvSpPr>
              <p:nvPr/>
            </p:nvSpPr>
            <p:spPr bwMode="auto">
              <a:xfrm>
                <a:off x="2291" y="3547"/>
                <a:ext cx="530" cy="369"/>
              </a:xfrm>
              <a:custGeom>
                <a:avLst/>
                <a:gdLst>
                  <a:gd name="T0" fmla="*/ 1209842357 w 224"/>
                  <a:gd name="T1" fmla="*/ 452281242 h 156"/>
                  <a:gd name="T2" fmla="*/ 977353324 w 224"/>
                  <a:gd name="T3" fmla="*/ 215941818 h 156"/>
                  <a:gd name="T4" fmla="*/ 972547291 w 224"/>
                  <a:gd name="T5" fmla="*/ 215941818 h 156"/>
                  <a:gd name="T6" fmla="*/ 977353324 w 224"/>
                  <a:gd name="T7" fmla="*/ 192958717 h 156"/>
                  <a:gd name="T8" fmla="*/ 783319242 w 224"/>
                  <a:gd name="T9" fmla="*/ 0 h 156"/>
                  <a:gd name="T10" fmla="*/ 616431484 w 224"/>
                  <a:gd name="T11" fmla="*/ 97826844 h 156"/>
                  <a:gd name="T12" fmla="*/ 486489655 w 224"/>
                  <a:gd name="T13" fmla="*/ 26784653 h 156"/>
                  <a:gd name="T14" fmla="*/ 340505546 w 224"/>
                  <a:gd name="T15" fmla="*/ 141275983 h 156"/>
                  <a:gd name="T16" fmla="*/ 237318720 w 224"/>
                  <a:gd name="T17" fmla="*/ 113262267 h 156"/>
                  <a:gd name="T18" fmla="*/ 0 w 224"/>
                  <a:gd name="T19" fmla="*/ 349600473 h 156"/>
                  <a:gd name="T20" fmla="*/ 98259471 w 224"/>
                  <a:gd name="T21" fmla="*/ 542406121 h 156"/>
                  <a:gd name="T22" fmla="*/ 0 w 224"/>
                  <a:gd name="T23" fmla="*/ 681590778 h 156"/>
                  <a:gd name="T24" fmla="*/ 150472250 w 224"/>
                  <a:gd name="T25" fmla="*/ 838480748 h 156"/>
                  <a:gd name="T26" fmla="*/ 1047998616 w 224"/>
                  <a:gd name="T27" fmla="*/ 838480748 h 156"/>
                  <a:gd name="T28" fmla="*/ 1198482815 w 224"/>
                  <a:gd name="T29" fmla="*/ 681590778 h 156"/>
                  <a:gd name="T30" fmla="*/ 1166582229 w 224"/>
                  <a:gd name="T31" fmla="*/ 590819778 h 156"/>
                  <a:gd name="T32" fmla="*/ 1209842357 w 224"/>
                  <a:gd name="T33" fmla="*/ 452281242 h 15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24" h="156">
                    <a:moveTo>
                      <a:pt x="224" y="84"/>
                    </a:moveTo>
                    <a:cubicBezTo>
                      <a:pt x="224" y="60"/>
                      <a:pt x="205" y="40"/>
                      <a:pt x="181" y="40"/>
                    </a:cubicBezTo>
                    <a:cubicBezTo>
                      <a:pt x="180" y="40"/>
                      <a:pt x="180" y="40"/>
                      <a:pt x="180" y="40"/>
                    </a:cubicBezTo>
                    <a:cubicBezTo>
                      <a:pt x="180" y="39"/>
                      <a:pt x="181" y="37"/>
                      <a:pt x="181" y="36"/>
                    </a:cubicBezTo>
                    <a:cubicBezTo>
                      <a:pt x="181" y="16"/>
                      <a:pt x="165" y="0"/>
                      <a:pt x="145" y="0"/>
                    </a:cubicBezTo>
                    <a:cubicBezTo>
                      <a:pt x="131" y="0"/>
                      <a:pt x="120" y="7"/>
                      <a:pt x="114" y="18"/>
                    </a:cubicBezTo>
                    <a:cubicBezTo>
                      <a:pt x="109" y="10"/>
                      <a:pt x="100" y="5"/>
                      <a:pt x="90" y="5"/>
                    </a:cubicBezTo>
                    <a:cubicBezTo>
                      <a:pt x="77" y="5"/>
                      <a:pt x="66" y="14"/>
                      <a:pt x="63" y="26"/>
                    </a:cubicBezTo>
                    <a:cubicBezTo>
                      <a:pt x="57" y="23"/>
                      <a:pt x="51" y="21"/>
                      <a:pt x="44" y="21"/>
                    </a:cubicBezTo>
                    <a:cubicBezTo>
                      <a:pt x="20" y="21"/>
                      <a:pt x="0" y="41"/>
                      <a:pt x="0" y="65"/>
                    </a:cubicBezTo>
                    <a:cubicBezTo>
                      <a:pt x="0" y="80"/>
                      <a:pt x="7" y="93"/>
                      <a:pt x="18" y="101"/>
                    </a:cubicBezTo>
                    <a:cubicBezTo>
                      <a:pt x="8" y="105"/>
                      <a:pt x="0" y="115"/>
                      <a:pt x="0" y="127"/>
                    </a:cubicBezTo>
                    <a:cubicBezTo>
                      <a:pt x="0" y="143"/>
                      <a:pt x="13" y="156"/>
                      <a:pt x="28" y="156"/>
                    </a:cubicBezTo>
                    <a:cubicBezTo>
                      <a:pt x="194" y="156"/>
                      <a:pt x="194" y="156"/>
                      <a:pt x="194" y="156"/>
                    </a:cubicBezTo>
                    <a:cubicBezTo>
                      <a:pt x="209" y="156"/>
                      <a:pt x="222" y="143"/>
                      <a:pt x="222" y="127"/>
                    </a:cubicBezTo>
                    <a:cubicBezTo>
                      <a:pt x="222" y="121"/>
                      <a:pt x="220" y="115"/>
                      <a:pt x="216" y="110"/>
                    </a:cubicBezTo>
                    <a:cubicBezTo>
                      <a:pt x="221" y="102"/>
                      <a:pt x="224" y="93"/>
                      <a:pt x="224" y="84"/>
                    </a:cubicBezTo>
                    <a:close/>
                  </a:path>
                </a:pathLst>
              </a:custGeom>
              <a:solidFill>
                <a:srgbClr val="AFCD3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19" name="Oval 132">
                <a:extLst>
                  <a:ext uri="{FF2B5EF4-FFF2-40B4-BE49-F238E27FC236}">
                    <a16:creationId xmlns:a16="http://schemas.microsoft.com/office/drawing/2014/main" id="{DEFE2793-8095-6DB1-061E-596C443170A6}"/>
                  </a:ext>
                </a:extLst>
              </p:cNvPr>
              <p:cNvSpPr>
                <a:spLocks noChangeArrowheads="1"/>
              </p:cNvSpPr>
              <p:nvPr/>
            </p:nvSpPr>
            <p:spPr bwMode="auto">
              <a:xfrm>
                <a:off x="2658" y="3751"/>
                <a:ext cx="28" cy="28"/>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20" name="Oval 133">
                <a:extLst>
                  <a:ext uri="{FF2B5EF4-FFF2-40B4-BE49-F238E27FC236}">
                    <a16:creationId xmlns:a16="http://schemas.microsoft.com/office/drawing/2014/main" id="{FABC4AEE-3C45-2233-FC45-3C23562BCF49}"/>
                  </a:ext>
                </a:extLst>
              </p:cNvPr>
              <p:cNvSpPr>
                <a:spLocks noChangeArrowheads="1"/>
              </p:cNvSpPr>
              <p:nvPr/>
            </p:nvSpPr>
            <p:spPr bwMode="auto">
              <a:xfrm>
                <a:off x="2457" y="3651"/>
                <a:ext cx="28" cy="29"/>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21" name="Oval 134">
                <a:extLst>
                  <a:ext uri="{FF2B5EF4-FFF2-40B4-BE49-F238E27FC236}">
                    <a16:creationId xmlns:a16="http://schemas.microsoft.com/office/drawing/2014/main" id="{7A3D4DFF-E9C1-0FA4-AED1-82D0730072BC}"/>
                  </a:ext>
                </a:extLst>
              </p:cNvPr>
              <p:cNvSpPr>
                <a:spLocks noChangeArrowheads="1"/>
              </p:cNvSpPr>
              <p:nvPr/>
            </p:nvSpPr>
            <p:spPr bwMode="auto">
              <a:xfrm>
                <a:off x="2348" y="3694"/>
                <a:ext cx="28" cy="28"/>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22" name="Oval 135">
                <a:extLst>
                  <a:ext uri="{FF2B5EF4-FFF2-40B4-BE49-F238E27FC236}">
                    <a16:creationId xmlns:a16="http://schemas.microsoft.com/office/drawing/2014/main" id="{57C76D36-E717-0243-EDDE-704C1F93EFE3}"/>
                  </a:ext>
                </a:extLst>
              </p:cNvPr>
              <p:cNvSpPr>
                <a:spLocks noChangeArrowheads="1"/>
              </p:cNvSpPr>
              <p:nvPr/>
            </p:nvSpPr>
            <p:spPr bwMode="auto">
              <a:xfrm>
                <a:off x="2381" y="3805"/>
                <a:ext cx="28" cy="29"/>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23" name="Oval 136">
                <a:extLst>
                  <a:ext uri="{FF2B5EF4-FFF2-40B4-BE49-F238E27FC236}">
                    <a16:creationId xmlns:a16="http://schemas.microsoft.com/office/drawing/2014/main" id="{CEDF33AD-9FA9-6B7E-9026-FABFA9BF1D92}"/>
                  </a:ext>
                </a:extLst>
              </p:cNvPr>
              <p:cNvSpPr>
                <a:spLocks noChangeArrowheads="1"/>
              </p:cNvSpPr>
              <p:nvPr/>
            </p:nvSpPr>
            <p:spPr bwMode="auto">
              <a:xfrm>
                <a:off x="2478" y="3864"/>
                <a:ext cx="28" cy="29"/>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24" name="Oval 137">
                <a:extLst>
                  <a:ext uri="{FF2B5EF4-FFF2-40B4-BE49-F238E27FC236}">
                    <a16:creationId xmlns:a16="http://schemas.microsoft.com/office/drawing/2014/main" id="{BDCD45AE-415B-0071-BD92-39E3B6500F39}"/>
                  </a:ext>
                </a:extLst>
              </p:cNvPr>
              <p:cNvSpPr>
                <a:spLocks noChangeArrowheads="1"/>
              </p:cNvSpPr>
              <p:nvPr/>
            </p:nvSpPr>
            <p:spPr bwMode="auto">
              <a:xfrm>
                <a:off x="2506" y="3763"/>
                <a:ext cx="29" cy="28"/>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25" name="Oval 138">
                <a:extLst>
                  <a:ext uri="{FF2B5EF4-FFF2-40B4-BE49-F238E27FC236}">
                    <a16:creationId xmlns:a16="http://schemas.microsoft.com/office/drawing/2014/main" id="{C833772E-0F67-ED29-306E-C983C16EB923}"/>
                  </a:ext>
                </a:extLst>
              </p:cNvPr>
              <p:cNvSpPr>
                <a:spLocks noChangeArrowheads="1"/>
              </p:cNvSpPr>
              <p:nvPr/>
            </p:nvSpPr>
            <p:spPr bwMode="auto">
              <a:xfrm>
                <a:off x="2556" y="3661"/>
                <a:ext cx="28" cy="28"/>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26" name="Oval 139">
                <a:extLst>
                  <a:ext uri="{FF2B5EF4-FFF2-40B4-BE49-F238E27FC236}">
                    <a16:creationId xmlns:a16="http://schemas.microsoft.com/office/drawing/2014/main" id="{8ED002DF-D737-3D11-8DCA-40B56BA70539}"/>
                  </a:ext>
                </a:extLst>
              </p:cNvPr>
              <p:cNvSpPr>
                <a:spLocks noChangeArrowheads="1"/>
              </p:cNvSpPr>
              <p:nvPr/>
            </p:nvSpPr>
            <p:spPr bwMode="auto">
              <a:xfrm>
                <a:off x="2625" y="3599"/>
                <a:ext cx="28" cy="29"/>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27" name="Oval 140">
                <a:extLst>
                  <a:ext uri="{FF2B5EF4-FFF2-40B4-BE49-F238E27FC236}">
                    <a16:creationId xmlns:a16="http://schemas.microsoft.com/office/drawing/2014/main" id="{A0BC05EF-872C-2E81-9D5B-A239577CB884}"/>
                  </a:ext>
                </a:extLst>
              </p:cNvPr>
              <p:cNvSpPr>
                <a:spLocks noChangeArrowheads="1"/>
              </p:cNvSpPr>
              <p:nvPr/>
            </p:nvSpPr>
            <p:spPr bwMode="auto">
              <a:xfrm>
                <a:off x="2731" y="3689"/>
                <a:ext cx="28" cy="29"/>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28" name="Oval 141">
                <a:extLst>
                  <a:ext uri="{FF2B5EF4-FFF2-40B4-BE49-F238E27FC236}">
                    <a16:creationId xmlns:a16="http://schemas.microsoft.com/office/drawing/2014/main" id="{B8454071-5192-41C8-4E0A-B44F326F10CB}"/>
                  </a:ext>
                </a:extLst>
              </p:cNvPr>
              <p:cNvSpPr>
                <a:spLocks noChangeArrowheads="1"/>
              </p:cNvSpPr>
              <p:nvPr/>
            </p:nvSpPr>
            <p:spPr bwMode="auto">
              <a:xfrm>
                <a:off x="2726" y="3853"/>
                <a:ext cx="29" cy="28"/>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29" name="Oval 142">
                <a:extLst>
                  <a:ext uri="{FF2B5EF4-FFF2-40B4-BE49-F238E27FC236}">
                    <a16:creationId xmlns:a16="http://schemas.microsoft.com/office/drawing/2014/main" id="{E1732A73-3996-F8A8-7A1A-27667D7C6CFF}"/>
                  </a:ext>
                </a:extLst>
              </p:cNvPr>
              <p:cNvSpPr>
                <a:spLocks noChangeArrowheads="1"/>
              </p:cNvSpPr>
              <p:nvPr/>
            </p:nvSpPr>
            <p:spPr bwMode="auto">
              <a:xfrm>
                <a:off x="2599" y="3815"/>
                <a:ext cx="28" cy="28"/>
              </a:xfrm>
              <a:prstGeom prst="ellipse">
                <a:avLst/>
              </a:prstGeom>
              <a:solidFill>
                <a:srgbClr val="E7442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30" name="Rectangle 143">
                <a:extLst>
                  <a:ext uri="{FF2B5EF4-FFF2-40B4-BE49-F238E27FC236}">
                    <a16:creationId xmlns:a16="http://schemas.microsoft.com/office/drawing/2014/main" id="{04D93FDF-C18B-D31E-5A94-4C93B5FD89F5}"/>
                  </a:ext>
                </a:extLst>
              </p:cNvPr>
              <p:cNvSpPr>
                <a:spLocks noChangeArrowheads="1"/>
              </p:cNvSpPr>
              <p:nvPr/>
            </p:nvSpPr>
            <p:spPr bwMode="auto">
              <a:xfrm>
                <a:off x="1684" y="1440"/>
                <a:ext cx="217" cy="409"/>
              </a:xfrm>
              <a:prstGeom prst="rect">
                <a:avLst/>
              </a:prstGeom>
              <a:solidFill>
                <a:srgbClr val="08192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31" name="Rectangle 144">
                <a:extLst>
                  <a:ext uri="{FF2B5EF4-FFF2-40B4-BE49-F238E27FC236}">
                    <a16:creationId xmlns:a16="http://schemas.microsoft.com/office/drawing/2014/main" id="{B77DF79D-89CD-D4DF-6540-BE27C575E962}"/>
                  </a:ext>
                </a:extLst>
              </p:cNvPr>
              <p:cNvSpPr>
                <a:spLocks noChangeArrowheads="1"/>
              </p:cNvSpPr>
              <p:nvPr/>
            </p:nvSpPr>
            <p:spPr bwMode="auto">
              <a:xfrm>
                <a:off x="1282" y="2320"/>
                <a:ext cx="1234" cy="1582"/>
              </a:xfrm>
              <a:prstGeom prst="rect">
                <a:avLst/>
              </a:prstGeom>
              <a:solidFill>
                <a:srgbClr val="FDBE3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32" name="Rectangle 145">
                <a:extLst>
                  <a:ext uri="{FF2B5EF4-FFF2-40B4-BE49-F238E27FC236}">
                    <a16:creationId xmlns:a16="http://schemas.microsoft.com/office/drawing/2014/main" id="{B4DCEC4B-FB19-FDEB-3324-0385D85AC4EF}"/>
                  </a:ext>
                </a:extLst>
              </p:cNvPr>
              <p:cNvSpPr>
                <a:spLocks noChangeArrowheads="1"/>
              </p:cNvSpPr>
              <p:nvPr/>
            </p:nvSpPr>
            <p:spPr bwMode="auto">
              <a:xfrm>
                <a:off x="1282" y="3708"/>
                <a:ext cx="1234" cy="194"/>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33" name="Rectangle 146">
                <a:extLst>
                  <a:ext uri="{FF2B5EF4-FFF2-40B4-BE49-F238E27FC236}">
                    <a16:creationId xmlns:a16="http://schemas.microsoft.com/office/drawing/2014/main" id="{89AF839D-2BE3-3F32-3CDF-1D8E0AFFEDC7}"/>
                  </a:ext>
                </a:extLst>
              </p:cNvPr>
              <p:cNvSpPr>
                <a:spLocks noChangeArrowheads="1"/>
              </p:cNvSpPr>
              <p:nvPr/>
            </p:nvSpPr>
            <p:spPr bwMode="auto">
              <a:xfrm>
                <a:off x="1416" y="2559"/>
                <a:ext cx="237" cy="314"/>
              </a:xfrm>
              <a:prstGeom prst="rect">
                <a:avLst/>
              </a:prstGeom>
              <a:solidFill>
                <a:srgbClr val="906E1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34" name="Rectangle 147">
                <a:extLst>
                  <a:ext uri="{FF2B5EF4-FFF2-40B4-BE49-F238E27FC236}">
                    <a16:creationId xmlns:a16="http://schemas.microsoft.com/office/drawing/2014/main" id="{11458F7A-9235-FC63-28B3-C3F59B6407E5}"/>
                  </a:ext>
                </a:extLst>
              </p:cNvPr>
              <p:cNvSpPr>
                <a:spLocks noChangeArrowheads="1"/>
              </p:cNvSpPr>
              <p:nvPr/>
            </p:nvSpPr>
            <p:spPr bwMode="auto">
              <a:xfrm>
                <a:off x="1781" y="2559"/>
                <a:ext cx="236" cy="314"/>
              </a:xfrm>
              <a:prstGeom prst="rect">
                <a:avLst/>
              </a:prstGeom>
              <a:solidFill>
                <a:srgbClr val="906E1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35" name="Rectangle 148">
                <a:extLst>
                  <a:ext uri="{FF2B5EF4-FFF2-40B4-BE49-F238E27FC236}">
                    <a16:creationId xmlns:a16="http://schemas.microsoft.com/office/drawing/2014/main" id="{8591E686-EC6B-DFFC-56BB-99646A6BC931}"/>
                  </a:ext>
                </a:extLst>
              </p:cNvPr>
              <p:cNvSpPr>
                <a:spLocks noChangeArrowheads="1"/>
              </p:cNvSpPr>
              <p:nvPr/>
            </p:nvSpPr>
            <p:spPr bwMode="auto">
              <a:xfrm>
                <a:off x="2147" y="2559"/>
                <a:ext cx="236" cy="314"/>
              </a:xfrm>
              <a:prstGeom prst="rect">
                <a:avLst/>
              </a:prstGeom>
              <a:solidFill>
                <a:srgbClr val="906E1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36" name="Rectangle 149">
                <a:extLst>
                  <a:ext uri="{FF2B5EF4-FFF2-40B4-BE49-F238E27FC236}">
                    <a16:creationId xmlns:a16="http://schemas.microsoft.com/office/drawing/2014/main" id="{24CDF7A3-2C87-3BB9-AFD3-AD283B571A6D}"/>
                  </a:ext>
                </a:extLst>
              </p:cNvPr>
              <p:cNvSpPr>
                <a:spLocks noChangeArrowheads="1"/>
              </p:cNvSpPr>
              <p:nvPr/>
            </p:nvSpPr>
            <p:spPr bwMode="auto">
              <a:xfrm>
                <a:off x="1407" y="3252"/>
                <a:ext cx="236" cy="312"/>
              </a:xfrm>
              <a:prstGeom prst="rect">
                <a:avLst/>
              </a:prstGeom>
              <a:solidFill>
                <a:srgbClr val="906E1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37" name="Rectangle 150">
                <a:extLst>
                  <a:ext uri="{FF2B5EF4-FFF2-40B4-BE49-F238E27FC236}">
                    <a16:creationId xmlns:a16="http://schemas.microsoft.com/office/drawing/2014/main" id="{9BC5EB82-E048-1177-15AA-C6EF0A13BF4C}"/>
                  </a:ext>
                </a:extLst>
              </p:cNvPr>
              <p:cNvSpPr>
                <a:spLocks noChangeArrowheads="1"/>
              </p:cNvSpPr>
              <p:nvPr/>
            </p:nvSpPr>
            <p:spPr bwMode="auto">
              <a:xfrm>
                <a:off x="1771" y="3252"/>
                <a:ext cx="236" cy="312"/>
              </a:xfrm>
              <a:prstGeom prst="rect">
                <a:avLst/>
              </a:prstGeom>
              <a:solidFill>
                <a:srgbClr val="906E1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38" name="Rectangle 151">
                <a:extLst>
                  <a:ext uri="{FF2B5EF4-FFF2-40B4-BE49-F238E27FC236}">
                    <a16:creationId xmlns:a16="http://schemas.microsoft.com/office/drawing/2014/main" id="{6022277B-2613-96BC-C246-4995CCFB18EF}"/>
                  </a:ext>
                </a:extLst>
              </p:cNvPr>
              <p:cNvSpPr>
                <a:spLocks noChangeArrowheads="1"/>
              </p:cNvSpPr>
              <p:nvPr/>
            </p:nvSpPr>
            <p:spPr bwMode="auto">
              <a:xfrm>
                <a:off x="2135" y="3252"/>
                <a:ext cx="237" cy="312"/>
              </a:xfrm>
              <a:prstGeom prst="rect">
                <a:avLst/>
              </a:prstGeom>
              <a:solidFill>
                <a:srgbClr val="906E1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39" name="Rectangle 152">
                <a:extLst>
                  <a:ext uri="{FF2B5EF4-FFF2-40B4-BE49-F238E27FC236}">
                    <a16:creationId xmlns:a16="http://schemas.microsoft.com/office/drawing/2014/main" id="{0B81C83C-5923-2C86-D4FD-BC175BE6FFA5}"/>
                  </a:ext>
                </a:extLst>
              </p:cNvPr>
              <p:cNvSpPr>
                <a:spLocks noChangeArrowheads="1"/>
              </p:cNvSpPr>
              <p:nvPr/>
            </p:nvSpPr>
            <p:spPr bwMode="auto">
              <a:xfrm>
                <a:off x="1282" y="1690"/>
                <a:ext cx="1234" cy="667"/>
              </a:xfrm>
              <a:prstGeom prst="rect">
                <a:avLst/>
              </a:prstGeom>
              <a:solidFill>
                <a:srgbClr val="04263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840" name="Freeform 153">
                <a:extLst>
                  <a:ext uri="{FF2B5EF4-FFF2-40B4-BE49-F238E27FC236}">
                    <a16:creationId xmlns:a16="http://schemas.microsoft.com/office/drawing/2014/main" id="{47B4C4AA-F31C-190A-67E1-FB8F30F1C0D0}"/>
                  </a:ext>
                </a:extLst>
              </p:cNvPr>
              <p:cNvSpPr>
                <a:spLocks/>
              </p:cNvSpPr>
              <p:nvPr/>
            </p:nvSpPr>
            <p:spPr bwMode="auto">
              <a:xfrm>
                <a:off x="1360" y="1681"/>
                <a:ext cx="108" cy="87"/>
              </a:xfrm>
              <a:custGeom>
                <a:avLst/>
                <a:gdLst>
                  <a:gd name="T0" fmla="*/ 191745841 w 46"/>
                  <a:gd name="T1" fmla="*/ 86576472 h 37"/>
                  <a:gd name="T2" fmla="*/ 108208081 w 46"/>
                  <a:gd name="T3" fmla="*/ 178921943 h 37"/>
                  <a:gd name="T4" fmla="*/ 23980754 w 46"/>
                  <a:gd name="T5" fmla="*/ 86576472 h 37"/>
                  <a:gd name="T6" fmla="*/ 108208081 w 46"/>
                  <a:gd name="T7" fmla="*/ 0 h 37"/>
                  <a:gd name="T8" fmla="*/ 191745841 w 46"/>
                  <a:gd name="T9" fmla="*/ 86576472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8"/>
                    </a:moveTo>
                    <a:cubicBezTo>
                      <a:pt x="41" y="29"/>
                      <a:pt x="33" y="37"/>
                      <a:pt x="23" y="37"/>
                    </a:cubicBezTo>
                    <a:cubicBezTo>
                      <a:pt x="13" y="37"/>
                      <a:pt x="5" y="29"/>
                      <a:pt x="5" y="18"/>
                    </a:cubicBezTo>
                    <a:cubicBezTo>
                      <a:pt x="5" y="8"/>
                      <a:pt x="0" y="0"/>
                      <a:pt x="23" y="0"/>
                    </a:cubicBezTo>
                    <a:cubicBezTo>
                      <a:pt x="46" y="0"/>
                      <a:pt x="41" y="8"/>
                      <a:pt x="41" y="18"/>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41" name="Freeform 154">
                <a:extLst>
                  <a:ext uri="{FF2B5EF4-FFF2-40B4-BE49-F238E27FC236}">
                    <a16:creationId xmlns:a16="http://schemas.microsoft.com/office/drawing/2014/main" id="{324C85C2-97F3-991C-7A27-0BE70964D81C}"/>
                  </a:ext>
                </a:extLst>
              </p:cNvPr>
              <p:cNvSpPr>
                <a:spLocks/>
              </p:cNvSpPr>
              <p:nvPr/>
            </p:nvSpPr>
            <p:spPr bwMode="auto">
              <a:xfrm>
                <a:off x="1360" y="1804"/>
                <a:ext cx="108" cy="90"/>
              </a:xfrm>
              <a:custGeom>
                <a:avLst/>
                <a:gdLst>
                  <a:gd name="T0" fmla="*/ 191745841 w 46"/>
                  <a:gd name="T1" fmla="*/ 104705974 h 38"/>
                  <a:gd name="T2" fmla="*/ 108208081 w 46"/>
                  <a:gd name="T3" fmla="*/ 208672918 h 38"/>
                  <a:gd name="T4" fmla="*/ 23980754 w 46"/>
                  <a:gd name="T5" fmla="*/ 104705974 h 38"/>
                  <a:gd name="T6" fmla="*/ 108208081 w 46"/>
                  <a:gd name="T7" fmla="*/ 0 h 38"/>
                  <a:gd name="T8" fmla="*/ 191745841 w 46"/>
                  <a:gd name="T9" fmla="*/ 104705974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8">
                    <a:moveTo>
                      <a:pt x="41" y="19"/>
                    </a:moveTo>
                    <a:cubicBezTo>
                      <a:pt x="41" y="29"/>
                      <a:pt x="33" y="38"/>
                      <a:pt x="23" y="38"/>
                    </a:cubicBezTo>
                    <a:cubicBezTo>
                      <a:pt x="13" y="38"/>
                      <a:pt x="5" y="29"/>
                      <a:pt x="5" y="19"/>
                    </a:cubicBezTo>
                    <a:cubicBezTo>
                      <a:pt x="5" y="9"/>
                      <a:pt x="0" y="0"/>
                      <a:pt x="23" y="0"/>
                    </a:cubicBezTo>
                    <a:cubicBezTo>
                      <a:pt x="46" y="0"/>
                      <a:pt x="41" y="9"/>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42" name="Freeform 155">
                <a:extLst>
                  <a:ext uri="{FF2B5EF4-FFF2-40B4-BE49-F238E27FC236}">
                    <a16:creationId xmlns:a16="http://schemas.microsoft.com/office/drawing/2014/main" id="{A6B0A81E-8B80-7663-745A-3F02604FC342}"/>
                  </a:ext>
                </a:extLst>
              </p:cNvPr>
              <p:cNvSpPr>
                <a:spLocks/>
              </p:cNvSpPr>
              <p:nvPr/>
            </p:nvSpPr>
            <p:spPr bwMode="auto">
              <a:xfrm>
                <a:off x="1360" y="1941"/>
                <a:ext cx="108" cy="88"/>
              </a:xfrm>
              <a:custGeom>
                <a:avLst/>
                <a:gdLst>
                  <a:gd name="T0" fmla="*/ 191745841 w 46"/>
                  <a:gd name="T1" fmla="*/ 111978171 h 37"/>
                  <a:gd name="T2" fmla="*/ 108208081 w 46"/>
                  <a:gd name="T3" fmla="*/ 219050121 h 37"/>
                  <a:gd name="T4" fmla="*/ 23980754 w 46"/>
                  <a:gd name="T5" fmla="*/ 111978171 h 37"/>
                  <a:gd name="T6" fmla="*/ 108208081 w 46"/>
                  <a:gd name="T7" fmla="*/ 0 h 37"/>
                  <a:gd name="T8" fmla="*/ 191745841 w 46"/>
                  <a:gd name="T9" fmla="*/ 111978171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9"/>
                    </a:moveTo>
                    <a:cubicBezTo>
                      <a:pt x="41" y="29"/>
                      <a:pt x="33" y="37"/>
                      <a:pt x="23" y="37"/>
                    </a:cubicBezTo>
                    <a:cubicBezTo>
                      <a:pt x="13" y="37"/>
                      <a:pt x="5" y="29"/>
                      <a:pt x="5" y="19"/>
                    </a:cubicBezTo>
                    <a:cubicBezTo>
                      <a:pt x="5" y="8"/>
                      <a:pt x="0" y="0"/>
                      <a:pt x="23" y="0"/>
                    </a:cubicBezTo>
                    <a:cubicBezTo>
                      <a:pt x="46" y="0"/>
                      <a:pt x="41" y="8"/>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43" name="Freeform 156">
                <a:extLst>
                  <a:ext uri="{FF2B5EF4-FFF2-40B4-BE49-F238E27FC236}">
                    <a16:creationId xmlns:a16="http://schemas.microsoft.com/office/drawing/2014/main" id="{4E57B181-B287-C852-D64E-61FE833B39B3}"/>
                  </a:ext>
                </a:extLst>
              </p:cNvPr>
              <p:cNvSpPr>
                <a:spLocks/>
              </p:cNvSpPr>
              <p:nvPr/>
            </p:nvSpPr>
            <p:spPr bwMode="auto">
              <a:xfrm>
                <a:off x="1360" y="2064"/>
                <a:ext cx="108" cy="90"/>
              </a:xfrm>
              <a:custGeom>
                <a:avLst/>
                <a:gdLst>
                  <a:gd name="T0" fmla="*/ 191745841 w 46"/>
                  <a:gd name="T1" fmla="*/ 104705974 h 38"/>
                  <a:gd name="T2" fmla="*/ 108208081 w 46"/>
                  <a:gd name="T3" fmla="*/ 208672918 h 38"/>
                  <a:gd name="T4" fmla="*/ 23980754 w 46"/>
                  <a:gd name="T5" fmla="*/ 104705974 h 38"/>
                  <a:gd name="T6" fmla="*/ 108208081 w 46"/>
                  <a:gd name="T7" fmla="*/ 0 h 38"/>
                  <a:gd name="T8" fmla="*/ 191745841 w 46"/>
                  <a:gd name="T9" fmla="*/ 104705974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8">
                    <a:moveTo>
                      <a:pt x="41" y="19"/>
                    </a:moveTo>
                    <a:cubicBezTo>
                      <a:pt x="41" y="29"/>
                      <a:pt x="33" y="38"/>
                      <a:pt x="23" y="38"/>
                    </a:cubicBezTo>
                    <a:cubicBezTo>
                      <a:pt x="13" y="38"/>
                      <a:pt x="5" y="29"/>
                      <a:pt x="5" y="19"/>
                    </a:cubicBezTo>
                    <a:cubicBezTo>
                      <a:pt x="5" y="9"/>
                      <a:pt x="0" y="0"/>
                      <a:pt x="23" y="0"/>
                    </a:cubicBezTo>
                    <a:cubicBezTo>
                      <a:pt x="46" y="0"/>
                      <a:pt x="41" y="9"/>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44" name="Freeform 157">
                <a:extLst>
                  <a:ext uri="{FF2B5EF4-FFF2-40B4-BE49-F238E27FC236}">
                    <a16:creationId xmlns:a16="http://schemas.microsoft.com/office/drawing/2014/main" id="{A1D29F11-6387-770C-32FB-A1DA3C98BADD}"/>
                  </a:ext>
                </a:extLst>
              </p:cNvPr>
              <p:cNvSpPr>
                <a:spLocks/>
              </p:cNvSpPr>
              <p:nvPr/>
            </p:nvSpPr>
            <p:spPr bwMode="auto">
              <a:xfrm>
                <a:off x="1360" y="2201"/>
                <a:ext cx="108" cy="88"/>
              </a:xfrm>
              <a:custGeom>
                <a:avLst/>
                <a:gdLst>
                  <a:gd name="T0" fmla="*/ 191745841 w 46"/>
                  <a:gd name="T1" fmla="*/ 111978171 h 37"/>
                  <a:gd name="T2" fmla="*/ 108208081 w 46"/>
                  <a:gd name="T3" fmla="*/ 219050121 h 37"/>
                  <a:gd name="T4" fmla="*/ 23980754 w 46"/>
                  <a:gd name="T5" fmla="*/ 111978171 h 37"/>
                  <a:gd name="T6" fmla="*/ 108208081 w 46"/>
                  <a:gd name="T7" fmla="*/ 0 h 37"/>
                  <a:gd name="T8" fmla="*/ 191745841 w 46"/>
                  <a:gd name="T9" fmla="*/ 111978171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9"/>
                    </a:moveTo>
                    <a:cubicBezTo>
                      <a:pt x="41" y="29"/>
                      <a:pt x="33" y="37"/>
                      <a:pt x="23" y="37"/>
                    </a:cubicBezTo>
                    <a:cubicBezTo>
                      <a:pt x="13" y="37"/>
                      <a:pt x="5" y="29"/>
                      <a:pt x="5" y="19"/>
                    </a:cubicBezTo>
                    <a:cubicBezTo>
                      <a:pt x="5" y="8"/>
                      <a:pt x="0" y="0"/>
                      <a:pt x="23" y="0"/>
                    </a:cubicBezTo>
                    <a:cubicBezTo>
                      <a:pt x="46" y="0"/>
                      <a:pt x="41" y="8"/>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45" name="Freeform 158">
                <a:extLst>
                  <a:ext uri="{FF2B5EF4-FFF2-40B4-BE49-F238E27FC236}">
                    <a16:creationId xmlns:a16="http://schemas.microsoft.com/office/drawing/2014/main" id="{AEC451CA-238B-F298-51B3-5B6E2D68ADC8}"/>
                  </a:ext>
                </a:extLst>
              </p:cNvPr>
              <p:cNvSpPr>
                <a:spLocks/>
              </p:cNvSpPr>
              <p:nvPr/>
            </p:nvSpPr>
            <p:spPr bwMode="auto">
              <a:xfrm>
                <a:off x="1360" y="2327"/>
                <a:ext cx="108" cy="87"/>
              </a:xfrm>
              <a:custGeom>
                <a:avLst/>
                <a:gdLst>
                  <a:gd name="T0" fmla="*/ 191745841 w 46"/>
                  <a:gd name="T1" fmla="*/ 86576472 h 37"/>
                  <a:gd name="T2" fmla="*/ 108208081 w 46"/>
                  <a:gd name="T3" fmla="*/ 178921943 h 37"/>
                  <a:gd name="T4" fmla="*/ 23980754 w 46"/>
                  <a:gd name="T5" fmla="*/ 86576472 h 37"/>
                  <a:gd name="T6" fmla="*/ 108208081 w 46"/>
                  <a:gd name="T7" fmla="*/ 0 h 37"/>
                  <a:gd name="T8" fmla="*/ 191745841 w 46"/>
                  <a:gd name="T9" fmla="*/ 86576472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8"/>
                    </a:moveTo>
                    <a:cubicBezTo>
                      <a:pt x="41" y="29"/>
                      <a:pt x="33" y="37"/>
                      <a:pt x="23" y="37"/>
                    </a:cubicBezTo>
                    <a:cubicBezTo>
                      <a:pt x="13" y="37"/>
                      <a:pt x="5" y="29"/>
                      <a:pt x="5" y="18"/>
                    </a:cubicBezTo>
                    <a:cubicBezTo>
                      <a:pt x="5" y="8"/>
                      <a:pt x="0" y="0"/>
                      <a:pt x="23" y="0"/>
                    </a:cubicBezTo>
                    <a:cubicBezTo>
                      <a:pt x="46" y="0"/>
                      <a:pt x="41" y="8"/>
                      <a:pt x="41" y="18"/>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46" name="Freeform 159">
                <a:extLst>
                  <a:ext uri="{FF2B5EF4-FFF2-40B4-BE49-F238E27FC236}">
                    <a16:creationId xmlns:a16="http://schemas.microsoft.com/office/drawing/2014/main" id="{C11FC916-487F-EF15-3909-578CFB4D1626}"/>
                  </a:ext>
                </a:extLst>
              </p:cNvPr>
              <p:cNvSpPr>
                <a:spLocks/>
              </p:cNvSpPr>
              <p:nvPr/>
            </p:nvSpPr>
            <p:spPr bwMode="auto">
              <a:xfrm>
                <a:off x="1447" y="1742"/>
                <a:ext cx="109" cy="88"/>
              </a:xfrm>
              <a:custGeom>
                <a:avLst/>
                <a:gdLst>
                  <a:gd name="T0" fmla="*/ 227144557 w 46"/>
                  <a:gd name="T1" fmla="*/ 111978171 h 37"/>
                  <a:gd name="T2" fmla="*/ 128444626 w 46"/>
                  <a:gd name="T3" fmla="*/ 219050121 h 37"/>
                  <a:gd name="T4" fmla="*/ 27479905 w 46"/>
                  <a:gd name="T5" fmla="*/ 111978171 h 37"/>
                  <a:gd name="T6" fmla="*/ 128444626 w 46"/>
                  <a:gd name="T7" fmla="*/ 0 h 37"/>
                  <a:gd name="T8" fmla="*/ 227144557 w 46"/>
                  <a:gd name="T9" fmla="*/ 111978171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9"/>
                    </a:moveTo>
                    <a:cubicBezTo>
                      <a:pt x="41" y="29"/>
                      <a:pt x="33" y="37"/>
                      <a:pt x="23" y="37"/>
                    </a:cubicBezTo>
                    <a:cubicBezTo>
                      <a:pt x="13" y="37"/>
                      <a:pt x="5" y="29"/>
                      <a:pt x="5" y="19"/>
                    </a:cubicBezTo>
                    <a:cubicBezTo>
                      <a:pt x="5" y="8"/>
                      <a:pt x="0" y="0"/>
                      <a:pt x="23" y="0"/>
                    </a:cubicBezTo>
                    <a:cubicBezTo>
                      <a:pt x="46" y="0"/>
                      <a:pt x="41" y="8"/>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47" name="Freeform 160">
                <a:extLst>
                  <a:ext uri="{FF2B5EF4-FFF2-40B4-BE49-F238E27FC236}">
                    <a16:creationId xmlns:a16="http://schemas.microsoft.com/office/drawing/2014/main" id="{7C65619F-4F20-4E61-B1C4-D0FA4955021C}"/>
                  </a:ext>
                </a:extLst>
              </p:cNvPr>
              <p:cNvSpPr>
                <a:spLocks/>
              </p:cNvSpPr>
              <p:nvPr/>
            </p:nvSpPr>
            <p:spPr bwMode="auto">
              <a:xfrm>
                <a:off x="1447" y="1868"/>
                <a:ext cx="109" cy="87"/>
              </a:xfrm>
              <a:custGeom>
                <a:avLst/>
                <a:gdLst>
                  <a:gd name="T0" fmla="*/ 227144557 w 46"/>
                  <a:gd name="T1" fmla="*/ 86576472 h 37"/>
                  <a:gd name="T2" fmla="*/ 128444626 w 46"/>
                  <a:gd name="T3" fmla="*/ 178921943 h 37"/>
                  <a:gd name="T4" fmla="*/ 27479905 w 46"/>
                  <a:gd name="T5" fmla="*/ 86576472 h 37"/>
                  <a:gd name="T6" fmla="*/ 128444626 w 46"/>
                  <a:gd name="T7" fmla="*/ 0 h 37"/>
                  <a:gd name="T8" fmla="*/ 227144557 w 46"/>
                  <a:gd name="T9" fmla="*/ 86576472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8"/>
                    </a:moveTo>
                    <a:cubicBezTo>
                      <a:pt x="41" y="29"/>
                      <a:pt x="33" y="37"/>
                      <a:pt x="23" y="37"/>
                    </a:cubicBezTo>
                    <a:cubicBezTo>
                      <a:pt x="13" y="37"/>
                      <a:pt x="5" y="29"/>
                      <a:pt x="5" y="18"/>
                    </a:cubicBezTo>
                    <a:cubicBezTo>
                      <a:pt x="5" y="8"/>
                      <a:pt x="0" y="0"/>
                      <a:pt x="23" y="0"/>
                    </a:cubicBezTo>
                    <a:cubicBezTo>
                      <a:pt x="46" y="0"/>
                      <a:pt x="41" y="8"/>
                      <a:pt x="41" y="18"/>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48" name="Freeform 161">
                <a:extLst>
                  <a:ext uri="{FF2B5EF4-FFF2-40B4-BE49-F238E27FC236}">
                    <a16:creationId xmlns:a16="http://schemas.microsoft.com/office/drawing/2014/main" id="{D44A8D26-521A-D77C-3CD8-109FB56314EA}"/>
                  </a:ext>
                </a:extLst>
              </p:cNvPr>
              <p:cNvSpPr>
                <a:spLocks/>
              </p:cNvSpPr>
              <p:nvPr/>
            </p:nvSpPr>
            <p:spPr bwMode="auto">
              <a:xfrm>
                <a:off x="1447" y="2003"/>
                <a:ext cx="109" cy="87"/>
              </a:xfrm>
              <a:custGeom>
                <a:avLst/>
                <a:gdLst>
                  <a:gd name="T0" fmla="*/ 227144557 w 46"/>
                  <a:gd name="T1" fmla="*/ 92409030 h 37"/>
                  <a:gd name="T2" fmla="*/ 128444626 w 46"/>
                  <a:gd name="T3" fmla="*/ 178921943 h 37"/>
                  <a:gd name="T4" fmla="*/ 27479905 w 46"/>
                  <a:gd name="T5" fmla="*/ 92409030 h 37"/>
                  <a:gd name="T6" fmla="*/ 128444626 w 46"/>
                  <a:gd name="T7" fmla="*/ 0 h 37"/>
                  <a:gd name="T8" fmla="*/ 227144557 w 46"/>
                  <a:gd name="T9" fmla="*/ 92409030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9"/>
                    </a:moveTo>
                    <a:cubicBezTo>
                      <a:pt x="41" y="29"/>
                      <a:pt x="33" y="37"/>
                      <a:pt x="23" y="37"/>
                    </a:cubicBezTo>
                    <a:cubicBezTo>
                      <a:pt x="13" y="37"/>
                      <a:pt x="5" y="29"/>
                      <a:pt x="5" y="19"/>
                    </a:cubicBezTo>
                    <a:cubicBezTo>
                      <a:pt x="5" y="9"/>
                      <a:pt x="0" y="0"/>
                      <a:pt x="23" y="0"/>
                    </a:cubicBezTo>
                    <a:cubicBezTo>
                      <a:pt x="46" y="0"/>
                      <a:pt x="41" y="9"/>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49" name="Freeform 162">
                <a:extLst>
                  <a:ext uri="{FF2B5EF4-FFF2-40B4-BE49-F238E27FC236}">
                    <a16:creationId xmlns:a16="http://schemas.microsoft.com/office/drawing/2014/main" id="{387A7614-764A-F59F-21B3-0CD0436C239A}"/>
                  </a:ext>
                </a:extLst>
              </p:cNvPr>
              <p:cNvSpPr>
                <a:spLocks/>
              </p:cNvSpPr>
              <p:nvPr/>
            </p:nvSpPr>
            <p:spPr bwMode="auto">
              <a:xfrm>
                <a:off x="1447" y="2128"/>
                <a:ext cx="109" cy="88"/>
              </a:xfrm>
              <a:custGeom>
                <a:avLst/>
                <a:gdLst>
                  <a:gd name="T0" fmla="*/ 227144557 w 46"/>
                  <a:gd name="T1" fmla="*/ 107130016 h 37"/>
                  <a:gd name="T2" fmla="*/ 128444626 w 46"/>
                  <a:gd name="T3" fmla="*/ 219050121 h 37"/>
                  <a:gd name="T4" fmla="*/ 27479905 w 46"/>
                  <a:gd name="T5" fmla="*/ 107130016 h 37"/>
                  <a:gd name="T6" fmla="*/ 128444626 w 46"/>
                  <a:gd name="T7" fmla="*/ 0 h 37"/>
                  <a:gd name="T8" fmla="*/ 227144557 w 46"/>
                  <a:gd name="T9" fmla="*/ 107130016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8"/>
                    </a:moveTo>
                    <a:cubicBezTo>
                      <a:pt x="41" y="29"/>
                      <a:pt x="33" y="37"/>
                      <a:pt x="23" y="37"/>
                    </a:cubicBezTo>
                    <a:cubicBezTo>
                      <a:pt x="13" y="37"/>
                      <a:pt x="5" y="29"/>
                      <a:pt x="5" y="18"/>
                    </a:cubicBezTo>
                    <a:cubicBezTo>
                      <a:pt x="5" y="8"/>
                      <a:pt x="0" y="0"/>
                      <a:pt x="23" y="0"/>
                    </a:cubicBezTo>
                    <a:cubicBezTo>
                      <a:pt x="46" y="0"/>
                      <a:pt x="41" y="8"/>
                      <a:pt x="41" y="18"/>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50" name="Freeform 163">
                <a:extLst>
                  <a:ext uri="{FF2B5EF4-FFF2-40B4-BE49-F238E27FC236}">
                    <a16:creationId xmlns:a16="http://schemas.microsoft.com/office/drawing/2014/main" id="{6FDAF02F-843C-B94C-9600-CA1C8C514D16}"/>
                  </a:ext>
                </a:extLst>
              </p:cNvPr>
              <p:cNvSpPr>
                <a:spLocks/>
              </p:cNvSpPr>
              <p:nvPr/>
            </p:nvSpPr>
            <p:spPr bwMode="auto">
              <a:xfrm>
                <a:off x="1447" y="2263"/>
                <a:ext cx="109" cy="90"/>
              </a:xfrm>
              <a:custGeom>
                <a:avLst/>
                <a:gdLst>
                  <a:gd name="T0" fmla="*/ 227144557 w 46"/>
                  <a:gd name="T1" fmla="*/ 104705974 h 38"/>
                  <a:gd name="T2" fmla="*/ 128444626 w 46"/>
                  <a:gd name="T3" fmla="*/ 208672918 h 38"/>
                  <a:gd name="T4" fmla="*/ 27479905 w 46"/>
                  <a:gd name="T5" fmla="*/ 104705974 h 38"/>
                  <a:gd name="T6" fmla="*/ 128444626 w 46"/>
                  <a:gd name="T7" fmla="*/ 0 h 38"/>
                  <a:gd name="T8" fmla="*/ 227144557 w 46"/>
                  <a:gd name="T9" fmla="*/ 104705974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8">
                    <a:moveTo>
                      <a:pt x="41" y="19"/>
                    </a:moveTo>
                    <a:cubicBezTo>
                      <a:pt x="41" y="29"/>
                      <a:pt x="33" y="38"/>
                      <a:pt x="23" y="38"/>
                    </a:cubicBezTo>
                    <a:cubicBezTo>
                      <a:pt x="13" y="38"/>
                      <a:pt x="5" y="29"/>
                      <a:pt x="5" y="19"/>
                    </a:cubicBezTo>
                    <a:cubicBezTo>
                      <a:pt x="5" y="9"/>
                      <a:pt x="0" y="0"/>
                      <a:pt x="23" y="0"/>
                    </a:cubicBezTo>
                    <a:cubicBezTo>
                      <a:pt x="46" y="0"/>
                      <a:pt x="41" y="9"/>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51" name="Freeform 164">
                <a:extLst>
                  <a:ext uri="{FF2B5EF4-FFF2-40B4-BE49-F238E27FC236}">
                    <a16:creationId xmlns:a16="http://schemas.microsoft.com/office/drawing/2014/main" id="{4DFC519D-DC6A-5343-6CD3-F1042034EE9C}"/>
                  </a:ext>
                </a:extLst>
              </p:cNvPr>
              <p:cNvSpPr>
                <a:spLocks/>
              </p:cNvSpPr>
              <p:nvPr/>
            </p:nvSpPr>
            <p:spPr bwMode="auto">
              <a:xfrm>
                <a:off x="1447" y="2388"/>
                <a:ext cx="109" cy="88"/>
              </a:xfrm>
              <a:custGeom>
                <a:avLst/>
                <a:gdLst>
                  <a:gd name="T0" fmla="*/ 227144557 w 46"/>
                  <a:gd name="T1" fmla="*/ 111978171 h 37"/>
                  <a:gd name="T2" fmla="*/ 128444626 w 46"/>
                  <a:gd name="T3" fmla="*/ 219050121 h 37"/>
                  <a:gd name="T4" fmla="*/ 27479905 w 46"/>
                  <a:gd name="T5" fmla="*/ 111978171 h 37"/>
                  <a:gd name="T6" fmla="*/ 128444626 w 46"/>
                  <a:gd name="T7" fmla="*/ 0 h 37"/>
                  <a:gd name="T8" fmla="*/ 227144557 w 46"/>
                  <a:gd name="T9" fmla="*/ 111978171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9"/>
                    </a:moveTo>
                    <a:cubicBezTo>
                      <a:pt x="41" y="29"/>
                      <a:pt x="33" y="37"/>
                      <a:pt x="23" y="37"/>
                    </a:cubicBezTo>
                    <a:cubicBezTo>
                      <a:pt x="13" y="37"/>
                      <a:pt x="5" y="29"/>
                      <a:pt x="5" y="19"/>
                    </a:cubicBezTo>
                    <a:cubicBezTo>
                      <a:pt x="5" y="8"/>
                      <a:pt x="0" y="0"/>
                      <a:pt x="23" y="0"/>
                    </a:cubicBezTo>
                    <a:cubicBezTo>
                      <a:pt x="46" y="0"/>
                      <a:pt x="41" y="8"/>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52" name="Freeform 165">
                <a:extLst>
                  <a:ext uri="{FF2B5EF4-FFF2-40B4-BE49-F238E27FC236}">
                    <a16:creationId xmlns:a16="http://schemas.microsoft.com/office/drawing/2014/main" id="{BF3EA7BF-54A0-D080-00FD-47040B5C0CFD}"/>
                  </a:ext>
                </a:extLst>
              </p:cNvPr>
              <p:cNvSpPr>
                <a:spLocks/>
              </p:cNvSpPr>
              <p:nvPr/>
            </p:nvSpPr>
            <p:spPr bwMode="auto">
              <a:xfrm>
                <a:off x="1537" y="1681"/>
                <a:ext cx="109" cy="87"/>
              </a:xfrm>
              <a:custGeom>
                <a:avLst/>
                <a:gdLst>
                  <a:gd name="T0" fmla="*/ 227144557 w 46"/>
                  <a:gd name="T1" fmla="*/ 86576472 h 37"/>
                  <a:gd name="T2" fmla="*/ 128444626 w 46"/>
                  <a:gd name="T3" fmla="*/ 178921943 h 37"/>
                  <a:gd name="T4" fmla="*/ 20776729 w 46"/>
                  <a:gd name="T5" fmla="*/ 86576472 h 37"/>
                  <a:gd name="T6" fmla="*/ 128444626 w 46"/>
                  <a:gd name="T7" fmla="*/ 0 h 37"/>
                  <a:gd name="T8" fmla="*/ 227144557 w 46"/>
                  <a:gd name="T9" fmla="*/ 86576472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8"/>
                    </a:moveTo>
                    <a:cubicBezTo>
                      <a:pt x="41" y="29"/>
                      <a:pt x="33" y="37"/>
                      <a:pt x="23" y="37"/>
                    </a:cubicBezTo>
                    <a:cubicBezTo>
                      <a:pt x="12" y="37"/>
                      <a:pt x="4" y="29"/>
                      <a:pt x="4" y="18"/>
                    </a:cubicBezTo>
                    <a:cubicBezTo>
                      <a:pt x="4" y="8"/>
                      <a:pt x="0" y="0"/>
                      <a:pt x="23" y="0"/>
                    </a:cubicBezTo>
                    <a:cubicBezTo>
                      <a:pt x="46" y="0"/>
                      <a:pt x="41" y="8"/>
                      <a:pt x="41" y="18"/>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53" name="Freeform 166">
                <a:extLst>
                  <a:ext uri="{FF2B5EF4-FFF2-40B4-BE49-F238E27FC236}">
                    <a16:creationId xmlns:a16="http://schemas.microsoft.com/office/drawing/2014/main" id="{B42D46D7-339F-8477-7517-6E3F35262F93}"/>
                  </a:ext>
                </a:extLst>
              </p:cNvPr>
              <p:cNvSpPr>
                <a:spLocks/>
              </p:cNvSpPr>
              <p:nvPr/>
            </p:nvSpPr>
            <p:spPr bwMode="auto">
              <a:xfrm>
                <a:off x="1537" y="1804"/>
                <a:ext cx="109" cy="90"/>
              </a:xfrm>
              <a:custGeom>
                <a:avLst/>
                <a:gdLst>
                  <a:gd name="T0" fmla="*/ 227144557 w 46"/>
                  <a:gd name="T1" fmla="*/ 104705974 h 38"/>
                  <a:gd name="T2" fmla="*/ 128444626 w 46"/>
                  <a:gd name="T3" fmla="*/ 208672918 h 38"/>
                  <a:gd name="T4" fmla="*/ 20776729 w 46"/>
                  <a:gd name="T5" fmla="*/ 104705974 h 38"/>
                  <a:gd name="T6" fmla="*/ 128444626 w 46"/>
                  <a:gd name="T7" fmla="*/ 0 h 38"/>
                  <a:gd name="T8" fmla="*/ 227144557 w 46"/>
                  <a:gd name="T9" fmla="*/ 104705974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8">
                    <a:moveTo>
                      <a:pt x="41" y="19"/>
                    </a:moveTo>
                    <a:cubicBezTo>
                      <a:pt x="41" y="29"/>
                      <a:pt x="33" y="38"/>
                      <a:pt x="23" y="38"/>
                    </a:cubicBezTo>
                    <a:cubicBezTo>
                      <a:pt x="12" y="38"/>
                      <a:pt x="4" y="29"/>
                      <a:pt x="4" y="19"/>
                    </a:cubicBezTo>
                    <a:cubicBezTo>
                      <a:pt x="4" y="9"/>
                      <a:pt x="0" y="0"/>
                      <a:pt x="23" y="0"/>
                    </a:cubicBezTo>
                    <a:cubicBezTo>
                      <a:pt x="46" y="0"/>
                      <a:pt x="41" y="9"/>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54" name="Freeform 167">
                <a:extLst>
                  <a:ext uri="{FF2B5EF4-FFF2-40B4-BE49-F238E27FC236}">
                    <a16:creationId xmlns:a16="http://schemas.microsoft.com/office/drawing/2014/main" id="{3D1BCF04-760C-F387-2AC7-38AB1FC71023}"/>
                  </a:ext>
                </a:extLst>
              </p:cNvPr>
              <p:cNvSpPr>
                <a:spLocks/>
              </p:cNvSpPr>
              <p:nvPr/>
            </p:nvSpPr>
            <p:spPr bwMode="auto">
              <a:xfrm>
                <a:off x="1537" y="1941"/>
                <a:ext cx="109" cy="88"/>
              </a:xfrm>
              <a:custGeom>
                <a:avLst/>
                <a:gdLst>
                  <a:gd name="T0" fmla="*/ 227144557 w 46"/>
                  <a:gd name="T1" fmla="*/ 111978171 h 37"/>
                  <a:gd name="T2" fmla="*/ 128444626 w 46"/>
                  <a:gd name="T3" fmla="*/ 219050121 h 37"/>
                  <a:gd name="T4" fmla="*/ 20776729 w 46"/>
                  <a:gd name="T5" fmla="*/ 111978171 h 37"/>
                  <a:gd name="T6" fmla="*/ 128444626 w 46"/>
                  <a:gd name="T7" fmla="*/ 0 h 37"/>
                  <a:gd name="T8" fmla="*/ 227144557 w 46"/>
                  <a:gd name="T9" fmla="*/ 111978171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9"/>
                    </a:moveTo>
                    <a:cubicBezTo>
                      <a:pt x="41" y="29"/>
                      <a:pt x="33" y="37"/>
                      <a:pt x="23" y="37"/>
                    </a:cubicBezTo>
                    <a:cubicBezTo>
                      <a:pt x="12" y="37"/>
                      <a:pt x="4" y="29"/>
                      <a:pt x="4" y="19"/>
                    </a:cubicBezTo>
                    <a:cubicBezTo>
                      <a:pt x="4" y="8"/>
                      <a:pt x="0" y="0"/>
                      <a:pt x="23" y="0"/>
                    </a:cubicBezTo>
                    <a:cubicBezTo>
                      <a:pt x="46" y="0"/>
                      <a:pt x="41" y="8"/>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55" name="Freeform 168">
                <a:extLst>
                  <a:ext uri="{FF2B5EF4-FFF2-40B4-BE49-F238E27FC236}">
                    <a16:creationId xmlns:a16="http://schemas.microsoft.com/office/drawing/2014/main" id="{BB018AB4-5AD6-ACB3-D5C9-BF9376F04B16}"/>
                  </a:ext>
                </a:extLst>
              </p:cNvPr>
              <p:cNvSpPr>
                <a:spLocks/>
              </p:cNvSpPr>
              <p:nvPr/>
            </p:nvSpPr>
            <p:spPr bwMode="auto">
              <a:xfrm>
                <a:off x="1537" y="2064"/>
                <a:ext cx="109" cy="90"/>
              </a:xfrm>
              <a:custGeom>
                <a:avLst/>
                <a:gdLst>
                  <a:gd name="T0" fmla="*/ 227144557 w 46"/>
                  <a:gd name="T1" fmla="*/ 104705974 h 38"/>
                  <a:gd name="T2" fmla="*/ 128444626 w 46"/>
                  <a:gd name="T3" fmla="*/ 208672918 h 38"/>
                  <a:gd name="T4" fmla="*/ 20776729 w 46"/>
                  <a:gd name="T5" fmla="*/ 104705974 h 38"/>
                  <a:gd name="T6" fmla="*/ 128444626 w 46"/>
                  <a:gd name="T7" fmla="*/ 0 h 38"/>
                  <a:gd name="T8" fmla="*/ 227144557 w 46"/>
                  <a:gd name="T9" fmla="*/ 104705974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8">
                    <a:moveTo>
                      <a:pt x="41" y="19"/>
                    </a:moveTo>
                    <a:cubicBezTo>
                      <a:pt x="41" y="29"/>
                      <a:pt x="33" y="38"/>
                      <a:pt x="23" y="38"/>
                    </a:cubicBezTo>
                    <a:cubicBezTo>
                      <a:pt x="12" y="38"/>
                      <a:pt x="4" y="29"/>
                      <a:pt x="4" y="19"/>
                    </a:cubicBezTo>
                    <a:cubicBezTo>
                      <a:pt x="4" y="9"/>
                      <a:pt x="0" y="0"/>
                      <a:pt x="23" y="0"/>
                    </a:cubicBezTo>
                    <a:cubicBezTo>
                      <a:pt x="46" y="0"/>
                      <a:pt x="41" y="9"/>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56" name="Freeform 169">
                <a:extLst>
                  <a:ext uri="{FF2B5EF4-FFF2-40B4-BE49-F238E27FC236}">
                    <a16:creationId xmlns:a16="http://schemas.microsoft.com/office/drawing/2014/main" id="{66685AAA-F441-2B13-BC3E-F4C360CE69F2}"/>
                  </a:ext>
                </a:extLst>
              </p:cNvPr>
              <p:cNvSpPr>
                <a:spLocks/>
              </p:cNvSpPr>
              <p:nvPr/>
            </p:nvSpPr>
            <p:spPr bwMode="auto">
              <a:xfrm>
                <a:off x="1537" y="2201"/>
                <a:ext cx="109" cy="88"/>
              </a:xfrm>
              <a:custGeom>
                <a:avLst/>
                <a:gdLst>
                  <a:gd name="T0" fmla="*/ 227144557 w 46"/>
                  <a:gd name="T1" fmla="*/ 111978171 h 37"/>
                  <a:gd name="T2" fmla="*/ 128444626 w 46"/>
                  <a:gd name="T3" fmla="*/ 219050121 h 37"/>
                  <a:gd name="T4" fmla="*/ 20776729 w 46"/>
                  <a:gd name="T5" fmla="*/ 111978171 h 37"/>
                  <a:gd name="T6" fmla="*/ 128444626 w 46"/>
                  <a:gd name="T7" fmla="*/ 0 h 37"/>
                  <a:gd name="T8" fmla="*/ 227144557 w 46"/>
                  <a:gd name="T9" fmla="*/ 111978171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9"/>
                    </a:moveTo>
                    <a:cubicBezTo>
                      <a:pt x="41" y="29"/>
                      <a:pt x="33" y="37"/>
                      <a:pt x="23" y="37"/>
                    </a:cubicBezTo>
                    <a:cubicBezTo>
                      <a:pt x="12" y="37"/>
                      <a:pt x="4" y="29"/>
                      <a:pt x="4" y="19"/>
                    </a:cubicBezTo>
                    <a:cubicBezTo>
                      <a:pt x="4" y="8"/>
                      <a:pt x="0" y="0"/>
                      <a:pt x="23" y="0"/>
                    </a:cubicBezTo>
                    <a:cubicBezTo>
                      <a:pt x="46" y="0"/>
                      <a:pt x="41" y="8"/>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57" name="Freeform 170">
                <a:extLst>
                  <a:ext uri="{FF2B5EF4-FFF2-40B4-BE49-F238E27FC236}">
                    <a16:creationId xmlns:a16="http://schemas.microsoft.com/office/drawing/2014/main" id="{A7AAD153-DC05-B53A-B442-D94119C3576B}"/>
                  </a:ext>
                </a:extLst>
              </p:cNvPr>
              <p:cNvSpPr>
                <a:spLocks/>
              </p:cNvSpPr>
              <p:nvPr/>
            </p:nvSpPr>
            <p:spPr bwMode="auto">
              <a:xfrm>
                <a:off x="1537" y="2327"/>
                <a:ext cx="109" cy="87"/>
              </a:xfrm>
              <a:custGeom>
                <a:avLst/>
                <a:gdLst>
                  <a:gd name="T0" fmla="*/ 227144557 w 46"/>
                  <a:gd name="T1" fmla="*/ 86576472 h 37"/>
                  <a:gd name="T2" fmla="*/ 128444626 w 46"/>
                  <a:gd name="T3" fmla="*/ 178921943 h 37"/>
                  <a:gd name="T4" fmla="*/ 20776729 w 46"/>
                  <a:gd name="T5" fmla="*/ 86576472 h 37"/>
                  <a:gd name="T6" fmla="*/ 128444626 w 46"/>
                  <a:gd name="T7" fmla="*/ 0 h 37"/>
                  <a:gd name="T8" fmla="*/ 227144557 w 46"/>
                  <a:gd name="T9" fmla="*/ 86576472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8"/>
                    </a:moveTo>
                    <a:cubicBezTo>
                      <a:pt x="41" y="29"/>
                      <a:pt x="33" y="37"/>
                      <a:pt x="23" y="37"/>
                    </a:cubicBezTo>
                    <a:cubicBezTo>
                      <a:pt x="12" y="37"/>
                      <a:pt x="4" y="29"/>
                      <a:pt x="4" y="18"/>
                    </a:cubicBezTo>
                    <a:cubicBezTo>
                      <a:pt x="4" y="8"/>
                      <a:pt x="0" y="0"/>
                      <a:pt x="23" y="0"/>
                    </a:cubicBezTo>
                    <a:cubicBezTo>
                      <a:pt x="46" y="0"/>
                      <a:pt x="41" y="8"/>
                      <a:pt x="41" y="18"/>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58" name="Freeform 171">
                <a:extLst>
                  <a:ext uri="{FF2B5EF4-FFF2-40B4-BE49-F238E27FC236}">
                    <a16:creationId xmlns:a16="http://schemas.microsoft.com/office/drawing/2014/main" id="{736F44EF-CA6C-1812-D71F-72C4109ED007}"/>
                  </a:ext>
                </a:extLst>
              </p:cNvPr>
              <p:cNvSpPr>
                <a:spLocks/>
              </p:cNvSpPr>
              <p:nvPr/>
            </p:nvSpPr>
            <p:spPr bwMode="auto">
              <a:xfrm>
                <a:off x="1624" y="1742"/>
                <a:ext cx="109" cy="88"/>
              </a:xfrm>
              <a:custGeom>
                <a:avLst/>
                <a:gdLst>
                  <a:gd name="T0" fmla="*/ 227144557 w 46"/>
                  <a:gd name="T1" fmla="*/ 111978171 h 37"/>
                  <a:gd name="T2" fmla="*/ 128444626 w 46"/>
                  <a:gd name="T3" fmla="*/ 219050121 h 37"/>
                  <a:gd name="T4" fmla="*/ 27479905 w 46"/>
                  <a:gd name="T5" fmla="*/ 111978171 h 37"/>
                  <a:gd name="T6" fmla="*/ 128444626 w 46"/>
                  <a:gd name="T7" fmla="*/ 0 h 37"/>
                  <a:gd name="T8" fmla="*/ 227144557 w 46"/>
                  <a:gd name="T9" fmla="*/ 111978171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9"/>
                    </a:moveTo>
                    <a:cubicBezTo>
                      <a:pt x="41" y="29"/>
                      <a:pt x="33" y="37"/>
                      <a:pt x="23" y="37"/>
                    </a:cubicBezTo>
                    <a:cubicBezTo>
                      <a:pt x="13" y="37"/>
                      <a:pt x="5" y="29"/>
                      <a:pt x="5" y="19"/>
                    </a:cubicBezTo>
                    <a:cubicBezTo>
                      <a:pt x="5" y="8"/>
                      <a:pt x="0" y="0"/>
                      <a:pt x="23" y="0"/>
                    </a:cubicBezTo>
                    <a:cubicBezTo>
                      <a:pt x="46" y="0"/>
                      <a:pt x="41" y="8"/>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59" name="Freeform 172">
                <a:extLst>
                  <a:ext uri="{FF2B5EF4-FFF2-40B4-BE49-F238E27FC236}">
                    <a16:creationId xmlns:a16="http://schemas.microsoft.com/office/drawing/2014/main" id="{255DE3B7-6B72-3318-9EE8-05F2E286D635}"/>
                  </a:ext>
                </a:extLst>
              </p:cNvPr>
              <p:cNvSpPr>
                <a:spLocks/>
              </p:cNvSpPr>
              <p:nvPr/>
            </p:nvSpPr>
            <p:spPr bwMode="auto">
              <a:xfrm>
                <a:off x="1624" y="1868"/>
                <a:ext cx="109" cy="87"/>
              </a:xfrm>
              <a:custGeom>
                <a:avLst/>
                <a:gdLst>
                  <a:gd name="T0" fmla="*/ 227144557 w 46"/>
                  <a:gd name="T1" fmla="*/ 86576472 h 37"/>
                  <a:gd name="T2" fmla="*/ 128444626 w 46"/>
                  <a:gd name="T3" fmla="*/ 178921943 h 37"/>
                  <a:gd name="T4" fmla="*/ 27479905 w 46"/>
                  <a:gd name="T5" fmla="*/ 86576472 h 37"/>
                  <a:gd name="T6" fmla="*/ 128444626 w 46"/>
                  <a:gd name="T7" fmla="*/ 0 h 37"/>
                  <a:gd name="T8" fmla="*/ 227144557 w 46"/>
                  <a:gd name="T9" fmla="*/ 86576472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8"/>
                    </a:moveTo>
                    <a:cubicBezTo>
                      <a:pt x="41" y="29"/>
                      <a:pt x="33" y="37"/>
                      <a:pt x="23" y="37"/>
                    </a:cubicBezTo>
                    <a:cubicBezTo>
                      <a:pt x="13" y="37"/>
                      <a:pt x="5" y="29"/>
                      <a:pt x="5" y="18"/>
                    </a:cubicBezTo>
                    <a:cubicBezTo>
                      <a:pt x="5" y="8"/>
                      <a:pt x="0" y="0"/>
                      <a:pt x="23" y="0"/>
                    </a:cubicBezTo>
                    <a:cubicBezTo>
                      <a:pt x="46" y="0"/>
                      <a:pt x="41" y="8"/>
                      <a:pt x="41" y="18"/>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60" name="Freeform 173">
                <a:extLst>
                  <a:ext uri="{FF2B5EF4-FFF2-40B4-BE49-F238E27FC236}">
                    <a16:creationId xmlns:a16="http://schemas.microsoft.com/office/drawing/2014/main" id="{84225F93-0C79-CD52-AB19-29303AB3599A}"/>
                  </a:ext>
                </a:extLst>
              </p:cNvPr>
              <p:cNvSpPr>
                <a:spLocks/>
              </p:cNvSpPr>
              <p:nvPr/>
            </p:nvSpPr>
            <p:spPr bwMode="auto">
              <a:xfrm>
                <a:off x="1624" y="2003"/>
                <a:ext cx="109" cy="87"/>
              </a:xfrm>
              <a:custGeom>
                <a:avLst/>
                <a:gdLst>
                  <a:gd name="T0" fmla="*/ 227144557 w 46"/>
                  <a:gd name="T1" fmla="*/ 92409030 h 37"/>
                  <a:gd name="T2" fmla="*/ 128444626 w 46"/>
                  <a:gd name="T3" fmla="*/ 178921943 h 37"/>
                  <a:gd name="T4" fmla="*/ 27479905 w 46"/>
                  <a:gd name="T5" fmla="*/ 92409030 h 37"/>
                  <a:gd name="T6" fmla="*/ 128444626 w 46"/>
                  <a:gd name="T7" fmla="*/ 0 h 37"/>
                  <a:gd name="T8" fmla="*/ 227144557 w 46"/>
                  <a:gd name="T9" fmla="*/ 92409030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9"/>
                    </a:moveTo>
                    <a:cubicBezTo>
                      <a:pt x="41" y="29"/>
                      <a:pt x="33" y="37"/>
                      <a:pt x="23" y="37"/>
                    </a:cubicBezTo>
                    <a:cubicBezTo>
                      <a:pt x="13" y="37"/>
                      <a:pt x="5" y="29"/>
                      <a:pt x="5" y="19"/>
                    </a:cubicBezTo>
                    <a:cubicBezTo>
                      <a:pt x="5" y="9"/>
                      <a:pt x="0" y="0"/>
                      <a:pt x="23" y="0"/>
                    </a:cubicBezTo>
                    <a:cubicBezTo>
                      <a:pt x="46" y="0"/>
                      <a:pt x="41" y="9"/>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61" name="Freeform 174">
                <a:extLst>
                  <a:ext uri="{FF2B5EF4-FFF2-40B4-BE49-F238E27FC236}">
                    <a16:creationId xmlns:a16="http://schemas.microsoft.com/office/drawing/2014/main" id="{85D1AFFB-74E2-CA6D-8295-7B7AC79DE9FD}"/>
                  </a:ext>
                </a:extLst>
              </p:cNvPr>
              <p:cNvSpPr>
                <a:spLocks/>
              </p:cNvSpPr>
              <p:nvPr/>
            </p:nvSpPr>
            <p:spPr bwMode="auto">
              <a:xfrm>
                <a:off x="1624" y="2128"/>
                <a:ext cx="109" cy="88"/>
              </a:xfrm>
              <a:custGeom>
                <a:avLst/>
                <a:gdLst>
                  <a:gd name="T0" fmla="*/ 227144557 w 46"/>
                  <a:gd name="T1" fmla="*/ 107130016 h 37"/>
                  <a:gd name="T2" fmla="*/ 128444626 w 46"/>
                  <a:gd name="T3" fmla="*/ 219050121 h 37"/>
                  <a:gd name="T4" fmla="*/ 27479905 w 46"/>
                  <a:gd name="T5" fmla="*/ 107130016 h 37"/>
                  <a:gd name="T6" fmla="*/ 128444626 w 46"/>
                  <a:gd name="T7" fmla="*/ 0 h 37"/>
                  <a:gd name="T8" fmla="*/ 227144557 w 46"/>
                  <a:gd name="T9" fmla="*/ 107130016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8"/>
                    </a:moveTo>
                    <a:cubicBezTo>
                      <a:pt x="41" y="29"/>
                      <a:pt x="33" y="37"/>
                      <a:pt x="23" y="37"/>
                    </a:cubicBezTo>
                    <a:cubicBezTo>
                      <a:pt x="13" y="37"/>
                      <a:pt x="5" y="29"/>
                      <a:pt x="5" y="18"/>
                    </a:cubicBezTo>
                    <a:cubicBezTo>
                      <a:pt x="5" y="8"/>
                      <a:pt x="0" y="0"/>
                      <a:pt x="23" y="0"/>
                    </a:cubicBezTo>
                    <a:cubicBezTo>
                      <a:pt x="46" y="0"/>
                      <a:pt x="41" y="8"/>
                      <a:pt x="41" y="18"/>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62" name="Freeform 175">
                <a:extLst>
                  <a:ext uri="{FF2B5EF4-FFF2-40B4-BE49-F238E27FC236}">
                    <a16:creationId xmlns:a16="http://schemas.microsoft.com/office/drawing/2014/main" id="{81098C9D-6251-0587-FD1D-928472958C04}"/>
                  </a:ext>
                </a:extLst>
              </p:cNvPr>
              <p:cNvSpPr>
                <a:spLocks/>
              </p:cNvSpPr>
              <p:nvPr/>
            </p:nvSpPr>
            <p:spPr bwMode="auto">
              <a:xfrm>
                <a:off x="1624" y="2263"/>
                <a:ext cx="109" cy="90"/>
              </a:xfrm>
              <a:custGeom>
                <a:avLst/>
                <a:gdLst>
                  <a:gd name="T0" fmla="*/ 227144557 w 46"/>
                  <a:gd name="T1" fmla="*/ 104705974 h 38"/>
                  <a:gd name="T2" fmla="*/ 128444626 w 46"/>
                  <a:gd name="T3" fmla="*/ 208672918 h 38"/>
                  <a:gd name="T4" fmla="*/ 27479905 w 46"/>
                  <a:gd name="T5" fmla="*/ 104705974 h 38"/>
                  <a:gd name="T6" fmla="*/ 128444626 w 46"/>
                  <a:gd name="T7" fmla="*/ 0 h 38"/>
                  <a:gd name="T8" fmla="*/ 227144557 w 46"/>
                  <a:gd name="T9" fmla="*/ 104705974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8">
                    <a:moveTo>
                      <a:pt x="41" y="19"/>
                    </a:moveTo>
                    <a:cubicBezTo>
                      <a:pt x="41" y="29"/>
                      <a:pt x="33" y="38"/>
                      <a:pt x="23" y="38"/>
                    </a:cubicBezTo>
                    <a:cubicBezTo>
                      <a:pt x="13" y="38"/>
                      <a:pt x="5" y="29"/>
                      <a:pt x="5" y="19"/>
                    </a:cubicBezTo>
                    <a:cubicBezTo>
                      <a:pt x="5" y="9"/>
                      <a:pt x="0" y="0"/>
                      <a:pt x="23" y="0"/>
                    </a:cubicBezTo>
                    <a:cubicBezTo>
                      <a:pt x="46" y="0"/>
                      <a:pt x="41" y="9"/>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63" name="Freeform 176">
                <a:extLst>
                  <a:ext uri="{FF2B5EF4-FFF2-40B4-BE49-F238E27FC236}">
                    <a16:creationId xmlns:a16="http://schemas.microsoft.com/office/drawing/2014/main" id="{8B2E80E9-D402-3145-CFB0-662E5E9BAE4E}"/>
                  </a:ext>
                </a:extLst>
              </p:cNvPr>
              <p:cNvSpPr>
                <a:spLocks/>
              </p:cNvSpPr>
              <p:nvPr/>
            </p:nvSpPr>
            <p:spPr bwMode="auto">
              <a:xfrm>
                <a:off x="1624" y="2388"/>
                <a:ext cx="109" cy="88"/>
              </a:xfrm>
              <a:custGeom>
                <a:avLst/>
                <a:gdLst>
                  <a:gd name="T0" fmla="*/ 227144557 w 46"/>
                  <a:gd name="T1" fmla="*/ 111978171 h 37"/>
                  <a:gd name="T2" fmla="*/ 128444626 w 46"/>
                  <a:gd name="T3" fmla="*/ 219050121 h 37"/>
                  <a:gd name="T4" fmla="*/ 27479905 w 46"/>
                  <a:gd name="T5" fmla="*/ 111978171 h 37"/>
                  <a:gd name="T6" fmla="*/ 128444626 w 46"/>
                  <a:gd name="T7" fmla="*/ 0 h 37"/>
                  <a:gd name="T8" fmla="*/ 227144557 w 46"/>
                  <a:gd name="T9" fmla="*/ 111978171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9"/>
                    </a:moveTo>
                    <a:cubicBezTo>
                      <a:pt x="41" y="29"/>
                      <a:pt x="33" y="37"/>
                      <a:pt x="23" y="37"/>
                    </a:cubicBezTo>
                    <a:cubicBezTo>
                      <a:pt x="13" y="37"/>
                      <a:pt x="5" y="29"/>
                      <a:pt x="5" y="19"/>
                    </a:cubicBezTo>
                    <a:cubicBezTo>
                      <a:pt x="5" y="8"/>
                      <a:pt x="0" y="0"/>
                      <a:pt x="23" y="0"/>
                    </a:cubicBezTo>
                    <a:cubicBezTo>
                      <a:pt x="46" y="0"/>
                      <a:pt x="41" y="8"/>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64" name="Freeform 177">
                <a:extLst>
                  <a:ext uri="{FF2B5EF4-FFF2-40B4-BE49-F238E27FC236}">
                    <a16:creationId xmlns:a16="http://schemas.microsoft.com/office/drawing/2014/main" id="{B70AF19A-17C6-94EF-7E04-D4559A9C6436}"/>
                  </a:ext>
                </a:extLst>
              </p:cNvPr>
              <p:cNvSpPr>
                <a:spLocks/>
              </p:cNvSpPr>
              <p:nvPr/>
            </p:nvSpPr>
            <p:spPr bwMode="auto">
              <a:xfrm>
                <a:off x="1712" y="1681"/>
                <a:ext cx="109" cy="87"/>
              </a:xfrm>
              <a:custGeom>
                <a:avLst/>
                <a:gdLst>
                  <a:gd name="T0" fmla="*/ 234327340 w 46"/>
                  <a:gd name="T1" fmla="*/ 86576472 h 37"/>
                  <a:gd name="T2" fmla="*/ 128444626 w 46"/>
                  <a:gd name="T3" fmla="*/ 178921943 h 37"/>
                  <a:gd name="T4" fmla="*/ 27479905 w 46"/>
                  <a:gd name="T5" fmla="*/ 86576472 h 37"/>
                  <a:gd name="T6" fmla="*/ 128444626 w 46"/>
                  <a:gd name="T7" fmla="*/ 0 h 37"/>
                  <a:gd name="T8" fmla="*/ 234327340 w 46"/>
                  <a:gd name="T9" fmla="*/ 86576472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2" y="18"/>
                    </a:moveTo>
                    <a:cubicBezTo>
                      <a:pt x="42" y="29"/>
                      <a:pt x="33" y="37"/>
                      <a:pt x="23" y="37"/>
                    </a:cubicBezTo>
                    <a:cubicBezTo>
                      <a:pt x="13" y="37"/>
                      <a:pt x="5" y="29"/>
                      <a:pt x="5" y="18"/>
                    </a:cubicBezTo>
                    <a:cubicBezTo>
                      <a:pt x="5" y="8"/>
                      <a:pt x="0" y="0"/>
                      <a:pt x="23" y="0"/>
                    </a:cubicBezTo>
                    <a:cubicBezTo>
                      <a:pt x="46" y="0"/>
                      <a:pt x="42" y="8"/>
                      <a:pt x="42" y="18"/>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65" name="Freeform 178">
                <a:extLst>
                  <a:ext uri="{FF2B5EF4-FFF2-40B4-BE49-F238E27FC236}">
                    <a16:creationId xmlns:a16="http://schemas.microsoft.com/office/drawing/2014/main" id="{B2487908-68CA-8346-8204-7C621A39BAD3}"/>
                  </a:ext>
                </a:extLst>
              </p:cNvPr>
              <p:cNvSpPr>
                <a:spLocks/>
              </p:cNvSpPr>
              <p:nvPr/>
            </p:nvSpPr>
            <p:spPr bwMode="auto">
              <a:xfrm>
                <a:off x="1712" y="1804"/>
                <a:ext cx="109" cy="90"/>
              </a:xfrm>
              <a:custGeom>
                <a:avLst/>
                <a:gdLst>
                  <a:gd name="T0" fmla="*/ 234327340 w 46"/>
                  <a:gd name="T1" fmla="*/ 104705974 h 38"/>
                  <a:gd name="T2" fmla="*/ 128444626 w 46"/>
                  <a:gd name="T3" fmla="*/ 208672918 h 38"/>
                  <a:gd name="T4" fmla="*/ 27479905 w 46"/>
                  <a:gd name="T5" fmla="*/ 104705974 h 38"/>
                  <a:gd name="T6" fmla="*/ 128444626 w 46"/>
                  <a:gd name="T7" fmla="*/ 0 h 38"/>
                  <a:gd name="T8" fmla="*/ 234327340 w 46"/>
                  <a:gd name="T9" fmla="*/ 104705974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8">
                    <a:moveTo>
                      <a:pt x="42" y="19"/>
                    </a:moveTo>
                    <a:cubicBezTo>
                      <a:pt x="42" y="29"/>
                      <a:pt x="33" y="38"/>
                      <a:pt x="23" y="38"/>
                    </a:cubicBezTo>
                    <a:cubicBezTo>
                      <a:pt x="13" y="38"/>
                      <a:pt x="5" y="29"/>
                      <a:pt x="5" y="19"/>
                    </a:cubicBezTo>
                    <a:cubicBezTo>
                      <a:pt x="5" y="9"/>
                      <a:pt x="0" y="0"/>
                      <a:pt x="23" y="0"/>
                    </a:cubicBezTo>
                    <a:cubicBezTo>
                      <a:pt x="46" y="0"/>
                      <a:pt x="42" y="9"/>
                      <a:pt x="42"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66" name="Freeform 179">
                <a:extLst>
                  <a:ext uri="{FF2B5EF4-FFF2-40B4-BE49-F238E27FC236}">
                    <a16:creationId xmlns:a16="http://schemas.microsoft.com/office/drawing/2014/main" id="{DCE277A1-868D-F90E-B540-0039AE585CC5}"/>
                  </a:ext>
                </a:extLst>
              </p:cNvPr>
              <p:cNvSpPr>
                <a:spLocks/>
              </p:cNvSpPr>
              <p:nvPr/>
            </p:nvSpPr>
            <p:spPr bwMode="auto">
              <a:xfrm>
                <a:off x="1712" y="1941"/>
                <a:ext cx="109" cy="88"/>
              </a:xfrm>
              <a:custGeom>
                <a:avLst/>
                <a:gdLst>
                  <a:gd name="T0" fmla="*/ 234327340 w 46"/>
                  <a:gd name="T1" fmla="*/ 111978171 h 37"/>
                  <a:gd name="T2" fmla="*/ 128444626 w 46"/>
                  <a:gd name="T3" fmla="*/ 219050121 h 37"/>
                  <a:gd name="T4" fmla="*/ 27479905 w 46"/>
                  <a:gd name="T5" fmla="*/ 111978171 h 37"/>
                  <a:gd name="T6" fmla="*/ 128444626 w 46"/>
                  <a:gd name="T7" fmla="*/ 0 h 37"/>
                  <a:gd name="T8" fmla="*/ 234327340 w 46"/>
                  <a:gd name="T9" fmla="*/ 111978171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2" y="19"/>
                    </a:moveTo>
                    <a:cubicBezTo>
                      <a:pt x="42" y="29"/>
                      <a:pt x="33" y="37"/>
                      <a:pt x="23" y="37"/>
                    </a:cubicBezTo>
                    <a:cubicBezTo>
                      <a:pt x="13" y="37"/>
                      <a:pt x="5" y="29"/>
                      <a:pt x="5" y="19"/>
                    </a:cubicBezTo>
                    <a:cubicBezTo>
                      <a:pt x="5" y="8"/>
                      <a:pt x="0" y="0"/>
                      <a:pt x="23" y="0"/>
                    </a:cubicBezTo>
                    <a:cubicBezTo>
                      <a:pt x="46" y="0"/>
                      <a:pt x="42" y="8"/>
                      <a:pt x="42"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67" name="Freeform 180">
                <a:extLst>
                  <a:ext uri="{FF2B5EF4-FFF2-40B4-BE49-F238E27FC236}">
                    <a16:creationId xmlns:a16="http://schemas.microsoft.com/office/drawing/2014/main" id="{337DAC00-F9F9-2B8F-68B7-D9DA91AD2B5D}"/>
                  </a:ext>
                </a:extLst>
              </p:cNvPr>
              <p:cNvSpPr>
                <a:spLocks/>
              </p:cNvSpPr>
              <p:nvPr/>
            </p:nvSpPr>
            <p:spPr bwMode="auto">
              <a:xfrm>
                <a:off x="1712" y="2064"/>
                <a:ext cx="109" cy="90"/>
              </a:xfrm>
              <a:custGeom>
                <a:avLst/>
                <a:gdLst>
                  <a:gd name="T0" fmla="*/ 234327340 w 46"/>
                  <a:gd name="T1" fmla="*/ 104705974 h 38"/>
                  <a:gd name="T2" fmla="*/ 128444626 w 46"/>
                  <a:gd name="T3" fmla="*/ 208672918 h 38"/>
                  <a:gd name="T4" fmla="*/ 27479905 w 46"/>
                  <a:gd name="T5" fmla="*/ 104705974 h 38"/>
                  <a:gd name="T6" fmla="*/ 128444626 w 46"/>
                  <a:gd name="T7" fmla="*/ 0 h 38"/>
                  <a:gd name="T8" fmla="*/ 234327340 w 46"/>
                  <a:gd name="T9" fmla="*/ 104705974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8">
                    <a:moveTo>
                      <a:pt x="42" y="19"/>
                    </a:moveTo>
                    <a:cubicBezTo>
                      <a:pt x="42" y="29"/>
                      <a:pt x="33" y="38"/>
                      <a:pt x="23" y="38"/>
                    </a:cubicBezTo>
                    <a:cubicBezTo>
                      <a:pt x="13" y="38"/>
                      <a:pt x="5" y="29"/>
                      <a:pt x="5" y="19"/>
                    </a:cubicBezTo>
                    <a:cubicBezTo>
                      <a:pt x="5" y="9"/>
                      <a:pt x="0" y="0"/>
                      <a:pt x="23" y="0"/>
                    </a:cubicBezTo>
                    <a:cubicBezTo>
                      <a:pt x="46" y="0"/>
                      <a:pt x="42" y="9"/>
                      <a:pt x="42"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68" name="Freeform 181">
                <a:extLst>
                  <a:ext uri="{FF2B5EF4-FFF2-40B4-BE49-F238E27FC236}">
                    <a16:creationId xmlns:a16="http://schemas.microsoft.com/office/drawing/2014/main" id="{50DD0BE8-BCA9-96DD-B795-5B95F775A67E}"/>
                  </a:ext>
                </a:extLst>
              </p:cNvPr>
              <p:cNvSpPr>
                <a:spLocks/>
              </p:cNvSpPr>
              <p:nvPr/>
            </p:nvSpPr>
            <p:spPr bwMode="auto">
              <a:xfrm>
                <a:off x="1712" y="2201"/>
                <a:ext cx="109" cy="88"/>
              </a:xfrm>
              <a:custGeom>
                <a:avLst/>
                <a:gdLst>
                  <a:gd name="T0" fmla="*/ 234327340 w 46"/>
                  <a:gd name="T1" fmla="*/ 111978171 h 37"/>
                  <a:gd name="T2" fmla="*/ 128444626 w 46"/>
                  <a:gd name="T3" fmla="*/ 219050121 h 37"/>
                  <a:gd name="T4" fmla="*/ 27479905 w 46"/>
                  <a:gd name="T5" fmla="*/ 111978171 h 37"/>
                  <a:gd name="T6" fmla="*/ 128444626 w 46"/>
                  <a:gd name="T7" fmla="*/ 0 h 37"/>
                  <a:gd name="T8" fmla="*/ 234327340 w 46"/>
                  <a:gd name="T9" fmla="*/ 111978171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2" y="19"/>
                    </a:moveTo>
                    <a:cubicBezTo>
                      <a:pt x="42" y="29"/>
                      <a:pt x="33" y="37"/>
                      <a:pt x="23" y="37"/>
                    </a:cubicBezTo>
                    <a:cubicBezTo>
                      <a:pt x="13" y="37"/>
                      <a:pt x="5" y="29"/>
                      <a:pt x="5" y="19"/>
                    </a:cubicBezTo>
                    <a:cubicBezTo>
                      <a:pt x="5" y="8"/>
                      <a:pt x="0" y="0"/>
                      <a:pt x="23" y="0"/>
                    </a:cubicBezTo>
                    <a:cubicBezTo>
                      <a:pt x="46" y="0"/>
                      <a:pt x="42" y="8"/>
                      <a:pt x="42"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69" name="Freeform 182">
                <a:extLst>
                  <a:ext uri="{FF2B5EF4-FFF2-40B4-BE49-F238E27FC236}">
                    <a16:creationId xmlns:a16="http://schemas.microsoft.com/office/drawing/2014/main" id="{003D37E4-1288-C0BA-87DA-53359A945F42}"/>
                  </a:ext>
                </a:extLst>
              </p:cNvPr>
              <p:cNvSpPr>
                <a:spLocks/>
              </p:cNvSpPr>
              <p:nvPr/>
            </p:nvSpPr>
            <p:spPr bwMode="auto">
              <a:xfrm>
                <a:off x="1712" y="2327"/>
                <a:ext cx="109" cy="87"/>
              </a:xfrm>
              <a:custGeom>
                <a:avLst/>
                <a:gdLst>
                  <a:gd name="T0" fmla="*/ 234327340 w 46"/>
                  <a:gd name="T1" fmla="*/ 86576472 h 37"/>
                  <a:gd name="T2" fmla="*/ 128444626 w 46"/>
                  <a:gd name="T3" fmla="*/ 178921943 h 37"/>
                  <a:gd name="T4" fmla="*/ 27479905 w 46"/>
                  <a:gd name="T5" fmla="*/ 86576472 h 37"/>
                  <a:gd name="T6" fmla="*/ 128444626 w 46"/>
                  <a:gd name="T7" fmla="*/ 0 h 37"/>
                  <a:gd name="T8" fmla="*/ 234327340 w 46"/>
                  <a:gd name="T9" fmla="*/ 86576472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2" y="18"/>
                    </a:moveTo>
                    <a:cubicBezTo>
                      <a:pt x="42" y="29"/>
                      <a:pt x="33" y="37"/>
                      <a:pt x="23" y="37"/>
                    </a:cubicBezTo>
                    <a:cubicBezTo>
                      <a:pt x="13" y="37"/>
                      <a:pt x="5" y="29"/>
                      <a:pt x="5" y="18"/>
                    </a:cubicBezTo>
                    <a:cubicBezTo>
                      <a:pt x="5" y="8"/>
                      <a:pt x="0" y="0"/>
                      <a:pt x="23" y="0"/>
                    </a:cubicBezTo>
                    <a:cubicBezTo>
                      <a:pt x="46" y="0"/>
                      <a:pt x="42" y="8"/>
                      <a:pt x="42" y="18"/>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70" name="Freeform 183">
                <a:extLst>
                  <a:ext uri="{FF2B5EF4-FFF2-40B4-BE49-F238E27FC236}">
                    <a16:creationId xmlns:a16="http://schemas.microsoft.com/office/drawing/2014/main" id="{DF313C61-E669-0A44-78E9-D23311072FA9}"/>
                  </a:ext>
                </a:extLst>
              </p:cNvPr>
              <p:cNvSpPr>
                <a:spLocks/>
              </p:cNvSpPr>
              <p:nvPr/>
            </p:nvSpPr>
            <p:spPr bwMode="auto">
              <a:xfrm>
                <a:off x="1802" y="1742"/>
                <a:ext cx="109" cy="88"/>
              </a:xfrm>
              <a:custGeom>
                <a:avLst/>
                <a:gdLst>
                  <a:gd name="T0" fmla="*/ 227144557 w 46"/>
                  <a:gd name="T1" fmla="*/ 111978171 h 37"/>
                  <a:gd name="T2" fmla="*/ 128444626 w 46"/>
                  <a:gd name="T3" fmla="*/ 219050121 h 37"/>
                  <a:gd name="T4" fmla="*/ 20776729 w 46"/>
                  <a:gd name="T5" fmla="*/ 111978171 h 37"/>
                  <a:gd name="T6" fmla="*/ 128444626 w 46"/>
                  <a:gd name="T7" fmla="*/ 0 h 37"/>
                  <a:gd name="T8" fmla="*/ 227144557 w 46"/>
                  <a:gd name="T9" fmla="*/ 111978171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9"/>
                    </a:moveTo>
                    <a:cubicBezTo>
                      <a:pt x="41" y="29"/>
                      <a:pt x="33" y="37"/>
                      <a:pt x="23" y="37"/>
                    </a:cubicBezTo>
                    <a:cubicBezTo>
                      <a:pt x="13" y="37"/>
                      <a:pt x="4" y="29"/>
                      <a:pt x="4" y="19"/>
                    </a:cubicBezTo>
                    <a:cubicBezTo>
                      <a:pt x="4" y="8"/>
                      <a:pt x="0" y="0"/>
                      <a:pt x="23" y="0"/>
                    </a:cubicBezTo>
                    <a:cubicBezTo>
                      <a:pt x="46" y="0"/>
                      <a:pt x="41" y="8"/>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71" name="Freeform 184">
                <a:extLst>
                  <a:ext uri="{FF2B5EF4-FFF2-40B4-BE49-F238E27FC236}">
                    <a16:creationId xmlns:a16="http://schemas.microsoft.com/office/drawing/2014/main" id="{AA155A62-8392-CE1E-6EB8-8AE44D77C7C6}"/>
                  </a:ext>
                </a:extLst>
              </p:cNvPr>
              <p:cNvSpPr>
                <a:spLocks/>
              </p:cNvSpPr>
              <p:nvPr/>
            </p:nvSpPr>
            <p:spPr bwMode="auto">
              <a:xfrm>
                <a:off x="1802" y="1868"/>
                <a:ext cx="109" cy="87"/>
              </a:xfrm>
              <a:custGeom>
                <a:avLst/>
                <a:gdLst>
                  <a:gd name="T0" fmla="*/ 227144557 w 46"/>
                  <a:gd name="T1" fmla="*/ 86576472 h 37"/>
                  <a:gd name="T2" fmla="*/ 128444626 w 46"/>
                  <a:gd name="T3" fmla="*/ 178921943 h 37"/>
                  <a:gd name="T4" fmla="*/ 20776729 w 46"/>
                  <a:gd name="T5" fmla="*/ 86576472 h 37"/>
                  <a:gd name="T6" fmla="*/ 128444626 w 46"/>
                  <a:gd name="T7" fmla="*/ 0 h 37"/>
                  <a:gd name="T8" fmla="*/ 227144557 w 46"/>
                  <a:gd name="T9" fmla="*/ 86576472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8"/>
                    </a:moveTo>
                    <a:cubicBezTo>
                      <a:pt x="41" y="29"/>
                      <a:pt x="33" y="37"/>
                      <a:pt x="23" y="37"/>
                    </a:cubicBezTo>
                    <a:cubicBezTo>
                      <a:pt x="13" y="37"/>
                      <a:pt x="4" y="29"/>
                      <a:pt x="4" y="18"/>
                    </a:cubicBezTo>
                    <a:cubicBezTo>
                      <a:pt x="4" y="8"/>
                      <a:pt x="0" y="0"/>
                      <a:pt x="23" y="0"/>
                    </a:cubicBezTo>
                    <a:cubicBezTo>
                      <a:pt x="46" y="0"/>
                      <a:pt x="41" y="8"/>
                      <a:pt x="41" y="18"/>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72" name="Freeform 185">
                <a:extLst>
                  <a:ext uri="{FF2B5EF4-FFF2-40B4-BE49-F238E27FC236}">
                    <a16:creationId xmlns:a16="http://schemas.microsoft.com/office/drawing/2014/main" id="{ADCA705D-E2EA-050B-13B0-38101E7867AA}"/>
                  </a:ext>
                </a:extLst>
              </p:cNvPr>
              <p:cNvSpPr>
                <a:spLocks/>
              </p:cNvSpPr>
              <p:nvPr/>
            </p:nvSpPr>
            <p:spPr bwMode="auto">
              <a:xfrm>
                <a:off x="1802" y="2003"/>
                <a:ext cx="109" cy="87"/>
              </a:xfrm>
              <a:custGeom>
                <a:avLst/>
                <a:gdLst>
                  <a:gd name="T0" fmla="*/ 227144557 w 46"/>
                  <a:gd name="T1" fmla="*/ 92409030 h 37"/>
                  <a:gd name="T2" fmla="*/ 128444626 w 46"/>
                  <a:gd name="T3" fmla="*/ 178921943 h 37"/>
                  <a:gd name="T4" fmla="*/ 20776729 w 46"/>
                  <a:gd name="T5" fmla="*/ 92409030 h 37"/>
                  <a:gd name="T6" fmla="*/ 128444626 w 46"/>
                  <a:gd name="T7" fmla="*/ 0 h 37"/>
                  <a:gd name="T8" fmla="*/ 227144557 w 46"/>
                  <a:gd name="T9" fmla="*/ 92409030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9"/>
                    </a:moveTo>
                    <a:cubicBezTo>
                      <a:pt x="41" y="29"/>
                      <a:pt x="33" y="37"/>
                      <a:pt x="23" y="37"/>
                    </a:cubicBezTo>
                    <a:cubicBezTo>
                      <a:pt x="13" y="37"/>
                      <a:pt x="4" y="29"/>
                      <a:pt x="4" y="19"/>
                    </a:cubicBezTo>
                    <a:cubicBezTo>
                      <a:pt x="4" y="9"/>
                      <a:pt x="0" y="0"/>
                      <a:pt x="23" y="0"/>
                    </a:cubicBezTo>
                    <a:cubicBezTo>
                      <a:pt x="46" y="0"/>
                      <a:pt x="41" y="9"/>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73" name="Freeform 186">
                <a:extLst>
                  <a:ext uri="{FF2B5EF4-FFF2-40B4-BE49-F238E27FC236}">
                    <a16:creationId xmlns:a16="http://schemas.microsoft.com/office/drawing/2014/main" id="{4BFB8CB2-1A82-5D5F-0C8B-3020F39AE0DB}"/>
                  </a:ext>
                </a:extLst>
              </p:cNvPr>
              <p:cNvSpPr>
                <a:spLocks/>
              </p:cNvSpPr>
              <p:nvPr/>
            </p:nvSpPr>
            <p:spPr bwMode="auto">
              <a:xfrm>
                <a:off x="1802" y="2128"/>
                <a:ext cx="109" cy="88"/>
              </a:xfrm>
              <a:custGeom>
                <a:avLst/>
                <a:gdLst>
                  <a:gd name="T0" fmla="*/ 227144557 w 46"/>
                  <a:gd name="T1" fmla="*/ 107130016 h 37"/>
                  <a:gd name="T2" fmla="*/ 128444626 w 46"/>
                  <a:gd name="T3" fmla="*/ 219050121 h 37"/>
                  <a:gd name="T4" fmla="*/ 20776729 w 46"/>
                  <a:gd name="T5" fmla="*/ 107130016 h 37"/>
                  <a:gd name="T6" fmla="*/ 128444626 w 46"/>
                  <a:gd name="T7" fmla="*/ 0 h 37"/>
                  <a:gd name="T8" fmla="*/ 227144557 w 46"/>
                  <a:gd name="T9" fmla="*/ 107130016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8"/>
                    </a:moveTo>
                    <a:cubicBezTo>
                      <a:pt x="41" y="29"/>
                      <a:pt x="33" y="37"/>
                      <a:pt x="23" y="37"/>
                    </a:cubicBezTo>
                    <a:cubicBezTo>
                      <a:pt x="13" y="37"/>
                      <a:pt x="4" y="29"/>
                      <a:pt x="4" y="18"/>
                    </a:cubicBezTo>
                    <a:cubicBezTo>
                      <a:pt x="4" y="8"/>
                      <a:pt x="0" y="0"/>
                      <a:pt x="23" y="0"/>
                    </a:cubicBezTo>
                    <a:cubicBezTo>
                      <a:pt x="46" y="0"/>
                      <a:pt x="41" y="8"/>
                      <a:pt x="41" y="18"/>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74" name="Freeform 187">
                <a:extLst>
                  <a:ext uri="{FF2B5EF4-FFF2-40B4-BE49-F238E27FC236}">
                    <a16:creationId xmlns:a16="http://schemas.microsoft.com/office/drawing/2014/main" id="{A9F6B9FB-BB69-1E0D-AF04-2CA0DDCAC7C1}"/>
                  </a:ext>
                </a:extLst>
              </p:cNvPr>
              <p:cNvSpPr>
                <a:spLocks/>
              </p:cNvSpPr>
              <p:nvPr/>
            </p:nvSpPr>
            <p:spPr bwMode="auto">
              <a:xfrm>
                <a:off x="1802" y="2263"/>
                <a:ext cx="109" cy="90"/>
              </a:xfrm>
              <a:custGeom>
                <a:avLst/>
                <a:gdLst>
                  <a:gd name="T0" fmla="*/ 227144557 w 46"/>
                  <a:gd name="T1" fmla="*/ 104705974 h 38"/>
                  <a:gd name="T2" fmla="*/ 128444626 w 46"/>
                  <a:gd name="T3" fmla="*/ 208672918 h 38"/>
                  <a:gd name="T4" fmla="*/ 20776729 w 46"/>
                  <a:gd name="T5" fmla="*/ 104705974 h 38"/>
                  <a:gd name="T6" fmla="*/ 128444626 w 46"/>
                  <a:gd name="T7" fmla="*/ 0 h 38"/>
                  <a:gd name="T8" fmla="*/ 227144557 w 46"/>
                  <a:gd name="T9" fmla="*/ 104705974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8">
                    <a:moveTo>
                      <a:pt x="41" y="19"/>
                    </a:moveTo>
                    <a:cubicBezTo>
                      <a:pt x="41" y="29"/>
                      <a:pt x="33" y="38"/>
                      <a:pt x="23" y="38"/>
                    </a:cubicBezTo>
                    <a:cubicBezTo>
                      <a:pt x="13" y="38"/>
                      <a:pt x="4" y="29"/>
                      <a:pt x="4" y="19"/>
                    </a:cubicBezTo>
                    <a:cubicBezTo>
                      <a:pt x="4" y="9"/>
                      <a:pt x="0" y="0"/>
                      <a:pt x="23" y="0"/>
                    </a:cubicBezTo>
                    <a:cubicBezTo>
                      <a:pt x="46" y="0"/>
                      <a:pt x="41" y="9"/>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75" name="Freeform 188">
                <a:extLst>
                  <a:ext uri="{FF2B5EF4-FFF2-40B4-BE49-F238E27FC236}">
                    <a16:creationId xmlns:a16="http://schemas.microsoft.com/office/drawing/2014/main" id="{B9DFF397-5D77-D14A-BDF6-15AE12F86D93}"/>
                  </a:ext>
                </a:extLst>
              </p:cNvPr>
              <p:cNvSpPr>
                <a:spLocks/>
              </p:cNvSpPr>
              <p:nvPr/>
            </p:nvSpPr>
            <p:spPr bwMode="auto">
              <a:xfrm>
                <a:off x="1802" y="2388"/>
                <a:ext cx="109" cy="88"/>
              </a:xfrm>
              <a:custGeom>
                <a:avLst/>
                <a:gdLst>
                  <a:gd name="T0" fmla="*/ 227144557 w 46"/>
                  <a:gd name="T1" fmla="*/ 111978171 h 37"/>
                  <a:gd name="T2" fmla="*/ 128444626 w 46"/>
                  <a:gd name="T3" fmla="*/ 219050121 h 37"/>
                  <a:gd name="T4" fmla="*/ 20776729 w 46"/>
                  <a:gd name="T5" fmla="*/ 111978171 h 37"/>
                  <a:gd name="T6" fmla="*/ 128444626 w 46"/>
                  <a:gd name="T7" fmla="*/ 0 h 37"/>
                  <a:gd name="T8" fmla="*/ 227144557 w 46"/>
                  <a:gd name="T9" fmla="*/ 111978171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9"/>
                    </a:moveTo>
                    <a:cubicBezTo>
                      <a:pt x="41" y="29"/>
                      <a:pt x="33" y="37"/>
                      <a:pt x="23" y="37"/>
                    </a:cubicBezTo>
                    <a:cubicBezTo>
                      <a:pt x="13" y="37"/>
                      <a:pt x="4" y="29"/>
                      <a:pt x="4" y="19"/>
                    </a:cubicBezTo>
                    <a:cubicBezTo>
                      <a:pt x="4" y="8"/>
                      <a:pt x="0" y="0"/>
                      <a:pt x="23" y="0"/>
                    </a:cubicBezTo>
                    <a:cubicBezTo>
                      <a:pt x="46" y="0"/>
                      <a:pt x="41" y="8"/>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76" name="Freeform 189">
                <a:extLst>
                  <a:ext uri="{FF2B5EF4-FFF2-40B4-BE49-F238E27FC236}">
                    <a16:creationId xmlns:a16="http://schemas.microsoft.com/office/drawing/2014/main" id="{ABDF5695-B1D6-5D69-D6EA-2D09A60F904D}"/>
                  </a:ext>
                </a:extLst>
              </p:cNvPr>
              <p:cNvSpPr>
                <a:spLocks/>
              </p:cNvSpPr>
              <p:nvPr/>
            </p:nvSpPr>
            <p:spPr bwMode="auto">
              <a:xfrm>
                <a:off x="1889" y="1681"/>
                <a:ext cx="109" cy="87"/>
              </a:xfrm>
              <a:custGeom>
                <a:avLst/>
                <a:gdLst>
                  <a:gd name="T0" fmla="*/ 227144557 w 46"/>
                  <a:gd name="T1" fmla="*/ 86576472 h 37"/>
                  <a:gd name="T2" fmla="*/ 128444626 w 46"/>
                  <a:gd name="T3" fmla="*/ 178921943 h 37"/>
                  <a:gd name="T4" fmla="*/ 27479905 w 46"/>
                  <a:gd name="T5" fmla="*/ 86576472 h 37"/>
                  <a:gd name="T6" fmla="*/ 128444626 w 46"/>
                  <a:gd name="T7" fmla="*/ 0 h 37"/>
                  <a:gd name="T8" fmla="*/ 227144557 w 46"/>
                  <a:gd name="T9" fmla="*/ 86576472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8"/>
                    </a:moveTo>
                    <a:cubicBezTo>
                      <a:pt x="41" y="29"/>
                      <a:pt x="33" y="37"/>
                      <a:pt x="23" y="37"/>
                    </a:cubicBezTo>
                    <a:cubicBezTo>
                      <a:pt x="13" y="37"/>
                      <a:pt x="5" y="29"/>
                      <a:pt x="5" y="18"/>
                    </a:cubicBezTo>
                    <a:cubicBezTo>
                      <a:pt x="5" y="8"/>
                      <a:pt x="0" y="0"/>
                      <a:pt x="23" y="0"/>
                    </a:cubicBezTo>
                    <a:cubicBezTo>
                      <a:pt x="46" y="0"/>
                      <a:pt x="41" y="8"/>
                      <a:pt x="41" y="18"/>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77" name="Freeform 190">
                <a:extLst>
                  <a:ext uri="{FF2B5EF4-FFF2-40B4-BE49-F238E27FC236}">
                    <a16:creationId xmlns:a16="http://schemas.microsoft.com/office/drawing/2014/main" id="{4500584A-BD2B-738D-979A-63FD9FC1695C}"/>
                  </a:ext>
                </a:extLst>
              </p:cNvPr>
              <p:cNvSpPr>
                <a:spLocks/>
              </p:cNvSpPr>
              <p:nvPr/>
            </p:nvSpPr>
            <p:spPr bwMode="auto">
              <a:xfrm>
                <a:off x="1889" y="1804"/>
                <a:ext cx="109" cy="90"/>
              </a:xfrm>
              <a:custGeom>
                <a:avLst/>
                <a:gdLst>
                  <a:gd name="T0" fmla="*/ 227144557 w 46"/>
                  <a:gd name="T1" fmla="*/ 104705974 h 38"/>
                  <a:gd name="T2" fmla="*/ 128444626 w 46"/>
                  <a:gd name="T3" fmla="*/ 208672918 h 38"/>
                  <a:gd name="T4" fmla="*/ 27479905 w 46"/>
                  <a:gd name="T5" fmla="*/ 104705974 h 38"/>
                  <a:gd name="T6" fmla="*/ 128444626 w 46"/>
                  <a:gd name="T7" fmla="*/ 0 h 38"/>
                  <a:gd name="T8" fmla="*/ 227144557 w 46"/>
                  <a:gd name="T9" fmla="*/ 104705974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8">
                    <a:moveTo>
                      <a:pt x="41" y="19"/>
                    </a:moveTo>
                    <a:cubicBezTo>
                      <a:pt x="41" y="29"/>
                      <a:pt x="33" y="38"/>
                      <a:pt x="23" y="38"/>
                    </a:cubicBezTo>
                    <a:cubicBezTo>
                      <a:pt x="13" y="38"/>
                      <a:pt x="5" y="29"/>
                      <a:pt x="5" y="19"/>
                    </a:cubicBezTo>
                    <a:cubicBezTo>
                      <a:pt x="5" y="9"/>
                      <a:pt x="0" y="0"/>
                      <a:pt x="23" y="0"/>
                    </a:cubicBezTo>
                    <a:cubicBezTo>
                      <a:pt x="46" y="0"/>
                      <a:pt x="41" y="9"/>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78" name="Freeform 191">
                <a:extLst>
                  <a:ext uri="{FF2B5EF4-FFF2-40B4-BE49-F238E27FC236}">
                    <a16:creationId xmlns:a16="http://schemas.microsoft.com/office/drawing/2014/main" id="{E539505E-DC29-9B6D-776E-77601BD05C8A}"/>
                  </a:ext>
                </a:extLst>
              </p:cNvPr>
              <p:cNvSpPr>
                <a:spLocks/>
              </p:cNvSpPr>
              <p:nvPr/>
            </p:nvSpPr>
            <p:spPr bwMode="auto">
              <a:xfrm>
                <a:off x="1889" y="1941"/>
                <a:ext cx="109" cy="88"/>
              </a:xfrm>
              <a:custGeom>
                <a:avLst/>
                <a:gdLst>
                  <a:gd name="T0" fmla="*/ 227144557 w 46"/>
                  <a:gd name="T1" fmla="*/ 111978171 h 37"/>
                  <a:gd name="T2" fmla="*/ 128444626 w 46"/>
                  <a:gd name="T3" fmla="*/ 219050121 h 37"/>
                  <a:gd name="T4" fmla="*/ 27479905 w 46"/>
                  <a:gd name="T5" fmla="*/ 111978171 h 37"/>
                  <a:gd name="T6" fmla="*/ 128444626 w 46"/>
                  <a:gd name="T7" fmla="*/ 0 h 37"/>
                  <a:gd name="T8" fmla="*/ 227144557 w 46"/>
                  <a:gd name="T9" fmla="*/ 111978171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9"/>
                    </a:moveTo>
                    <a:cubicBezTo>
                      <a:pt x="41" y="29"/>
                      <a:pt x="33" y="37"/>
                      <a:pt x="23" y="37"/>
                    </a:cubicBezTo>
                    <a:cubicBezTo>
                      <a:pt x="13" y="37"/>
                      <a:pt x="5" y="29"/>
                      <a:pt x="5" y="19"/>
                    </a:cubicBezTo>
                    <a:cubicBezTo>
                      <a:pt x="5" y="8"/>
                      <a:pt x="0" y="0"/>
                      <a:pt x="23" y="0"/>
                    </a:cubicBezTo>
                    <a:cubicBezTo>
                      <a:pt x="46" y="0"/>
                      <a:pt x="41" y="8"/>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79" name="Freeform 192">
                <a:extLst>
                  <a:ext uri="{FF2B5EF4-FFF2-40B4-BE49-F238E27FC236}">
                    <a16:creationId xmlns:a16="http://schemas.microsoft.com/office/drawing/2014/main" id="{FCDBF550-A853-79FF-78A1-784CB483ACBA}"/>
                  </a:ext>
                </a:extLst>
              </p:cNvPr>
              <p:cNvSpPr>
                <a:spLocks/>
              </p:cNvSpPr>
              <p:nvPr/>
            </p:nvSpPr>
            <p:spPr bwMode="auto">
              <a:xfrm>
                <a:off x="1889" y="2064"/>
                <a:ext cx="109" cy="90"/>
              </a:xfrm>
              <a:custGeom>
                <a:avLst/>
                <a:gdLst>
                  <a:gd name="T0" fmla="*/ 227144557 w 46"/>
                  <a:gd name="T1" fmla="*/ 104705974 h 38"/>
                  <a:gd name="T2" fmla="*/ 128444626 w 46"/>
                  <a:gd name="T3" fmla="*/ 208672918 h 38"/>
                  <a:gd name="T4" fmla="*/ 27479905 w 46"/>
                  <a:gd name="T5" fmla="*/ 104705974 h 38"/>
                  <a:gd name="T6" fmla="*/ 128444626 w 46"/>
                  <a:gd name="T7" fmla="*/ 0 h 38"/>
                  <a:gd name="T8" fmla="*/ 227144557 w 46"/>
                  <a:gd name="T9" fmla="*/ 104705974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8">
                    <a:moveTo>
                      <a:pt x="41" y="19"/>
                    </a:moveTo>
                    <a:cubicBezTo>
                      <a:pt x="41" y="29"/>
                      <a:pt x="33" y="38"/>
                      <a:pt x="23" y="38"/>
                    </a:cubicBezTo>
                    <a:cubicBezTo>
                      <a:pt x="13" y="38"/>
                      <a:pt x="5" y="29"/>
                      <a:pt x="5" y="19"/>
                    </a:cubicBezTo>
                    <a:cubicBezTo>
                      <a:pt x="5" y="9"/>
                      <a:pt x="0" y="0"/>
                      <a:pt x="23" y="0"/>
                    </a:cubicBezTo>
                    <a:cubicBezTo>
                      <a:pt x="46" y="0"/>
                      <a:pt x="41" y="9"/>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80" name="Freeform 193">
                <a:extLst>
                  <a:ext uri="{FF2B5EF4-FFF2-40B4-BE49-F238E27FC236}">
                    <a16:creationId xmlns:a16="http://schemas.microsoft.com/office/drawing/2014/main" id="{9F07DBC9-D2B9-1BCD-2CDB-C04215E96687}"/>
                  </a:ext>
                </a:extLst>
              </p:cNvPr>
              <p:cNvSpPr>
                <a:spLocks/>
              </p:cNvSpPr>
              <p:nvPr/>
            </p:nvSpPr>
            <p:spPr bwMode="auto">
              <a:xfrm>
                <a:off x="1889" y="2201"/>
                <a:ext cx="109" cy="88"/>
              </a:xfrm>
              <a:custGeom>
                <a:avLst/>
                <a:gdLst>
                  <a:gd name="T0" fmla="*/ 227144557 w 46"/>
                  <a:gd name="T1" fmla="*/ 111978171 h 37"/>
                  <a:gd name="T2" fmla="*/ 128444626 w 46"/>
                  <a:gd name="T3" fmla="*/ 219050121 h 37"/>
                  <a:gd name="T4" fmla="*/ 27479905 w 46"/>
                  <a:gd name="T5" fmla="*/ 111978171 h 37"/>
                  <a:gd name="T6" fmla="*/ 128444626 w 46"/>
                  <a:gd name="T7" fmla="*/ 0 h 37"/>
                  <a:gd name="T8" fmla="*/ 227144557 w 46"/>
                  <a:gd name="T9" fmla="*/ 111978171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9"/>
                    </a:moveTo>
                    <a:cubicBezTo>
                      <a:pt x="41" y="29"/>
                      <a:pt x="33" y="37"/>
                      <a:pt x="23" y="37"/>
                    </a:cubicBezTo>
                    <a:cubicBezTo>
                      <a:pt x="13" y="37"/>
                      <a:pt x="5" y="29"/>
                      <a:pt x="5" y="19"/>
                    </a:cubicBezTo>
                    <a:cubicBezTo>
                      <a:pt x="5" y="8"/>
                      <a:pt x="0" y="0"/>
                      <a:pt x="23" y="0"/>
                    </a:cubicBezTo>
                    <a:cubicBezTo>
                      <a:pt x="46" y="0"/>
                      <a:pt x="41" y="8"/>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81" name="Freeform 194">
                <a:extLst>
                  <a:ext uri="{FF2B5EF4-FFF2-40B4-BE49-F238E27FC236}">
                    <a16:creationId xmlns:a16="http://schemas.microsoft.com/office/drawing/2014/main" id="{EC57005C-239E-4CEE-DC2E-C7D973B55DFA}"/>
                  </a:ext>
                </a:extLst>
              </p:cNvPr>
              <p:cNvSpPr>
                <a:spLocks/>
              </p:cNvSpPr>
              <p:nvPr/>
            </p:nvSpPr>
            <p:spPr bwMode="auto">
              <a:xfrm>
                <a:off x="1889" y="2327"/>
                <a:ext cx="109" cy="87"/>
              </a:xfrm>
              <a:custGeom>
                <a:avLst/>
                <a:gdLst>
                  <a:gd name="T0" fmla="*/ 227144557 w 46"/>
                  <a:gd name="T1" fmla="*/ 86576472 h 37"/>
                  <a:gd name="T2" fmla="*/ 128444626 w 46"/>
                  <a:gd name="T3" fmla="*/ 178921943 h 37"/>
                  <a:gd name="T4" fmla="*/ 27479905 w 46"/>
                  <a:gd name="T5" fmla="*/ 86576472 h 37"/>
                  <a:gd name="T6" fmla="*/ 128444626 w 46"/>
                  <a:gd name="T7" fmla="*/ 0 h 37"/>
                  <a:gd name="T8" fmla="*/ 227144557 w 46"/>
                  <a:gd name="T9" fmla="*/ 86576472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8"/>
                    </a:moveTo>
                    <a:cubicBezTo>
                      <a:pt x="41" y="29"/>
                      <a:pt x="33" y="37"/>
                      <a:pt x="23" y="37"/>
                    </a:cubicBezTo>
                    <a:cubicBezTo>
                      <a:pt x="13" y="37"/>
                      <a:pt x="5" y="29"/>
                      <a:pt x="5" y="18"/>
                    </a:cubicBezTo>
                    <a:cubicBezTo>
                      <a:pt x="5" y="8"/>
                      <a:pt x="0" y="0"/>
                      <a:pt x="23" y="0"/>
                    </a:cubicBezTo>
                    <a:cubicBezTo>
                      <a:pt x="46" y="0"/>
                      <a:pt x="41" y="8"/>
                      <a:pt x="41" y="18"/>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82" name="Freeform 195">
                <a:extLst>
                  <a:ext uri="{FF2B5EF4-FFF2-40B4-BE49-F238E27FC236}">
                    <a16:creationId xmlns:a16="http://schemas.microsoft.com/office/drawing/2014/main" id="{FD7C7029-985C-2A11-86A0-6113AD01846E}"/>
                  </a:ext>
                </a:extLst>
              </p:cNvPr>
              <p:cNvSpPr>
                <a:spLocks/>
              </p:cNvSpPr>
              <p:nvPr/>
            </p:nvSpPr>
            <p:spPr bwMode="auto">
              <a:xfrm>
                <a:off x="1977" y="1742"/>
                <a:ext cx="109" cy="88"/>
              </a:xfrm>
              <a:custGeom>
                <a:avLst/>
                <a:gdLst>
                  <a:gd name="T0" fmla="*/ 234327340 w 46"/>
                  <a:gd name="T1" fmla="*/ 111978171 h 37"/>
                  <a:gd name="T2" fmla="*/ 128444626 w 46"/>
                  <a:gd name="T3" fmla="*/ 219050121 h 37"/>
                  <a:gd name="T4" fmla="*/ 27479905 w 46"/>
                  <a:gd name="T5" fmla="*/ 111978171 h 37"/>
                  <a:gd name="T6" fmla="*/ 128444626 w 46"/>
                  <a:gd name="T7" fmla="*/ 0 h 37"/>
                  <a:gd name="T8" fmla="*/ 234327340 w 46"/>
                  <a:gd name="T9" fmla="*/ 111978171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2" y="19"/>
                    </a:moveTo>
                    <a:cubicBezTo>
                      <a:pt x="42" y="29"/>
                      <a:pt x="34" y="37"/>
                      <a:pt x="23" y="37"/>
                    </a:cubicBezTo>
                    <a:cubicBezTo>
                      <a:pt x="13" y="37"/>
                      <a:pt x="5" y="29"/>
                      <a:pt x="5" y="19"/>
                    </a:cubicBezTo>
                    <a:cubicBezTo>
                      <a:pt x="5" y="8"/>
                      <a:pt x="0" y="0"/>
                      <a:pt x="23" y="0"/>
                    </a:cubicBezTo>
                    <a:cubicBezTo>
                      <a:pt x="46" y="0"/>
                      <a:pt x="42" y="8"/>
                      <a:pt x="42"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83" name="Freeform 196">
                <a:extLst>
                  <a:ext uri="{FF2B5EF4-FFF2-40B4-BE49-F238E27FC236}">
                    <a16:creationId xmlns:a16="http://schemas.microsoft.com/office/drawing/2014/main" id="{2AE24492-ED11-D22D-B197-2B48112F1EC3}"/>
                  </a:ext>
                </a:extLst>
              </p:cNvPr>
              <p:cNvSpPr>
                <a:spLocks/>
              </p:cNvSpPr>
              <p:nvPr/>
            </p:nvSpPr>
            <p:spPr bwMode="auto">
              <a:xfrm>
                <a:off x="1977" y="1868"/>
                <a:ext cx="109" cy="87"/>
              </a:xfrm>
              <a:custGeom>
                <a:avLst/>
                <a:gdLst>
                  <a:gd name="T0" fmla="*/ 234327340 w 46"/>
                  <a:gd name="T1" fmla="*/ 86576472 h 37"/>
                  <a:gd name="T2" fmla="*/ 128444626 w 46"/>
                  <a:gd name="T3" fmla="*/ 178921943 h 37"/>
                  <a:gd name="T4" fmla="*/ 27479905 w 46"/>
                  <a:gd name="T5" fmla="*/ 86576472 h 37"/>
                  <a:gd name="T6" fmla="*/ 128444626 w 46"/>
                  <a:gd name="T7" fmla="*/ 0 h 37"/>
                  <a:gd name="T8" fmla="*/ 234327340 w 46"/>
                  <a:gd name="T9" fmla="*/ 86576472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2" y="18"/>
                    </a:moveTo>
                    <a:cubicBezTo>
                      <a:pt x="42" y="29"/>
                      <a:pt x="34" y="37"/>
                      <a:pt x="23" y="37"/>
                    </a:cubicBezTo>
                    <a:cubicBezTo>
                      <a:pt x="13" y="37"/>
                      <a:pt x="5" y="29"/>
                      <a:pt x="5" y="18"/>
                    </a:cubicBezTo>
                    <a:cubicBezTo>
                      <a:pt x="5" y="8"/>
                      <a:pt x="0" y="0"/>
                      <a:pt x="23" y="0"/>
                    </a:cubicBezTo>
                    <a:cubicBezTo>
                      <a:pt x="46" y="0"/>
                      <a:pt x="42" y="8"/>
                      <a:pt x="42" y="18"/>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84" name="Freeform 197">
                <a:extLst>
                  <a:ext uri="{FF2B5EF4-FFF2-40B4-BE49-F238E27FC236}">
                    <a16:creationId xmlns:a16="http://schemas.microsoft.com/office/drawing/2014/main" id="{3C572DC7-F902-E3FA-DE4A-B23A3AC5D3F9}"/>
                  </a:ext>
                </a:extLst>
              </p:cNvPr>
              <p:cNvSpPr>
                <a:spLocks/>
              </p:cNvSpPr>
              <p:nvPr/>
            </p:nvSpPr>
            <p:spPr bwMode="auto">
              <a:xfrm>
                <a:off x="1977" y="2003"/>
                <a:ext cx="109" cy="87"/>
              </a:xfrm>
              <a:custGeom>
                <a:avLst/>
                <a:gdLst>
                  <a:gd name="T0" fmla="*/ 234327340 w 46"/>
                  <a:gd name="T1" fmla="*/ 92409030 h 37"/>
                  <a:gd name="T2" fmla="*/ 128444626 w 46"/>
                  <a:gd name="T3" fmla="*/ 178921943 h 37"/>
                  <a:gd name="T4" fmla="*/ 27479905 w 46"/>
                  <a:gd name="T5" fmla="*/ 92409030 h 37"/>
                  <a:gd name="T6" fmla="*/ 128444626 w 46"/>
                  <a:gd name="T7" fmla="*/ 0 h 37"/>
                  <a:gd name="T8" fmla="*/ 234327340 w 46"/>
                  <a:gd name="T9" fmla="*/ 92409030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2" y="19"/>
                    </a:moveTo>
                    <a:cubicBezTo>
                      <a:pt x="42" y="29"/>
                      <a:pt x="34" y="37"/>
                      <a:pt x="23" y="37"/>
                    </a:cubicBezTo>
                    <a:cubicBezTo>
                      <a:pt x="13" y="37"/>
                      <a:pt x="5" y="29"/>
                      <a:pt x="5" y="19"/>
                    </a:cubicBezTo>
                    <a:cubicBezTo>
                      <a:pt x="5" y="9"/>
                      <a:pt x="0" y="0"/>
                      <a:pt x="23" y="0"/>
                    </a:cubicBezTo>
                    <a:cubicBezTo>
                      <a:pt x="46" y="0"/>
                      <a:pt x="42" y="9"/>
                      <a:pt x="42"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85" name="Freeform 198">
                <a:extLst>
                  <a:ext uri="{FF2B5EF4-FFF2-40B4-BE49-F238E27FC236}">
                    <a16:creationId xmlns:a16="http://schemas.microsoft.com/office/drawing/2014/main" id="{DC90F6B0-E083-E96C-06ED-5F3A3B1FDEDF}"/>
                  </a:ext>
                </a:extLst>
              </p:cNvPr>
              <p:cNvSpPr>
                <a:spLocks/>
              </p:cNvSpPr>
              <p:nvPr/>
            </p:nvSpPr>
            <p:spPr bwMode="auto">
              <a:xfrm>
                <a:off x="1977" y="2128"/>
                <a:ext cx="109" cy="88"/>
              </a:xfrm>
              <a:custGeom>
                <a:avLst/>
                <a:gdLst>
                  <a:gd name="T0" fmla="*/ 234327340 w 46"/>
                  <a:gd name="T1" fmla="*/ 107130016 h 37"/>
                  <a:gd name="T2" fmla="*/ 128444626 w 46"/>
                  <a:gd name="T3" fmla="*/ 219050121 h 37"/>
                  <a:gd name="T4" fmla="*/ 27479905 w 46"/>
                  <a:gd name="T5" fmla="*/ 107130016 h 37"/>
                  <a:gd name="T6" fmla="*/ 128444626 w 46"/>
                  <a:gd name="T7" fmla="*/ 0 h 37"/>
                  <a:gd name="T8" fmla="*/ 234327340 w 46"/>
                  <a:gd name="T9" fmla="*/ 107130016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2" y="18"/>
                    </a:moveTo>
                    <a:cubicBezTo>
                      <a:pt x="42" y="29"/>
                      <a:pt x="34" y="37"/>
                      <a:pt x="23" y="37"/>
                    </a:cubicBezTo>
                    <a:cubicBezTo>
                      <a:pt x="13" y="37"/>
                      <a:pt x="5" y="29"/>
                      <a:pt x="5" y="18"/>
                    </a:cubicBezTo>
                    <a:cubicBezTo>
                      <a:pt x="5" y="8"/>
                      <a:pt x="0" y="0"/>
                      <a:pt x="23" y="0"/>
                    </a:cubicBezTo>
                    <a:cubicBezTo>
                      <a:pt x="46" y="0"/>
                      <a:pt x="42" y="8"/>
                      <a:pt x="42" y="18"/>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86" name="Freeform 199">
                <a:extLst>
                  <a:ext uri="{FF2B5EF4-FFF2-40B4-BE49-F238E27FC236}">
                    <a16:creationId xmlns:a16="http://schemas.microsoft.com/office/drawing/2014/main" id="{FCBB97BB-E387-484F-3956-9A5B0685FDA5}"/>
                  </a:ext>
                </a:extLst>
              </p:cNvPr>
              <p:cNvSpPr>
                <a:spLocks/>
              </p:cNvSpPr>
              <p:nvPr/>
            </p:nvSpPr>
            <p:spPr bwMode="auto">
              <a:xfrm>
                <a:off x="1977" y="2263"/>
                <a:ext cx="109" cy="90"/>
              </a:xfrm>
              <a:custGeom>
                <a:avLst/>
                <a:gdLst>
                  <a:gd name="T0" fmla="*/ 234327340 w 46"/>
                  <a:gd name="T1" fmla="*/ 104705974 h 38"/>
                  <a:gd name="T2" fmla="*/ 128444626 w 46"/>
                  <a:gd name="T3" fmla="*/ 208672918 h 38"/>
                  <a:gd name="T4" fmla="*/ 27479905 w 46"/>
                  <a:gd name="T5" fmla="*/ 104705974 h 38"/>
                  <a:gd name="T6" fmla="*/ 128444626 w 46"/>
                  <a:gd name="T7" fmla="*/ 0 h 38"/>
                  <a:gd name="T8" fmla="*/ 234327340 w 46"/>
                  <a:gd name="T9" fmla="*/ 104705974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8">
                    <a:moveTo>
                      <a:pt x="42" y="19"/>
                    </a:moveTo>
                    <a:cubicBezTo>
                      <a:pt x="42" y="29"/>
                      <a:pt x="34" y="38"/>
                      <a:pt x="23" y="38"/>
                    </a:cubicBezTo>
                    <a:cubicBezTo>
                      <a:pt x="13" y="38"/>
                      <a:pt x="5" y="29"/>
                      <a:pt x="5" y="19"/>
                    </a:cubicBezTo>
                    <a:cubicBezTo>
                      <a:pt x="5" y="9"/>
                      <a:pt x="0" y="0"/>
                      <a:pt x="23" y="0"/>
                    </a:cubicBezTo>
                    <a:cubicBezTo>
                      <a:pt x="46" y="0"/>
                      <a:pt x="42" y="9"/>
                      <a:pt x="42"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87" name="Freeform 200">
                <a:extLst>
                  <a:ext uri="{FF2B5EF4-FFF2-40B4-BE49-F238E27FC236}">
                    <a16:creationId xmlns:a16="http://schemas.microsoft.com/office/drawing/2014/main" id="{EE3971B7-D05D-5B0D-22CB-154FF1EB14CD}"/>
                  </a:ext>
                </a:extLst>
              </p:cNvPr>
              <p:cNvSpPr>
                <a:spLocks/>
              </p:cNvSpPr>
              <p:nvPr/>
            </p:nvSpPr>
            <p:spPr bwMode="auto">
              <a:xfrm>
                <a:off x="1977" y="2388"/>
                <a:ext cx="109" cy="88"/>
              </a:xfrm>
              <a:custGeom>
                <a:avLst/>
                <a:gdLst>
                  <a:gd name="T0" fmla="*/ 234327340 w 46"/>
                  <a:gd name="T1" fmla="*/ 111978171 h 37"/>
                  <a:gd name="T2" fmla="*/ 128444626 w 46"/>
                  <a:gd name="T3" fmla="*/ 219050121 h 37"/>
                  <a:gd name="T4" fmla="*/ 27479905 w 46"/>
                  <a:gd name="T5" fmla="*/ 111978171 h 37"/>
                  <a:gd name="T6" fmla="*/ 128444626 w 46"/>
                  <a:gd name="T7" fmla="*/ 0 h 37"/>
                  <a:gd name="T8" fmla="*/ 234327340 w 46"/>
                  <a:gd name="T9" fmla="*/ 111978171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2" y="19"/>
                    </a:moveTo>
                    <a:cubicBezTo>
                      <a:pt x="42" y="29"/>
                      <a:pt x="34" y="37"/>
                      <a:pt x="23" y="37"/>
                    </a:cubicBezTo>
                    <a:cubicBezTo>
                      <a:pt x="13" y="37"/>
                      <a:pt x="5" y="29"/>
                      <a:pt x="5" y="19"/>
                    </a:cubicBezTo>
                    <a:cubicBezTo>
                      <a:pt x="5" y="8"/>
                      <a:pt x="0" y="0"/>
                      <a:pt x="23" y="0"/>
                    </a:cubicBezTo>
                    <a:cubicBezTo>
                      <a:pt x="46" y="0"/>
                      <a:pt x="42" y="8"/>
                      <a:pt x="42"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88" name="Freeform 201">
                <a:extLst>
                  <a:ext uri="{FF2B5EF4-FFF2-40B4-BE49-F238E27FC236}">
                    <a16:creationId xmlns:a16="http://schemas.microsoft.com/office/drawing/2014/main" id="{8406CE7C-4210-FFBD-2722-FC285A341239}"/>
                  </a:ext>
                </a:extLst>
              </p:cNvPr>
              <p:cNvSpPr>
                <a:spLocks/>
              </p:cNvSpPr>
              <p:nvPr/>
            </p:nvSpPr>
            <p:spPr bwMode="auto">
              <a:xfrm>
                <a:off x="2067" y="1681"/>
                <a:ext cx="108" cy="87"/>
              </a:xfrm>
              <a:custGeom>
                <a:avLst/>
                <a:gdLst>
                  <a:gd name="T0" fmla="*/ 191745841 w 46"/>
                  <a:gd name="T1" fmla="*/ 86576472 h 37"/>
                  <a:gd name="T2" fmla="*/ 108208081 w 46"/>
                  <a:gd name="T3" fmla="*/ 178921943 h 37"/>
                  <a:gd name="T4" fmla="*/ 23980754 w 46"/>
                  <a:gd name="T5" fmla="*/ 86576472 h 37"/>
                  <a:gd name="T6" fmla="*/ 108208081 w 46"/>
                  <a:gd name="T7" fmla="*/ 0 h 37"/>
                  <a:gd name="T8" fmla="*/ 191745841 w 46"/>
                  <a:gd name="T9" fmla="*/ 86576472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8"/>
                    </a:moveTo>
                    <a:cubicBezTo>
                      <a:pt x="41" y="29"/>
                      <a:pt x="33" y="37"/>
                      <a:pt x="23" y="37"/>
                    </a:cubicBezTo>
                    <a:cubicBezTo>
                      <a:pt x="13" y="37"/>
                      <a:pt x="5" y="29"/>
                      <a:pt x="5" y="18"/>
                    </a:cubicBezTo>
                    <a:cubicBezTo>
                      <a:pt x="5" y="8"/>
                      <a:pt x="0" y="0"/>
                      <a:pt x="23" y="0"/>
                    </a:cubicBezTo>
                    <a:cubicBezTo>
                      <a:pt x="46" y="0"/>
                      <a:pt x="41" y="8"/>
                      <a:pt x="41" y="18"/>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89" name="Freeform 202">
                <a:extLst>
                  <a:ext uri="{FF2B5EF4-FFF2-40B4-BE49-F238E27FC236}">
                    <a16:creationId xmlns:a16="http://schemas.microsoft.com/office/drawing/2014/main" id="{05D0728A-97F6-6694-C864-01AC1A4F72A4}"/>
                  </a:ext>
                </a:extLst>
              </p:cNvPr>
              <p:cNvSpPr>
                <a:spLocks/>
              </p:cNvSpPr>
              <p:nvPr/>
            </p:nvSpPr>
            <p:spPr bwMode="auto">
              <a:xfrm>
                <a:off x="2067" y="1804"/>
                <a:ext cx="108" cy="90"/>
              </a:xfrm>
              <a:custGeom>
                <a:avLst/>
                <a:gdLst>
                  <a:gd name="T0" fmla="*/ 191745841 w 46"/>
                  <a:gd name="T1" fmla="*/ 104705974 h 38"/>
                  <a:gd name="T2" fmla="*/ 108208081 w 46"/>
                  <a:gd name="T3" fmla="*/ 208672918 h 38"/>
                  <a:gd name="T4" fmla="*/ 23980754 w 46"/>
                  <a:gd name="T5" fmla="*/ 104705974 h 38"/>
                  <a:gd name="T6" fmla="*/ 108208081 w 46"/>
                  <a:gd name="T7" fmla="*/ 0 h 38"/>
                  <a:gd name="T8" fmla="*/ 191745841 w 46"/>
                  <a:gd name="T9" fmla="*/ 104705974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8">
                    <a:moveTo>
                      <a:pt x="41" y="19"/>
                    </a:moveTo>
                    <a:cubicBezTo>
                      <a:pt x="41" y="29"/>
                      <a:pt x="33" y="38"/>
                      <a:pt x="23" y="38"/>
                    </a:cubicBezTo>
                    <a:cubicBezTo>
                      <a:pt x="13" y="38"/>
                      <a:pt x="5" y="29"/>
                      <a:pt x="5" y="19"/>
                    </a:cubicBezTo>
                    <a:cubicBezTo>
                      <a:pt x="5" y="9"/>
                      <a:pt x="0" y="0"/>
                      <a:pt x="23" y="0"/>
                    </a:cubicBezTo>
                    <a:cubicBezTo>
                      <a:pt x="46" y="0"/>
                      <a:pt x="41" y="9"/>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90" name="Freeform 203">
                <a:extLst>
                  <a:ext uri="{FF2B5EF4-FFF2-40B4-BE49-F238E27FC236}">
                    <a16:creationId xmlns:a16="http://schemas.microsoft.com/office/drawing/2014/main" id="{51F901B1-C555-FC0B-FC06-4F9B005DEE84}"/>
                  </a:ext>
                </a:extLst>
              </p:cNvPr>
              <p:cNvSpPr>
                <a:spLocks/>
              </p:cNvSpPr>
              <p:nvPr/>
            </p:nvSpPr>
            <p:spPr bwMode="auto">
              <a:xfrm>
                <a:off x="2067" y="1941"/>
                <a:ext cx="108" cy="88"/>
              </a:xfrm>
              <a:custGeom>
                <a:avLst/>
                <a:gdLst>
                  <a:gd name="T0" fmla="*/ 191745841 w 46"/>
                  <a:gd name="T1" fmla="*/ 111978171 h 37"/>
                  <a:gd name="T2" fmla="*/ 108208081 w 46"/>
                  <a:gd name="T3" fmla="*/ 219050121 h 37"/>
                  <a:gd name="T4" fmla="*/ 23980754 w 46"/>
                  <a:gd name="T5" fmla="*/ 111978171 h 37"/>
                  <a:gd name="T6" fmla="*/ 108208081 w 46"/>
                  <a:gd name="T7" fmla="*/ 0 h 37"/>
                  <a:gd name="T8" fmla="*/ 191745841 w 46"/>
                  <a:gd name="T9" fmla="*/ 111978171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9"/>
                    </a:moveTo>
                    <a:cubicBezTo>
                      <a:pt x="41" y="29"/>
                      <a:pt x="33" y="37"/>
                      <a:pt x="23" y="37"/>
                    </a:cubicBezTo>
                    <a:cubicBezTo>
                      <a:pt x="13" y="37"/>
                      <a:pt x="5" y="29"/>
                      <a:pt x="5" y="19"/>
                    </a:cubicBezTo>
                    <a:cubicBezTo>
                      <a:pt x="5" y="8"/>
                      <a:pt x="0" y="0"/>
                      <a:pt x="23" y="0"/>
                    </a:cubicBezTo>
                    <a:cubicBezTo>
                      <a:pt x="46" y="0"/>
                      <a:pt x="41" y="8"/>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91" name="Freeform 204">
                <a:extLst>
                  <a:ext uri="{FF2B5EF4-FFF2-40B4-BE49-F238E27FC236}">
                    <a16:creationId xmlns:a16="http://schemas.microsoft.com/office/drawing/2014/main" id="{D5E7D21F-EC7C-6086-A8DC-1549E56B03B5}"/>
                  </a:ext>
                </a:extLst>
              </p:cNvPr>
              <p:cNvSpPr>
                <a:spLocks/>
              </p:cNvSpPr>
              <p:nvPr/>
            </p:nvSpPr>
            <p:spPr bwMode="auto">
              <a:xfrm>
                <a:off x="2067" y="2064"/>
                <a:ext cx="108" cy="90"/>
              </a:xfrm>
              <a:custGeom>
                <a:avLst/>
                <a:gdLst>
                  <a:gd name="T0" fmla="*/ 191745841 w 46"/>
                  <a:gd name="T1" fmla="*/ 104705974 h 38"/>
                  <a:gd name="T2" fmla="*/ 108208081 w 46"/>
                  <a:gd name="T3" fmla="*/ 208672918 h 38"/>
                  <a:gd name="T4" fmla="*/ 23980754 w 46"/>
                  <a:gd name="T5" fmla="*/ 104705974 h 38"/>
                  <a:gd name="T6" fmla="*/ 108208081 w 46"/>
                  <a:gd name="T7" fmla="*/ 0 h 38"/>
                  <a:gd name="T8" fmla="*/ 191745841 w 46"/>
                  <a:gd name="T9" fmla="*/ 104705974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8">
                    <a:moveTo>
                      <a:pt x="41" y="19"/>
                    </a:moveTo>
                    <a:cubicBezTo>
                      <a:pt x="41" y="29"/>
                      <a:pt x="33" y="38"/>
                      <a:pt x="23" y="38"/>
                    </a:cubicBezTo>
                    <a:cubicBezTo>
                      <a:pt x="13" y="38"/>
                      <a:pt x="5" y="29"/>
                      <a:pt x="5" y="19"/>
                    </a:cubicBezTo>
                    <a:cubicBezTo>
                      <a:pt x="5" y="9"/>
                      <a:pt x="0" y="0"/>
                      <a:pt x="23" y="0"/>
                    </a:cubicBezTo>
                    <a:cubicBezTo>
                      <a:pt x="46" y="0"/>
                      <a:pt x="41" y="9"/>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25614" name="Freeform 206">
              <a:extLst>
                <a:ext uri="{FF2B5EF4-FFF2-40B4-BE49-F238E27FC236}">
                  <a16:creationId xmlns:a16="http://schemas.microsoft.com/office/drawing/2014/main" id="{F9A61493-4706-BD8D-1235-81F87C0A6B16}"/>
                </a:ext>
              </a:extLst>
            </p:cNvPr>
            <p:cNvSpPr>
              <a:spLocks/>
            </p:cNvSpPr>
            <p:nvPr/>
          </p:nvSpPr>
          <p:spPr bwMode="auto">
            <a:xfrm>
              <a:off x="2067" y="2201"/>
              <a:ext cx="108" cy="88"/>
            </a:xfrm>
            <a:custGeom>
              <a:avLst/>
              <a:gdLst>
                <a:gd name="T0" fmla="*/ 191745841 w 46"/>
                <a:gd name="T1" fmla="*/ 111978171 h 37"/>
                <a:gd name="T2" fmla="*/ 108208081 w 46"/>
                <a:gd name="T3" fmla="*/ 219050121 h 37"/>
                <a:gd name="T4" fmla="*/ 23980754 w 46"/>
                <a:gd name="T5" fmla="*/ 111978171 h 37"/>
                <a:gd name="T6" fmla="*/ 108208081 w 46"/>
                <a:gd name="T7" fmla="*/ 0 h 37"/>
                <a:gd name="T8" fmla="*/ 191745841 w 46"/>
                <a:gd name="T9" fmla="*/ 111978171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9"/>
                  </a:moveTo>
                  <a:cubicBezTo>
                    <a:pt x="41" y="29"/>
                    <a:pt x="33" y="37"/>
                    <a:pt x="23" y="37"/>
                  </a:cubicBezTo>
                  <a:cubicBezTo>
                    <a:pt x="13" y="37"/>
                    <a:pt x="5" y="29"/>
                    <a:pt x="5" y="19"/>
                  </a:cubicBezTo>
                  <a:cubicBezTo>
                    <a:pt x="5" y="8"/>
                    <a:pt x="0" y="0"/>
                    <a:pt x="23" y="0"/>
                  </a:cubicBezTo>
                  <a:cubicBezTo>
                    <a:pt x="46" y="0"/>
                    <a:pt x="41" y="8"/>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15" name="Freeform 207">
              <a:extLst>
                <a:ext uri="{FF2B5EF4-FFF2-40B4-BE49-F238E27FC236}">
                  <a16:creationId xmlns:a16="http://schemas.microsoft.com/office/drawing/2014/main" id="{C5DDAD86-D332-8D89-DFAE-12B1C68DF407}"/>
                </a:ext>
              </a:extLst>
            </p:cNvPr>
            <p:cNvSpPr>
              <a:spLocks/>
            </p:cNvSpPr>
            <p:nvPr/>
          </p:nvSpPr>
          <p:spPr bwMode="auto">
            <a:xfrm>
              <a:off x="2067" y="2327"/>
              <a:ext cx="108" cy="87"/>
            </a:xfrm>
            <a:custGeom>
              <a:avLst/>
              <a:gdLst>
                <a:gd name="T0" fmla="*/ 191745841 w 46"/>
                <a:gd name="T1" fmla="*/ 86576472 h 37"/>
                <a:gd name="T2" fmla="*/ 108208081 w 46"/>
                <a:gd name="T3" fmla="*/ 178921943 h 37"/>
                <a:gd name="T4" fmla="*/ 23980754 w 46"/>
                <a:gd name="T5" fmla="*/ 86576472 h 37"/>
                <a:gd name="T6" fmla="*/ 108208081 w 46"/>
                <a:gd name="T7" fmla="*/ 0 h 37"/>
                <a:gd name="T8" fmla="*/ 191745841 w 46"/>
                <a:gd name="T9" fmla="*/ 86576472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8"/>
                  </a:moveTo>
                  <a:cubicBezTo>
                    <a:pt x="41" y="29"/>
                    <a:pt x="33" y="37"/>
                    <a:pt x="23" y="37"/>
                  </a:cubicBezTo>
                  <a:cubicBezTo>
                    <a:pt x="13" y="37"/>
                    <a:pt x="5" y="29"/>
                    <a:pt x="5" y="18"/>
                  </a:cubicBezTo>
                  <a:cubicBezTo>
                    <a:pt x="5" y="8"/>
                    <a:pt x="0" y="0"/>
                    <a:pt x="23" y="0"/>
                  </a:cubicBezTo>
                  <a:cubicBezTo>
                    <a:pt x="46" y="0"/>
                    <a:pt x="41" y="8"/>
                    <a:pt x="41" y="18"/>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16" name="Freeform 208">
              <a:extLst>
                <a:ext uri="{FF2B5EF4-FFF2-40B4-BE49-F238E27FC236}">
                  <a16:creationId xmlns:a16="http://schemas.microsoft.com/office/drawing/2014/main" id="{994F4902-5D7C-D55B-ACCA-7019E958B47B}"/>
                </a:ext>
              </a:extLst>
            </p:cNvPr>
            <p:cNvSpPr>
              <a:spLocks/>
            </p:cNvSpPr>
            <p:nvPr/>
          </p:nvSpPr>
          <p:spPr bwMode="auto">
            <a:xfrm>
              <a:off x="2154" y="1742"/>
              <a:ext cx="109" cy="88"/>
            </a:xfrm>
            <a:custGeom>
              <a:avLst/>
              <a:gdLst>
                <a:gd name="T0" fmla="*/ 234327340 w 46"/>
                <a:gd name="T1" fmla="*/ 111978171 h 37"/>
                <a:gd name="T2" fmla="*/ 128444626 w 46"/>
                <a:gd name="T3" fmla="*/ 219050121 h 37"/>
                <a:gd name="T4" fmla="*/ 27479905 w 46"/>
                <a:gd name="T5" fmla="*/ 111978171 h 37"/>
                <a:gd name="T6" fmla="*/ 128444626 w 46"/>
                <a:gd name="T7" fmla="*/ 0 h 37"/>
                <a:gd name="T8" fmla="*/ 234327340 w 46"/>
                <a:gd name="T9" fmla="*/ 111978171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2" y="19"/>
                  </a:moveTo>
                  <a:cubicBezTo>
                    <a:pt x="42" y="29"/>
                    <a:pt x="33" y="37"/>
                    <a:pt x="23" y="37"/>
                  </a:cubicBezTo>
                  <a:cubicBezTo>
                    <a:pt x="13" y="37"/>
                    <a:pt x="5" y="29"/>
                    <a:pt x="5" y="19"/>
                  </a:cubicBezTo>
                  <a:cubicBezTo>
                    <a:pt x="5" y="8"/>
                    <a:pt x="0" y="0"/>
                    <a:pt x="23" y="0"/>
                  </a:cubicBezTo>
                  <a:cubicBezTo>
                    <a:pt x="46" y="0"/>
                    <a:pt x="42" y="8"/>
                    <a:pt x="42"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17" name="Freeform 209">
              <a:extLst>
                <a:ext uri="{FF2B5EF4-FFF2-40B4-BE49-F238E27FC236}">
                  <a16:creationId xmlns:a16="http://schemas.microsoft.com/office/drawing/2014/main" id="{57721B19-6038-78A8-7F6F-84C42BF38CF9}"/>
                </a:ext>
              </a:extLst>
            </p:cNvPr>
            <p:cNvSpPr>
              <a:spLocks/>
            </p:cNvSpPr>
            <p:nvPr/>
          </p:nvSpPr>
          <p:spPr bwMode="auto">
            <a:xfrm>
              <a:off x="2154" y="1868"/>
              <a:ext cx="109" cy="87"/>
            </a:xfrm>
            <a:custGeom>
              <a:avLst/>
              <a:gdLst>
                <a:gd name="T0" fmla="*/ 234327340 w 46"/>
                <a:gd name="T1" fmla="*/ 86576472 h 37"/>
                <a:gd name="T2" fmla="*/ 128444626 w 46"/>
                <a:gd name="T3" fmla="*/ 178921943 h 37"/>
                <a:gd name="T4" fmla="*/ 27479905 w 46"/>
                <a:gd name="T5" fmla="*/ 86576472 h 37"/>
                <a:gd name="T6" fmla="*/ 128444626 w 46"/>
                <a:gd name="T7" fmla="*/ 0 h 37"/>
                <a:gd name="T8" fmla="*/ 234327340 w 46"/>
                <a:gd name="T9" fmla="*/ 86576472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2" y="18"/>
                  </a:moveTo>
                  <a:cubicBezTo>
                    <a:pt x="42" y="29"/>
                    <a:pt x="33" y="37"/>
                    <a:pt x="23" y="37"/>
                  </a:cubicBezTo>
                  <a:cubicBezTo>
                    <a:pt x="13" y="37"/>
                    <a:pt x="5" y="29"/>
                    <a:pt x="5" y="18"/>
                  </a:cubicBezTo>
                  <a:cubicBezTo>
                    <a:pt x="5" y="8"/>
                    <a:pt x="0" y="0"/>
                    <a:pt x="23" y="0"/>
                  </a:cubicBezTo>
                  <a:cubicBezTo>
                    <a:pt x="46" y="0"/>
                    <a:pt x="42" y="8"/>
                    <a:pt x="42" y="18"/>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18" name="Freeform 210">
              <a:extLst>
                <a:ext uri="{FF2B5EF4-FFF2-40B4-BE49-F238E27FC236}">
                  <a16:creationId xmlns:a16="http://schemas.microsoft.com/office/drawing/2014/main" id="{E0633229-E180-89E8-4A8E-61A96754DB44}"/>
                </a:ext>
              </a:extLst>
            </p:cNvPr>
            <p:cNvSpPr>
              <a:spLocks/>
            </p:cNvSpPr>
            <p:nvPr/>
          </p:nvSpPr>
          <p:spPr bwMode="auto">
            <a:xfrm>
              <a:off x="2154" y="2003"/>
              <a:ext cx="109" cy="87"/>
            </a:xfrm>
            <a:custGeom>
              <a:avLst/>
              <a:gdLst>
                <a:gd name="T0" fmla="*/ 234327340 w 46"/>
                <a:gd name="T1" fmla="*/ 92409030 h 37"/>
                <a:gd name="T2" fmla="*/ 128444626 w 46"/>
                <a:gd name="T3" fmla="*/ 178921943 h 37"/>
                <a:gd name="T4" fmla="*/ 27479905 w 46"/>
                <a:gd name="T5" fmla="*/ 92409030 h 37"/>
                <a:gd name="T6" fmla="*/ 128444626 w 46"/>
                <a:gd name="T7" fmla="*/ 0 h 37"/>
                <a:gd name="T8" fmla="*/ 234327340 w 46"/>
                <a:gd name="T9" fmla="*/ 92409030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2" y="19"/>
                  </a:moveTo>
                  <a:cubicBezTo>
                    <a:pt x="42" y="29"/>
                    <a:pt x="33" y="37"/>
                    <a:pt x="23" y="37"/>
                  </a:cubicBezTo>
                  <a:cubicBezTo>
                    <a:pt x="13" y="37"/>
                    <a:pt x="5" y="29"/>
                    <a:pt x="5" y="19"/>
                  </a:cubicBezTo>
                  <a:cubicBezTo>
                    <a:pt x="5" y="9"/>
                    <a:pt x="0" y="0"/>
                    <a:pt x="23" y="0"/>
                  </a:cubicBezTo>
                  <a:cubicBezTo>
                    <a:pt x="46" y="0"/>
                    <a:pt x="42" y="9"/>
                    <a:pt x="42"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19" name="Freeform 211">
              <a:extLst>
                <a:ext uri="{FF2B5EF4-FFF2-40B4-BE49-F238E27FC236}">
                  <a16:creationId xmlns:a16="http://schemas.microsoft.com/office/drawing/2014/main" id="{9509F8FC-4B5F-825D-034F-DF9C6FD7CCBB}"/>
                </a:ext>
              </a:extLst>
            </p:cNvPr>
            <p:cNvSpPr>
              <a:spLocks/>
            </p:cNvSpPr>
            <p:nvPr/>
          </p:nvSpPr>
          <p:spPr bwMode="auto">
            <a:xfrm>
              <a:off x="2154" y="2128"/>
              <a:ext cx="109" cy="88"/>
            </a:xfrm>
            <a:custGeom>
              <a:avLst/>
              <a:gdLst>
                <a:gd name="T0" fmla="*/ 234327340 w 46"/>
                <a:gd name="T1" fmla="*/ 107130016 h 37"/>
                <a:gd name="T2" fmla="*/ 128444626 w 46"/>
                <a:gd name="T3" fmla="*/ 219050121 h 37"/>
                <a:gd name="T4" fmla="*/ 27479905 w 46"/>
                <a:gd name="T5" fmla="*/ 107130016 h 37"/>
                <a:gd name="T6" fmla="*/ 128444626 w 46"/>
                <a:gd name="T7" fmla="*/ 0 h 37"/>
                <a:gd name="T8" fmla="*/ 234327340 w 46"/>
                <a:gd name="T9" fmla="*/ 107130016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2" y="18"/>
                  </a:moveTo>
                  <a:cubicBezTo>
                    <a:pt x="42" y="29"/>
                    <a:pt x="33" y="37"/>
                    <a:pt x="23" y="37"/>
                  </a:cubicBezTo>
                  <a:cubicBezTo>
                    <a:pt x="13" y="37"/>
                    <a:pt x="5" y="29"/>
                    <a:pt x="5" y="18"/>
                  </a:cubicBezTo>
                  <a:cubicBezTo>
                    <a:pt x="5" y="8"/>
                    <a:pt x="0" y="0"/>
                    <a:pt x="23" y="0"/>
                  </a:cubicBezTo>
                  <a:cubicBezTo>
                    <a:pt x="46" y="0"/>
                    <a:pt x="42" y="8"/>
                    <a:pt x="42" y="18"/>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20" name="Freeform 212">
              <a:extLst>
                <a:ext uri="{FF2B5EF4-FFF2-40B4-BE49-F238E27FC236}">
                  <a16:creationId xmlns:a16="http://schemas.microsoft.com/office/drawing/2014/main" id="{0EB43B31-E862-2DDA-5259-7243F35F8324}"/>
                </a:ext>
              </a:extLst>
            </p:cNvPr>
            <p:cNvSpPr>
              <a:spLocks/>
            </p:cNvSpPr>
            <p:nvPr/>
          </p:nvSpPr>
          <p:spPr bwMode="auto">
            <a:xfrm>
              <a:off x="2154" y="2263"/>
              <a:ext cx="109" cy="90"/>
            </a:xfrm>
            <a:custGeom>
              <a:avLst/>
              <a:gdLst>
                <a:gd name="T0" fmla="*/ 234327340 w 46"/>
                <a:gd name="T1" fmla="*/ 104705974 h 38"/>
                <a:gd name="T2" fmla="*/ 128444626 w 46"/>
                <a:gd name="T3" fmla="*/ 208672918 h 38"/>
                <a:gd name="T4" fmla="*/ 27479905 w 46"/>
                <a:gd name="T5" fmla="*/ 104705974 h 38"/>
                <a:gd name="T6" fmla="*/ 128444626 w 46"/>
                <a:gd name="T7" fmla="*/ 0 h 38"/>
                <a:gd name="T8" fmla="*/ 234327340 w 46"/>
                <a:gd name="T9" fmla="*/ 104705974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8">
                  <a:moveTo>
                    <a:pt x="42" y="19"/>
                  </a:moveTo>
                  <a:cubicBezTo>
                    <a:pt x="42" y="29"/>
                    <a:pt x="33" y="38"/>
                    <a:pt x="23" y="38"/>
                  </a:cubicBezTo>
                  <a:cubicBezTo>
                    <a:pt x="13" y="38"/>
                    <a:pt x="5" y="29"/>
                    <a:pt x="5" y="19"/>
                  </a:cubicBezTo>
                  <a:cubicBezTo>
                    <a:pt x="5" y="9"/>
                    <a:pt x="0" y="0"/>
                    <a:pt x="23" y="0"/>
                  </a:cubicBezTo>
                  <a:cubicBezTo>
                    <a:pt x="46" y="0"/>
                    <a:pt x="42" y="9"/>
                    <a:pt x="42"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21" name="Freeform 213">
              <a:extLst>
                <a:ext uri="{FF2B5EF4-FFF2-40B4-BE49-F238E27FC236}">
                  <a16:creationId xmlns:a16="http://schemas.microsoft.com/office/drawing/2014/main" id="{399FDB4E-AA58-BC3C-20ED-6A5DC1932299}"/>
                </a:ext>
              </a:extLst>
            </p:cNvPr>
            <p:cNvSpPr>
              <a:spLocks/>
            </p:cNvSpPr>
            <p:nvPr/>
          </p:nvSpPr>
          <p:spPr bwMode="auto">
            <a:xfrm>
              <a:off x="2154" y="2388"/>
              <a:ext cx="109" cy="88"/>
            </a:xfrm>
            <a:custGeom>
              <a:avLst/>
              <a:gdLst>
                <a:gd name="T0" fmla="*/ 234327340 w 46"/>
                <a:gd name="T1" fmla="*/ 111978171 h 37"/>
                <a:gd name="T2" fmla="*/ 128444626 w 46"/>
                <a:gd name="T3" fmla="*/ 219050121 h 37"/>
                <a:gd name="T4" fmla="*/ 27479905 w 46"/>
                <a:gd name="T5" fmla="*/ 111978171 h 37"/>
                <a:gd name="T6" fmla="*/ 128444626 w 46"/>
                <a:gd name="T7" fmla="*/ 0 h 37"/>
                <a:gd name="T8" fmla="*/ 234327340 w 46"/>
                <a:gd name="T9" fmla="*/ 111978171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2" y="19"/>
                  </a:moveTo>
                  <a:cubicBezTo>
                    <a:pt x="42" y="29"/>
                    <a:pt x="33" y="37"/>
                    <a:pt x="23" y="37"/>
                  </a:cubicBezTo>
                  <a:cubicBezTo>
                    <a:pt x="13" y="37"/>
                    <a:pt x="5" y="29"/>
                    <a:pt x="5" y="19"/>
                  </a:cubicBezTo>
                  <a:cubicBezTo>
                    <a:pt x="5" y="8"/>
                    <a:pt x="0" y="0"/>
                    <a:pt x="23" y="0"/>
                  </a:cubicBezTo>
                  <a:cubicBezTo>
                    <a:pt x="46" y="0"/>
                    <a:pt x="42" y="8"/>
                    <a:pt x="42"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22" name="Freeform 214">
              <a:extLst>
                <a:ext uri="{FF2B5EF4-FFF2-40B4-BE49-F238E27FC236}">
                  <a16:creationId xmlns:a16="http://schemas.microsoft.com/office/drawing/2014/main" id="{11702915-DE20-52CF-8351-D332FB3CD476}"/>
                </a:ext>
              </a:extLst>
            </p:cNvPr>
            <p:cNvSpPr>
              <a:spLocks/>
            </p:cNvSpPr>
            <p:nvPr/>
          </p:nvSpPr>
          <p:spPr bwMode="auto">
            <a:xfrm>
              <a:off x="2244" y="1681"/>
              <a:ext cx="109" cy="87"/>
            </a:xfrm>
            <a:custGeom>
              <a:avLst/>
              <a:gdLst>
                <a:gd name="T0" fmla="*/ 227144557 w 46"/>
                <a:gd name="T1" fmla="*/ 86576472 h 37"/>
                <a:gd name="T2" fmla="*/ 128444626 w 46"/>
                <a:gd name="T3" fmla="*/ 178921943 h 37"/>
                <a:gd name="T4" fmla="*/ 20776729 w 46"/>
                <a:gd name="T5" fmla="*/ 86576472 h 37"/>
                <a:gd name="T6" fmla="*/ 128444626 w 46"/>
                <a:gd name="T7" fmla="*/ 0 h 37"/>
                <a:gd name="T8" fmla="*/ 227144557 w 46"/>
                <a:gd name="T9" fmla="*/ 86576472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8"/>
                  </a:moveTo>
                  <a:cubicBezTo>
                    <a:pt x="41" y="29"/>
                    <a:pt x="33" y="37"/>
                    <a:pt x="23" y="37"/>
                  </a:cubicBezTo>
                  <a:cubicBezTo>
                    <a:pt x="12" y="37"/>
                    <a:pt x="4" y="29"/>
                    <a:pt x="4" y="18"/>
                  </a:cubicBezTo>
                  <a:cubicBezTo>
                    <a:pt x="4" y="8"/>
                    <a:pt x="0" y="0"/>
                    <a:pt x="23" y="0"/>
                  </a:cubicBezTo>
                  <a:cubicBezTo>
                    <a:pt x="46" y="0"/>
                    <a:pt x="41" y="8"/>
                    <a:pt x="41" y="18"/>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23" name="Freeform 215">
              <a:extLst>
                <a:ext uri="{FF2B5EF4-FFF2-40B4-BE49-F238E27FC236}">
                  <a16:creationId xmlns:a16="http://schemas.microsoft.com/office/drawing/2014/main" id="{D1775667-57BE-D0FC-428B-4BBA6C974E1D}"/>
                </a:ext>
              </a:extLst>
            </p:cNvPr>
            <p:cNvSpPr>
              <a:spLocks/>
            </p:cNvSpPr>
            <p:nvPr/>
          </p:nvSpPr>
          <p:spPr bwMode="auto">
            <a:xfrm>
              <a:off x="2244" y="1804"/>
              <a:ext cx="109" cy="90"/>
            </a:xfrm>
            <a:custGeom>
              <a:avLst/>
              <a:gdLst>
                <a:gd name="T0" fmla="*/ 227144557 w 46"/>
                <a:gd name="T1" fmla="*/ 104705974 h 38"/>
                <a:gd name="T2" fmla="*/ 128444626 w 46"/>
                <a:gd name="T3" fmla="*/ 208672918 h 38"/>
                <a:gd name="T4" fmla="*/ 20776729 w 46"/>
                <a:gd name="T5" fmla="*/ 104705974 h 38"/>
                <a:gd name="T6" fmla="*/ 128444626 w 46"/>
                <a:gd name="T7" fmla="*/ 0 h 38"/>
                <a:gd name="T8" fmla="*/ 227144557 w 46"/>
                <a:gd name="T9" fmla="*/ 104705974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8">
                  <a:moveTo>
                    <a:pt x="41" y="19"/>
                  </a:moveTo>
                  <a:cubicBezTo>
                    <a:pt x="41" y="29"/>
                    <a:pt x="33" y="38"/>
                    <a:pt x="23" y="38"/>
                  </a:cubicBezTo>
                  <a:cubicBezTo>
                    <a:pt x="12" y="38"/>
                    <a:pt x="4" y="29"/>
                    <a:pt x="4" y="19"/>
                  </a:cubicBezTo>
                  <a:cubicBezTo>
                    <a:pt x="4" y="9"/>
                    <a:pt x="0" y="0"/>
                    <a:pt x="23" y="0"/>
                  </a:cubicBezTo>
                  <a:cubicBezTo>
                    <a:pt x="46" y="0"/>
                    <a:pt x="41" y="9"/>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24" name="Freeform 216">
              <a:extLst>
                <a:ext uri="{FF2B5EF4-FFF2-40B4-BE49-F238E27FC236}">
                  <a16:creationId xmlns:a16="http://schemas.microsoft.com/office/drawing/2014/main" id="{E2A8668B-5885-5EF6-B857-C6B9A031445B}"/>
                </a:ext>
              </a:extLst>
            </p:cNvPr>
            <p:cNvSpPr>
              <a:spLocks/>
            </p:cNvSpPr>
            <p:nvPr/>
          </p:nvSpPr>
          <p:spPr bwMode="auto">
            <a:xfrm>
              <a:off x="2244" y="1941"/>
              <a:ext cx="109" cy="88"/>
            </a:xfrm>
            <a:custGeom>
              <a:avLst/>
              <a:gdLst>
                <a:gd name="T0" fmla="*/ 227144557 w 46"/>
                <a:gd name="T1" fmla="*/ 111978171 h 37"/>
                <a:gd name="T2" fmla="*/ 128444626 w 46"/>
                <a:gd name="T3" fmla="*/ 219050121 h 37"/>
                <a:gd name="T4" fmla="*/ 20776729 w 46"/>
                <a:gd name="T5" fmla="*/ 111978171 h 37"/>
                <a:gd name="T6" fmla="*/ 128444626 w 46"/>
                <a:gd name="T7" fmla="*/ 0 h 37"/>
                <a:gd name="T8" fmla="*/ 227144557 w 46"/>
                <a:gd name="T9" fmla="*/ 111978171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9"/>
                  </a:moveTo>
                  <a:cubicBezTo>
                    <a:pt x="41" y="29"/>
                    <a:pt x="33" y="37"/>
                    <a:pt x="23" y="37"/>
                  </a:cubicBezTo>
                  <a:cubicBezTo>
                    <a:pt x="12" y="37"/>
                    <a:pt x="4" y="29"/>
                    <a:pt x="4" y="19"/>
                  </a:cubicBezTo>
                  <a:cubicBezTo>
                    <a:pt x="4" y="8"/>
                    <a:pt x="0" y="0"/>
                    <a:pt x="23" y="0"/>
                  </a:cubicBezTo>
                  <a:cubicBezTo>
                    <a:pt x="46" y="0"/>
                    <a:pt x="41" y="8"/>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25" name="Freeform 217">
              <a:extLst>
                <a:ext uri="{FF2B5EF4-FFF2-40B4-BE49-F238E27FC236}">
                  <a16:creationId xmlns:a16="http://schemas.microsoft.com/office/drawing/2014/main" id="{4D93A645-A3A7-C850-6604-F9DB5CF68A4C}"/>
                </a:ext>
              </a:extLst>
            </p:cNvPr>
            <p:cNvSpPr>
              <a:spLocks/>
            </p:cNvSpPr>
            <p:nvPr/>
          </p:nvSpPr>
          <p:spPr bwMode="auto">
            <a:xfrm>
              <a:off x="2244" y="2064"/>
              <a:ext cx="109" cy="90"/>
            </a:xfrm>
            <a:custGeom>
              <a:avLst/>
              <a:gdLst>
                <a:gd name="T0" fmla="*/ 227144557 w 46"/>
                <a:gd name="T1" fmla="*/ 104705974 h 38"/>
                <a:gd name="T2" fmla="*/ 128444626 w 46"/>
                <a:gd name="T3" fmla="*/ 208672918 h 38"/>
                <a:gd name="T4" fmla="*/ 20776729 w 46"/>
                <a:gd name="T5" fmla="*/ 104705974 h 38"/>
                <a:gd name="T6" fmla="*/ 128444626 w 46"/>
                <a:gd name="T7" fmla="*/ 0 h 38"/>
                <a:gd name="T8" fmla="*/ 227144557 w 46"/>
                <a:gd name="T9" fmla="*/ 104705974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8">
                  <a:moveTo>
                    <a:pt x="41" y="19"/>
                  </a:moveTo>
                  <a:cubicBezTo>
                    <a:pt x="41" y="29"/>
                    <a:pt x="33" y="38"/>
                    <a:pt x="23" y="38"/>
                  </a:cubicBezTo>
                  <a:cubicBezTo>
                    <a:pt x="12" y="38"/>
                    <a:pt x="4" y="29"/>
                    <a:pt x="4" y="19"/>
                  </a:cubicBezTo>
                  <a:cubicBezTo>
                    <a:pt x="4" y="9"/>
                    <a:pt x="0" y="0"/>
                    <a:pt x="23" y="0"/>
                  </a:cubicBezTo>
                  <a:cubicBezTo>
                    <a:pt x="46" y="0"/>
                    <a:pt x="41" y="9"/>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26" name="Freeform 218">
              <a:extLst>
                <a:ext uri="{FF2B5EF4-FFF2-40B4-BE49-F238E27FC236}">
                  <a16:creationId xmlns:a16="http://schemas.microsoft.com/office/drawing/2014/main" id="{2792ED34-9C21-315E-C691-C4C35B64D799}"/>
                </a:ext>
              </a:extLst>
            </p:cNvPr>
            <p:cNvSpPr>
              <a:spLocks/>
            </p:cNvSpPr>
            <p:nvPr/>
          </p:nvSpPr>
          <p:spPr bwMode="auto">
            <a:xfrm>
              <a:off x="2244" y="2201"/>
              <a:ext cx="109" cy="88"/>
            </a:xfrm>
            <a:custGeom>
              <a:avLst/>
              <a:gdLst>
                <a:gd name="T0" fmla="*/ 227144557 w 46"/>
                <a:gd name="T1" fmla="*/ 111978171 h 37"/>
                <a:gd name="T2" fmla="*/ 128444626 w 46"/>
                <a:gd name="T3" fmla="*/ 219050121 h 37"/>
                <a:gd name="T4" fmla="*/ 20776729 w 46"/>
                <a:gd name="T5" fmla="*/ 111978171 h 37"/>
                <a:gd name="T6" fmla="*/ 128444626 w 46"/>
                <a:gd name="T7" fmla="*/ 0 h 37"/>
                <a:gd name="T8" fmla="*/ 227144557 w 46"/>
                <a:gd name="T9" fmla="*/ 111978171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9"/>
                  </a:moveTo>
                  <a:cubicBezTo>
                    <a:pt x="41" y="29"/>
                    <a:pt x="33" y="37"/>
                    <a:pt x="23" y="37"/>
                  </a:cubicBezTo>
                  <a:cubicBezTo>
                    <a:pt x="12" y="37"/>
                    <a:pt x="4" y="29"/>
                    <a:pt x="4" y="19"/>
                  </a:cubicBezTo>
                  <a:cubicBezTo>
                    <a:pt x="4" y="8"/>
                    <a:pt x="0" y="0"/>
                    <a:pt x="23" y="0"/>
                  </a:cubicBezTo>
                  <a:cubicBezTo>
                    <a:pt x="46" y="0"/>
                    <a:pt x="41" y="8"/>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27" name="Freeform 219">
              <a:extLst>
                <a:ext uri="{FF2B5EF4-FFF2-40B4-BE49-F238E27FC236}">
                  <a16:creationId xmlns:a16="http://schemas.microsoft.com/office/drawing/2014/main" id="{5AA78F15-026E-EB03-EF71-33CECB60AD59}"/>
                </a:ext>
              </a:extLst>
            </p:cNvPr>
            <p:cNvSpPr>
              <a:spLocks/>
            </p:cNvSpPr>
            <p:nvPr/>
          </p:nvSpPr>
          <p:spPr bwMode="auto">
            <a:xfrm>
              <a:off x="2244" y="2327"/>
              <a:ext cx="109" cy="87"/>
            </a:xfrm>
            <a:custGeom>
              <a:avLst/>
              <a:gdLst>
                <a:gd name="T0" fmla="*/ 227144557 w 46"/>
                <a:gd name="T1" fmla="*/ 86576472 h 37"/>
                <a:gd name="T2" fmla="*/ 128444626 w 46"/>
                <a:gd name="T3" fmla="*/ 178921943 h 37"/>
                <a:gd name="T4" fmla="*/ 20776729 w 46"/>
                <a:gd name="T5" fmla="*/ 86576472 h 37"/>
                <a:gd name="T6" fmla="*/ 128444626 w 46"/>
                <a:gd name="T7" fmla="*/ 0 h 37"/>
                <a:gd name="T8" fmla="*/ 227144557 w 46"/>
                <a:gd name="T9" fmla="*/ 86576472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8"/>
                  </a:moveTo>
                  <a:cubicBezTo>
                    <a:pt x="41" y="29"/>
                    <a:pt x="33" y="37"/>
                    <a:pt x="23" y="37"/>
                  </a:cubicBezTo>
                  <a:cubicBezTo>
                    <a:pt x="12" y="37"/>
                    <a:pt x="4" y="29"/>
                    <a:pt x="4" y="18"/>
                  </a:cubicBezTo>
                  <a:cubicBezTo>
                    <a:pt x="4" y="8"/>
                    <a:pt x="0" y="0"/>
                    <a:pt x="23" y="0"/>
                  </a:cubicBezTo>
                  <a:cubicBezTo>
                    <a:pt x="46" y="0"/>
                    <a:pt x="41" y="8"/>
                    <a:pt x="41" y="18"/>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28" name="Freeform 220">
              <a:extLst>
                <a:ext uri="{FF2B5EF4-FFF2-40B4-BE49-F238E27FC236}">
                  <a16:creationId xmlns:a16="http://schemas.microsoft.com/office/drawing/2014/main" id="{93880C83-C3F5-3012-8B65-EC961576EFC4}"/>
                </a:ext>
              </a:extLst>
            </p:cNvPr>
            <p:cNvSpPr>
              <a:spLocks/>
            </p:cNvSpPr>
            <p:nvPr/>
          </p:nvSpPr>
          <p:spPr bwMode="auto">
            <a:xfrm>
              <a:off x="2331" y="1742"/>
              <a:ext cx="109" cy="88"/>
            </a:xfrm>
            <a:custGeom>
              <a:avLst/>
              <a:gdLst>
                <a:gd name="T0" fmla="*/ 227144557 w 46"/>
                <a:gd name="T1" fmla="*/ 111978171 h 37"/>
                <a:gd name="T2" fmla="*/ 128444626 w 46"/>
                <a:gd name="T3" fmla="*/ 219050121 h 37"/>
                <a:gd name="T4" fmla="*/ 27479905 w 46"/>
                <a:gd name="T5" fmla="*/ 111978171 h 37"/>
                <a:gd name="T6" fmla="*/ 128444626 w 46"/>
                <a:gd name="T7" fmla="*/ 0 h 37"/>
                <a:gd name="T8" fmla="*/ 227144557 w 46"/>
                <a:gd name="T9" fmla="*/ 111978171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9"/>
                  </a:moveTo>
                  <a:cubicBezTo>
                    <a:pt x="41" y="29"/>
                    <a:pt x="33" y="37"/>
                    <a:pt x="23" y="37"/>
                  </a:cubicBezTo>
                  <a:cubicBezTo>
                    <a:pt x="13" y="37"/>
                    <a:pt x="5" y="29"/>
                    <a:pt x="5" y="19"/>
                  </a:cubicBezTo>
                  <a:cubicBezTo>
                    <a:pt x="5" y="8"/>
                    <a:pt x="0" y="0"/>
                    <a:pt x="23" y="0"/>
                  </a:cubicBezTo>
                  <a:cubicBezTo>
                    <a:pt x="46" y="0"/>
                    <a:pt x="41" y="8"/>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29" name="Freeform 221">
              <a:extLst>
                <a:ext uri="{FF2B5EF4-FFF2-40B4-BE49-F238E27FC236}">
                  <a16:creationId xmlns:a16="http://schemas.microsoft.com/office/drawing/2014/main" id="{37208642-A973-A291-1CD4-A910F71E1EE6}"/>
                </a:ext>
              </a:extLst>
            </p:cNvPr>
            <p:cNvSpPr>
              <a:spLocks/>
            </p:cNvSpPr>
            <p:nvPr/>
          </p:nvSpPr>
          <p:spPr bwMode="auto">
            <a:xfrm>
              <a:off x="2331" y="1868"/>
              <a:ext cx="109" cy="87"/>
            </a:xfrm>
            <a:custGeom>
              <a:avLst/>
              <a:gdLst>
                <a:gd name="T0" fmla="*/ 227144557 w 46"/>
                <a:gd name="T1" fmla="*/ 86576472 h 37"/>
                <a:gd name="T2" fmla="*/ 128444626 w 46"/>
                <a:gd name="T3" fmla="*/ 178921943 h 37"/>
                <a:gd name="T4" fmla="*/ 27479905 w 46"/>
                <a:gd name="T5" fmla="*/ 86576472 h 37"/>
                <a:gd name="T6" fmla="*/ 128444626 w 46"/>
                <a:gd name="T7" fmla="*/ 0 h 37"/>
                <a:gd name="T8" fmla="*/ 227144557 w 46"/>
                <a:gd name="T9" fmla="*/ 86576472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8"/>
                  </a:moveTo>
                  <a:cubicBezTo>
                    <a:pt x="41" y="29"/>
                    <a:pt x="33" y="37"/>
                    <a:pt x="23" y="37"/>
                  </a:cubicBezTo>
                  <a:cubicBezTo>
                    <a:pt x="13" y="37"/>
                    <a:pt x="5" y="29"/>
                    <a:pt x="5" y="18"/>
                  </a:cubicBezTo>
                  <a:cubicBezTo>
                    <a:pt x="5" y="8"/>
                    <a:pt x="0" y="0"/>
                    <a:pt x="23" y="0"/>
                  </a:cubicBezTo>
                  <a:cubicBezTo>
                    <a:pt x="46" y="0"/>
                    <a:pt x="41" y="8"/>
                    <a:pt x="41" y="18"/>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30" name="Freeform 222">
              <a:extLst>
                <a:ext uri="{FF2B5EF4-FFF2-40B4-BE49-F238E27FC236}">
                  <a16:creationId xmlns:a16="http://schemas.microsoft.com/office/drawing/2014/main" id="{E95AE11F-7385-17FD-85E1-80A14F44FE47}"/>
                </a:ext>
              </a:extLst>
            </p:cNvPr>
            <p:cNvSpPr>
              <a:spLocks/>
            </p:cNvSpPr>
            <p:nvPr/>
          </p:nvSpPr>
          <p:spPr bwMode="auto">
            <a:xfrm>
              <a:off x="2331" y="2003"/>
              <a:ext cx="109" cy="87"/>
            </a:xfrm>
            <a:custGeom>
              <a:avLst/>
              <a:gdLst>
                <a:gd name="T0" fmla="*/ 227144557 w 46"/>
                <a:gd name="T1" fmla="*/ 92409030 h 37"/>
                <a:gd name="T2" fmla="*/ 128444626 w 46"/>
                <a:gd name="T3" fmla="*/ 178921943 h 37"/>
                <a:gd name="T4" fmla="*/ 27479905 w 46"/>
                <a:gd name="T5" fmla="*/ 92409030 h 37"/>
                <a:gd name="T6" fmla="*/ 128444626 w 46"/>
                <a:gd name="T7" fmla="*/ 0 h 37"/>
                <a:gd name="T8" fmla="*/ 227144557 w 46"/>
                <a:gd name="T9" fmla="*/ 92409030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9"/>
                  </a:moveTo>
                  <a:cubicBezTo>
                    <a:pt x="41" y="29"/>
                    <a:pt x="33" y="37"/>
                    <a:pt x="23" y="37"/>
                  </a:cubicBezTo>
                  <a:cubicBezTo>
                    <a:pt x="13" y="37"/>
                    <a:pt x="5" y="29"/>
                    <a:pt x="5" y="19"/>
                  </a:cubicBezTo>
                  <a:cubicBezTo>
                    <a:pt x="5" y="9"/>
                    <a:pt x="0" y="0"/>
                    <a:pt x="23" y="0"/>
                  </a:cubicBezTo>
                  <a:cubicBezTo>
                    <a:pt x="46" y="0"/>
                    <a:pt x="41" y="9"/>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31" name="Freeform 223">
              <a:extLst>
                <a:ext uri="{FF2B5EF4-FFF2-40B4-BE49-F238E27FC236}">
                  <a16:creationId xmlns:a16="http://schemas.microsoft.com/office/drawing/2014/main" id="{73781617-C596-841B-7502-581FAED3D81C}"/>
                </a:ext>
              </a:extLst>
            </p:cNvPr>
            <p:cNvSpPr>
              <a:spLocks/>
            </p:cNvSpPr>
            <p:nvPr/>
          </p:nvSpPr>
          <p:spPr bwMode="auto">
            <a:xfrm>
              <a:off x="2331" y="2128"/>
              <a:ext cx="109" cy="88"/>
            </a:xfrm>
            <a:custGeom>
              <a:avLst/>
              <a:gdLst>
                <a:gd name="T0" fmla="*/ 227144557 w 46"/>
                <a:gd name="T1" fmla="*/ 107130016 h 37"/>
                <a:gd name="T2" fmla="*/ 128444626 w 46"/>
                <a:gd name="T3" fmla="*/ 219050121 h 37"/>
                <a:gd name="T4" fmla="*/ 27479905 w 46"/>
                <a:gd name="T5" fmla="*/ 107130016 h 37"/>
                <a:gd name="T6" fmla="*/ 128444626 w 46"/>
                <a:gd name="T7" fmla="*/ 0 h 37"/>
                <a:gd name="T8" fmla="*/ 227144557 w 46"/>
                <a:gd name="T9" fmla="*/ 107130016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8"/>
                  </a:moveTo>
                  <a:cubicBezTo>
                    <a:pt x="41" y="29"/>
                    <a:pt x="33" y="37"/>
                    <a:pt x="23" y="37"/>
                  </a:cubicBezTo>
                  <a:cubicBezTo>
                    <a:pt x="13" y="37"/>
                    <a:pt x="5" y="29"/>
                    <a:pt x="5" y="18"/>
                  </a:cubicBezTo>
                  <a:cubicBezTo>
                    <a:pt x="5" y="8"/>
                    <a:pt x="0" y="0"/>
                    <a:pt x="23" y="0"/>
                  </a:cubicBezTo>
                  <a:cubicBezTo>
                    <a:pt x="46" y="0"/>
                    <a:pt x="41" y="8"/>
                    <a:pt x="41" y="18"/>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32" name="Freeform 224">
              <a:extLst>
                <a:ext uri="{FF2B5EF4-FFF2-40B4-BE49-F238E27FC236}">
                  <a16:creationId xmlns:a16="http://schemas.microsoft.com/office/drawing/2014/main" id="{6927B5ED-401B-6866-1308-56441C7A9450}"/>
                </a:ext>
              </a:extLst>
            </p:cNvPr>
            <p:cNvSpPr>
              <a:spLocks/>
            </p:cNvSpPr>
            <p:nvPr/>
          </p:nvSpPr>
          <p:spPr bwMode="auto">
            <a:xfrm>
              <a:off x="2331" y="2263"/>
              <a:ext cx="109" cy="90"/>
            </a:xfrm>
            <a:custGeom>
              <a:avLst/>
              <a:gdLst>
                <a:gd name="T0" fmla="*/ 227144557 w 46"/>
                <a:gd name="T1" fmla="*/ 104705974 h 38"/>
                <a:gd name="T2" fmla="*/ 128444626 w 46"/>
                <a:gd name="T3" fmla="*/ 208672918 h 38"/>
                <a:gd name="T4" fmla="*/ 27479905 w 46"/>
                <a:gd name="T5" fmla="*/ 104705974 h 38"/>
                <a:gd name="T6" fmla="*/ 128444626 w 46"/>
                <a:gd name="T7" fmla="*/ 0 h 38"/>
                <a:gd name="T8" fmla="*/ 227144557 w 46"/>
                <a:gd name="T9" fmla="*/ 104705974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8">
                  <a:moveTo>
                    <a:pt x="41" y="19"/>
                  </a:moveTo>
                  <a:cubicBezTo>
                    <a:pt x="41" y="29"/>
                    <a:pt x="33" y="38"/>
                    <a:pt x="23" y="38"/>
                  </a:cubicBezTo>
                  <a:cubicBezTo>
                    <a:pt x="13" y="38"/>
                    <a:pt x="5" y="29"/>
                    <a:pt x="5" y="19"/>
                  </a:cubicBezTo>
                  <a:cubicBezTo>
                    <a:pt x="5" y="9"/>
                    <a:pt x="0" y="0"/>
                    <a:pt x="23" y="0"/>
                  </a:cubicBezTo>
                  <a:cubicBezTo>
                    <a:pt x="46" y="0"/>
                    <a:pt x="41" y="9"/>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33" name="Freeform 225">
              <a:extLst>
                <a:ext uri="{FF2B5EF4-FFF2-40B4-BE49-F238E27FC236}">
                  <a16:creationId xmlns:a16="http://schemas.microsoft.com/office/drawing/2014/main" id="{D7A8B14F-04FD-C12F-B65B-9393FC9C871D}"/>
                </a:ext>
              </a:extLst>
            </p:cNvPr>
            <p:cNvSpPr>
              <a:spLocks/>
            </p:cNvSpPr>
            <p:nvPr/>
          </p:nvSpPr>
          <p:spPr bwMode="auto">
            <a:xfrm>
              <a:off x="2331" y="2388"/>
              <a:ext cx="109" cy="88"/>
            </a:xfrm>
            <a:custGeom>
              <a:avLst/>
              <a:gdLst>
                <a:gd name="T0" fmla="*/ 227144557 w 46"/>
                <a:gd name="T1" fmla="*/ 111978171 h 37"/>
                <a:gd name="T2" fmla="*/ 128444626 w 46"/>
                <a:gd name="T3" fmla="*/ 219050121 h 37"/>
                <a:gd name="T4" fmla="*/ 27479905 w 46"/>
                <a:gd name="T5" fmla="*/ 111978171 h 37"/>
                <a:gd name="T6" fmla="*/ 128444626 w 46"/>
                <a:gd name="T7" fmla="*/ 0 h 37"/>
                <a:gd name="T8" fmla="*/ 227144557 w 46"/>
                <a:gd name="T9" fmla="*/ 111978171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7">
                  <a:moveTo>
                    <a:pt x="41" y="19"/>
                  </a:moveTo>
                  <a:cubicBezTo>
                    <a:pt x="41" y="29"/>
                    <a:pt x="33" y="37"/>
                    <a:pt x="23" y="37"/>
                  </a:cubicBezTo>
                  <a:cubicBezTo>
                    <a:pt x="13" y="37"/>
                    <a:pt x="5" y="29"/>
                    <a:pt x="5" y="19"/>
                  </a:cubicBezTo>
                  <a:cubicBezTo>
                    <a:pt x="5" y="8"/>
                    <a:pt x="0" y="0"/>
                    <a:pt x="23" y="0"/>
                  </a:cubicBezTo>
                  <a:cubicBezTo>
                    <a:pt x="46" y="0"/>
                    <a:pt x="41" y="8"/>
                    <a:pt x="41" y="19"/>
                  </a:cubicBezTo>
                  <a:close/>
                </a:path>
              </a:pathLst>
            </a:custGeom>
            <a:solidFill>
              <a:srgbClr val="0819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34" name="Rectangle 226">
              <a:extLst>
                <a:ext uri="{FF2B5EF4-FFF2-40B4-BE49-F238E27FC236}">
                  <a16:creationId xmlns:a16="http://schemas.microsoft.com/office/drawing/2014/main" id="{8EA1697D-8853-4B89-9F79-FE1FDACC6A36}"/>
                </a:ext>
              </a:extLst>
            </p:cNvPr>
            <p:cNvSpPr>
              <a:spLocks noChangeArrowheads="1"/>
            </p:cNvSpPr>
            <p:nvPr/>
          </p:nvSpPr>
          <p:spPr bwMode="auto">
            <a:xfrm>
              <a:off x="1282" y="1634"/>
              <a:ext cx="99" cy="723"/>
            </a:xfrm>
            <a:prstGeom prst="rect">
              <a:avLst/>
            </a:prstGeom>
            <a:solidFill>
              <a:srgbClr val="0F304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635" name="Rectangle 227">
              <a:extLst>
                <a:ext uri="{FF2B5EF4-FFF2-40B4-BE49-F238E27FC236}">
                  <a16:creationId xmlns:a16="http://schemas.microsoft.com/office/drawing/2014/main" id="{8B4D6ECC-32CE-4A34-3B87-44A36A2ECEB5}"/>
                </a:ext>
              </a:extLst>
            </p:cNvPr>
            <p:cNvSpPr>
              <a:spLocks noChangeArrowheads="1"/>
            </p:cNvSpPr>
            <p:nvPr/>
          </p:nvSpPr>
          <p:spPr bwMode="auto">
            <a:xfrm>
              <a:off x="2417" y="1634"/>
              <a:ext cx="99" cy="723"/>
            </a:xfrm>
            <a:prstGeom prst="rect">
              <a:avLst/>
            </a:prstGeom>
            <a:solidFill>
              <a:srgbClr val="0F304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636" name="Rectangle 228">
              <a:extLst>
                <a:ext uri="{FF2B5EF4-FFF2-40B4-BE49-F238E27FC236}">
                  <a16:creationId xmlns:a16="http://schemas.microsoft.com/office/drawing/2014/main" id="{63F07E5B-CF2E-1308-2C6F-75D0B3B30017}"/>
                </a:ext>
              </a:extLst>
            </p:cNvPr>
            <p:cNvSpPr>
              <a:spLocks noChangeArrowheads="1"/>
            </p:cNvSpPr>
            <p:nvPr/>
          </p:nvSpPr>
          <p:spPr bwMode="auto">
            <a:xfrm>
              <a:off x="1241" y="2357"/>
              <a:ext cx="1306" cy="74"/>
            </a:xfrm>
            <a:prstGeom prst="rect">
              <a:avLst/>
            </a:prstGeom>
            <a:solidFill>
              <a:srgbClr val="0F304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637" name="Freeform 229">
              <a:extLst>
                <a:ext uri="{FF2B5EF4-FFF2-40B4-BE49-F238E27FC236}">
                  <a16:creationId xmlns:a16="http://schemas.microsoft.com/office/drawing/2014/main" id="{5C4F9950-54C3-4E03-835E-81CC7BA86A31}"/>
                </a:ext>
              </a:extLst>
            </p:cNvPr>
            <p:cNvSpPr>
              <a:spLocks/>
            </p:cNvSpPr>
            <p:nvPr/>
          </p:nvSpPr>
          <p:spPr bwMode="auto">
            <a:xfrm>
              <a:off x="1267" y="3096"/>
              <a:ext cx="74" cy="68"/>
            </a:xfrm>
            <a:custGeom>
              <a:avLst/>
              <a:gdLst>
                <a:gd name="T0" fmla="*/ 197012167 w 31"/>
                <a:gd name="T1" fmla="*/ 68345002 h 29"/>
                <a:gd name="T2" fmla="*/ 101090646 w 31"/>
                <a:gd name="T3" fmla="*/ 132937927 h 29"/>
                <a:gd name="T4" fmla="*/ 0 w 31"/>
                <a:gd name="T5" fmla="*/ 68345002 h 29"/>
                <a:gd name="T6" fmla="*/ 0 w 31"/>
                <a:gd name="T7" fmla="*/ 0 h 29"/>
                <a:gd name="T8" fmla="*/ 197012167 w 31"/>
                <a:gd name="T9" fmla="*/ 0 h 29"/>
                <a:gd name="T10" fmla="*/ 197012167 w 31"/>
                <a:gd name="T11" fmla="*/ 68345002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29">
                  <a:moveTo>
                    <a:pt x="31" y="15"/>
                  </a:moveTo>
                  <a:cubicBezTo>
                    <a:pt x="31" y="23"/>
                    <a:pt x="24" y="29"/>
                    <a:pt x="16" y="29"/>
                  </a:cubicBezTo>
                  <a:cubicBezTo>
                    <a:pt x="7" y="29"/>
                    <a:pt x="0" y="23"/>
                    <a:pt x="0" y="15"/>
                  </a:cubicBezTo>
                  <a:cubicBezTo>
                    <a:pt x="0" y="13"/>
                    <a:pt x="0" y="0"/>
                    <a:pt x="0" y="0"/>
                  </a:cubicBezTo>
                  <a:cubicBezTo>
                    <a:pt x="31" y="0"/>
                    <a:pt x="31" y="0"/>
                    <a:pt x="31" y="0"/>
                  </a:cubicBezTo>
                  <a:cubicBezTo>
                    <a:pt x="31" y="0"/>
                    <a:pt x="31" y="8"/>
                    <a:pt x="31" y="15"/>
                  </a:cubicBezTo>
                  <a:close/>
                </a:path>
              </a:pathLst>
            </a:custGeom>
            <a:solidFill>
              <a:srgbClr val="664B3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38" name="Freeform 230">
              <a:extLst>
                <a:ext uri="{FF2B5EF4-FFF2-40B4-BE49-F238E27FC236}">
                  <a16:creationId xmlns:a16="http://schemas.microsoft.com/office/drawing/2014/main" id="{7F723BF4-DD59-A1F2-0695-766491F23B57}"/>
                </a:ext>
              </a:extLst>
            </p:cNvPr>
            <p:cNvSpPr>
              <a:spLocks/>
            </p:cNvSpPr>
            <p:nvPr/>
          </p:nvSpPr>
          <p:spPr bwMode="auto">
            <a:xfrm>
              <a:off x="1341" y="3096"/>
              <a:ext cx="75" cy="68"/>
            </a:xfrm>
            <a:custGeom>
              <a:avLst/>
              <a:gdLst>
                <a:gd name="T0" fmla="*/ 146113062 w 32"/>
                <a:gd name="T1" fmla="*/ 68345002 h 29"/>
                <a:gd name="T2" fmla="*/ 73933402 w 32"/>
                <a:gd name="T3" fmla="*/ 132937927 h 29"/>
                <a:gd name="T4" fmla="*/ 0 w 32"/>
                <a:gd name="T5" fmla="*/ 68345002 h 29"/>
                <a:gd name="T6" fmla="*/ 0 w 32"/>
                <a:gd name="T7" fmla="*/ 0 h 29"/>
                <a:gd name="T8" fmla="*/ 146113062 w 32"/>
                <a:gd name="T9" fmla="*/ 0 h 29"/>
                <a:gd name="T10" fmla="*/ 146113062 w 32"/>
                <a:gd name="T11" fmla="*/ 68345002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29">
                  <a:moveTo>
                    <a:pt x="32" y="15"/>
                  </a:moveTo>
                  <a:cubicBezTo>
                    <a:pt x="32" y="23"/>
                    <a:pt x="25" y="29"/>
                    <a:pt x="16" y="29"/>
                  </a:cubicBezTo>
                  <a:cubicBezTo>
                    <a:pt x="7" y="29"/>
                    <a:pt x="0" y="23"/>
                    <a:pt x="0" y="15"/>
                  </a:cubicBezTo>
                  <a:cubicBezTo>
                    <a:pt x="0" y="13"/>
                    <a:pt x="0" y="0"/>
                    <a:pt x="0" y="0"/>
                  </a:cubicBezTo>
                  <a:cubicBezTo>
                    <a:pt x="32" y="0"/>
                    <a:pt x="32" y="0"/>
                    <a:pt x="32" y="0"/>
                  </a:cubicBezTo>
                  <a:cubicBezTo>
                    <a:pt x="32" y="0"/>
                    <a:pt x="32" y="8"/>
                    <a:pt x="32" y="15"/>
                  </a:cubicBezTo>
                  <a:close/>
                </a:path>
              </a:pathLst>
            </a:custGeom>
            <a:solidFill>
              <a:srgbClr val="CE903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39" name="Freeform 231">
              <a:extLst>
                <a:ext uri="{FF2B5EF4-FFF2-40B4-BE49-F238E27FC236}">
                  <a16:creationId xmlns:a16="http://schemas.microsoft.com/office/drawing/2014/main" id="{C1462C6F-60D8-E203-DFF9-8984F7B346FA}"/>
                </a:ext>
              </a:extLst>
            </p:cNvPr>
            <p:cNvSpPr>
              <a:spLocks/>
            </p:cNvSpPr>
            <p:nvPr/>
          </p:nvSpPr>
          <p:spPr bwMode="auto">
            <a:xfrm>
              <a:off x="1416" y="3096"/>
              <a:ext cx="74" cy="68"/>
            </a:xfrm>
            <a:custGeom>
              <a:avLst/>
              <a:gdLst>
                <a:gd name="T0" fmla="*/ 197012167 w 31"/>
                <a:gd name="T1" fmla="*/ 68345002 h 29"/>
                <a:gd name="T2" fmla="*/ 95364626 w 31"/>
                <a:gd name="T3" fmla="*/ 132937927 h 29"/>
                <a:gd name="T4" fmla="*/ 0 w 31"/>
                <a:gd name="T5" fmla="*/ 68345002 h 29"/>
                <a:gd name="T6" fmla="*/ 0 w 31"/>
                <a:gd name="T7" fmla="*/ 0 h 29"/>
                <a:gd name="T8" fmla="*/ 197012167 w 31"/>
                <a:gd name="T9" fmla="*/ 0 h 29"/>
                <a:gd name="T10" fmla="*/ 197012167 w 31"/>
                <a:gd name="T11" fmla="*/ 68345002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29">
                  <a:moveTo>
                    <a:pt x="31" y="15"/>
                  </a:moveTo>
                  <a:cubicBezTo>
                    <a:pt x="31" y="23"/>
                    <a:pt x="24" y="29"/>
                    <a:pt x="15" y="29"/>
                  </a:cubicBezTo>
                  <a:cubicBezTo>
                    <a:pt x="7" y="29"/>
                    <a:pt x="0" y="23"/>
                    <a:pt x="0" y="15"/>
                  </a:cubicBezTo>
                  <a:cubicBezTo>
                    <a:pt x="0" y="13"/>
                    <a:pt x="0" y="0"/>
                    <a:pt x="0" y="0"/>
                  </a:cubicBezTo>
                  <a:cubicBezTo>
                    <a:pt x="31" y="0"/>
                    <a:pt x="31" y="0"/>
                    <a:pt x="31" y="0"/>
                  </a:cubicBezTo>
                  <a:cubicBezTo>
                    <a:pt x="31" y="0"/>
                    <a:pt x="31" y="8"/>
                    <a:pt x="31" y="15"/>
                  </a:cubicBezTo>
                  <a:close/>
                </a:path>
              </a:pathLst>
            </a:custGeom>
            <a:solidFill>
              <a:srgbClr val="664B3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40" name="Freeform 232">
              <a:extLst>
                <a:ext uri="{FF2B5EF4-FFF2-40B4-BE49-F238E27FC236}">
                  <a16:creationId xmlns:a16="http://schemas.microsoft.com/office/drawing/2014/main" id="{D8304B8E-D084-71E8-D1EC-D697D046510F}"/>
                </a:ext>
              </a:extLst>
            </p:cNvPr>
            <p:cNvSpPr>
              <a:spLocks/>
            </p:cNvSpPr>
            <p:nvPr/>
          </p:nvSpPr>
          <p:spPr bwMode="auto">
            <a:xfrm>
              <a:off x="1490" y="3096"/>
              <a:ext cx="75" cy="68"/>
            </a:xfrm>
            <a:custGeom>
              <a:avLst/>
              <a:gdLst>
                <a:gd name="T0" fmla="*/ 146113062 w 32"/>
                <a:gd name="T1" fmla="*/ 68345002 h 29"/>
                <a:gd name="T2" fmla="*/ 73933402 w 32"/>
                <a:gd name="T3" fmla="*/ 132937927 h 29"/>
                <a:gd name="T4" fmla="*/ 0 w 32"/>
                <a:gd name="T5" fmla="*/ 68345002 h 29"/>
                <a:gd name="T6" fmla="*/ 0 w 32"/>
                <a:gd name="T7" fmla="*/ 0 h 29"/>
                <a:gd name="T8" fmla="*/ 146113062 w 32"/>
                <a:gd name="T9" fmla="*/ 0 h 29"/>
                <a:gd name="T10" fmla="*/ 146113062 w 32"/>
                <a:gd name="T11" fmla="*/ 68345002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29">
                  <a:moveTo>
                    <a:pt x="32" y="15"/>
                  </a:moveTo>
                  <a:cubicBezTo>
                    <a:pt x="32" y="23"/>
                    <a:pt x="25" y="29"/>
                    <a:pt x="16" y="29"/>
                  </a:cubicBezTo>
                  <a:cubicBezTo>
                    <a:pt x="7" y="29"/>
                    <a:pt x="0" y="23"/>
                    <a:pt x="0" y="15"/>
                  </a:cubicBezTo>
                  <a:cubicBezTo>
                    <a:pt x="0" y="13"/>
                    <a:pt x="0" y="0"/>
                    <a:pt x="0" y="0"/>
                  </a:cubicBezTo>
                  <a:cubicBezTo>
                    <a:pt x="32" y="0"/>
                    <a:pt x="32" y="0"/>
                    <a:pt x="32" y="0"/>
                  </a:cubicBezTo>
                  <a:cubicBezTo>
                    <a:pt x="32" y="0"/>
                    <a:pt x="32" y="8"/>
                    <a:pt x="32" y="15"/>
                  </a:cubicBezTo>
                  <a:close/>
                </a:path>
              </a:pathLst>
            </a:custGeom>
            <a:solidFill>
              <a:srgbClr val="CE903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41" name="Freeform 233">
              <a:extLst>
                <a:ext uri="{FF2B5EF4-FFF2-40B4-BE49-F238E27FC236}">
                  <a16:creationId xmlns:a16="http://schemas.microsoft.com/office/drawing/2014/main" id="{FCF87D76-DD9A-BD8D-9A81-1FCDE10C1D25}"/>
                </a:ext>
              </a:extLst>
            </p:cNvPr>
            <p:cNvSpPr>
              <a:spLocks/>
            </p:cNvSpPr>
            <p:nvPr/>
          </p:nvSpPr>
          <p:spPr bwMode="auto">
            <a:xfrm>
              <a:off x="1565" y="3096"/>
              <a:ext cx="74" cy="68"/>
            </a:xfrm>
            <a:custGeom>
              <a:avLst/>
              <a:gdLst>
                <a:gd name="T0" fmla="*/ 197012167 w 31"/>
                <a:gd name="T1" fmla="*/ 68345002 h 29"/>
                <a:gd name="T2" fmla="*/ 95364626 w 31"/>
                <a:gd name="T3" fmla="*/ 132937927 h 29"/>
                <a:gd name="T4" fmla="*/ 0 w 31"/>
                <a:gd name="T5" fmla="*/ 68345002 h 29"/>
                <a:gd name="T6" fmla="*/ 0 w 31"/>
                <a:gd name="T7" fmla="*/ 0 h 29"/>
                <a:gd name="T8" fmla="*/ 197012167 w 31"/>
                <a:gd name="T9" fmla="*/ 0 h 29"/>
                <a:gd name="T10" fmla="*/ 197012167 w 31"/>
                <a:gd name="T11" fmla="*/ 68345002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29">
                  <a:moveTo>
                    <a:pt x="31" y="15"/>
                  </a:moveTo>
                  <a:cubicBezTo>
                    <a:pt x="31" y="23"/>
                    <a:pt x="24" y="29"/>
                    <a:pt x="15" y="29"/>
                  </a:cubicBezTo>
                  <a:cubicBezTo>
                    <a:pt x="7" y="29"/>
                    <a:pt x="0" y="23"/>
                    <a:pt x="0" y="15"/>
                  </a:cubicBezTo>
                  <a:cubicBezTo>
                    <a:pt x="0" y="13"/>
                    <a:pt x="0" y="0"/>
                    <a:pt x="0" y="0"/>
                  </a:cubicBezTo>
                  <a:cubicBezTo>
                    <a:pt x="31" y="0"/>
                    <a:pt x="31" y="0"/>
                    <a:pt x="31" y="0"/>
                  </a:cubicBezTo>
                  <a:cubicBezTo>
                    <a:pt x="31" y="0"/>
                    <a:pt x="31" y="8"/>
                    <a:pt x="31" y="15"/>
                  </a:cubicBezTo>
                  <a:close/>
                </a:path>
              </a:pathLst>
            </a:custGeom>
            <a:solidFill>
              <a:srgbClr val="664B3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42" name="Freeform 234">
              <a:extLst>
                <a:ext uri="{FF2B5EF4-FFF2-40B4-BE49-F238E27FC236}">
                  <a16:creationId xmlns:a16="http://schemas.microsoft.com/office/drawing/2014/main" id="{33AD0619-A446-1ECE-AFD9-7C6BD71A6B88}"/>
                </a:ext>
              </a:extLst>
            </p:cNvPr>
            <p:cNvSpPr>
              <a:spLocks/>
            </p:cNvSpPr>
            <p:nvPr/>
          </p:nvSpPr>
          <p:spPr bwMode="auto">
            <a:xfrm>
              <a:off x="1639" y="3096"/>
              <a:ext cx="73" cy="68"/>
            </a:xfrm>
            <a:custGeom>
              <a:avLst/>
              <a:gdLst>
                <a:gd name="T0" fmla="*/ 153836098 w 31"/>
                <a:gd name="T1" fmla="*/ 68345002 h 29"/>
                <a:gd name="T2" fmla="*/ 79836483 w 31"/>
                <a:gd name="T3" fmla="*/ 132937927 h 29"/>
                <a:gd name="T4" fmla="*/ 0 w 31"/>
                <a:gd name="T5" fmla="*/ 68345002 h 29"/>
                <a:gd name="T6" fmla="*/ 0 w 31"/>
                <a:gd name="T7" fmla="*/ 0 h 29"/>
                <a:gd name="T8" fmla="*/ 153836098 w 31"/>
                <a:gd name="T9" fmla="*/ 0 h 29"/>
                <a:gd name="T10" fmla="*/ 153836098 w 31"/>
                <a:gd name="T11" fmla="*/ 68345002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29">
                  <a:moveTo>
                    <a:pt x="31" y="15"/>
                  </a:moveTo>
                  <a:cubicBezTo>
                    <a:pt x="31" y="23"/>
                    <a:pt x="24" y="29"/>
                    <a:pt x="16" y="29"/>
                  </a:cubicBezTo>
                  <a:cubicBezTo>
                    <a:pt x="7" y="29"/>
                    <a:pt x="0" y="23"/>
                    <a:pt x="0" y="15"/>
                  </a:cubicBezTo>
                  <a:cubicBezTo>
                    <a:pt x="0" y="13"/>
                    <a:pt x="0" y="0"/>
                    <a:pt x="0" y="0"/>
                  </a:cubicBezTo>
                  <a:cubicBezTo>
                    <a:pt x="31" y="0"/>
                    <a:pt x="31" y="0"/>
                    <a:pt x="31" y="0"/>
                  </a:cubicBezTo>
                  <a:cubicBezTo>
                    <a:pt x="31" y="0"/>
                    <a:pt x="31" y="8"/>
                    <a:pt x="31" y="15"/>
                  </a:cubicBezTo>
                  <a:close/>
                </a:path>
              </a:pathLst>
            </a:custGeom>
            <a:solidFill>
              <a:srgbClr val="CE903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43" name="Freeform 235">
              <a:extLst>
                <a:ext uri="{FF2B5EF4-FFF2-40B4-BE49-F238E27FC236}">
                  <a16:creationId xmlns:a16="http://schemas.microsoft.com/office/drawing/2014/main" id="{425A9B84-A75F-FA21-DFF4-BE009EEB5B01}"/>
                </a:ext>
              </a:extLst>
            </p:cNvPr>
            <p:cNvSpPr>
              <a:spLocks/>
            </p:cNvSpPr>
            <p:nvPr/>
          </p:nvSpPr>
          <p:spPr bwMode="auto">
            <a:xfrm>
              <a:off x="1712" y="3096"/>
              <a:ext cx="76" cy="68"/>
            </a:xfrm>
            <a:custGeom>
              <a:avLst/>
              <a:gdLst>
                <a:gd name="T0" fmla="*/ 185489963 w 32"/>
                <a:gd name="T1" fmla="*/ 68345002 h 29"/>
                <a:gd name="T2" fmla="*/ 92335711 w 32"/>
                <a:gd name="T3" fmla="*/ 132937927 h 29"/>
                <a:gd name="T4" fmla="*/ 0 w 32"/>
                <a:gd name="T5" fmla="*/ 68345002 h 29"/>
                <a:gd name="T6" fmla="*/ 0 w 32"/>
                <a:gd name="T7" fmla="*/ 0 h 29"/>
                <a:gd name="T8" fmla="*/ 185489963 w 32"/>
                <a:gd name="T9" fmla="*/ 0 h 29"/>
                <a:gd name="T10" fmla="*/ 185489963 w 32"/>
                <a:gd name="T11" fmla="*/ 68345002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29">
                  <a:moveTo>
                    <a:pt x="32" y="15"/>
                  </a:moveTo>
                  <a:cubicBezTo>
                    <a:pt x="32" y="23"/>
                    <a:pt x="25" y="29"/>
                    <a:pt x="16" y="29"/>
                  </a:cubicBezTo>
                  <a:cubicBezTo>
                    <a:pt x="7" y="29"/>
                    <a:pt x="0" y="23"/>
                    <a:pt x="0" y="15"/>
                  </a:cubicBezTo>
                  <a:cubicBezTo>
                    <a:pt x="0" y="13"/>
                    <a:pt x="0" y="0"/>
                    <a:pt x="0" y="0"/>
                  </a:cubicBezTo>
                  <a:cubicBezTo>
                    <a:pt x="32" y="0"/>
                    <a:pt x="32" y="0"/>
                    <a:pt x="32" y="0"/>
                  </a:cubicBezTo>
                  <a:cubicBezTo>
                    <a:pt x="32" y="0"/>
                    <a:pt x="32" y="8"/>
                    <a:pt x="32" y="15"/>
                  </a:cubicBezTo>
                  <a:close/>
                </a:path>
              </a:pathLst>
            </a:custGeom>
            <a:solidFill>
              <a:srgbClr val="664B3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44" name="Freeform 236">
              <a:extLst>
                <a:ext uri="{FF2B5EF4-FFF2-40B4-BE49-F238E27FC236}">
                  <a16:creationId xmlns:a16="http://schemas.microsoft.com/office/drawing/2014/main" id="{9CE4B8BA-4C09-3065-9531-221EE2808B8C}"/>
                </a:ext>
              </a:extLst>
            </p:cNvPr>
            <p:cNvSpPr>
              <a:spLocks/>
            </p:cNvSpPr>
            <p:nvPr/>
          </p:nvSpPr>
          <p:spPr bwMode="auto">
            <a:xfrm>
              <a:off x="1788" y="3096"/>
              <a:ext cx="73" cy="68"/>
            </a:xfrm>
            <a:custGeom>
              <a:avLst/>
              <a:gdLst>
                <a:gd name="T0" fmla="*/ 153836098 w 31"/>
                <a:gd name="T1" fmla="*/ 68345002 h 29"/>
                <a:gd name="T2" fmla="*/ 79836483 w 31"/>
                <a:gd name="T3" fmla="*/ 132937927 h 29"/>
                <a:gd name="T4" fmla="*/ 0 w 31"/>
                <a:gd name="T5" fmla="*/ 68345002 h 29"/>
                <a:gd name="T6" fmla="*/ 0 w 31"/>
                <a:gd name="T7" fmla="*/ 0 h 29"/>
                <a:gd name="T8" fmla="*/ 153836098 w 31"/>
                <a:gd name="T9" fmla="*/ 0 h 29"/>
                <a:gd name="T10" fmla="*/ 153836098 w 31"/>
                <a:gd name="T11" fmla="*/ 68345002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29">
                  <a:moveTo>
                    <a:pt x="31" y="15"/>
                  </a:moveTo>
                  <a:cubicBezTo>
                    <a:pt x="31" y="23"/>
                    <a:pt x="24" y="29"/>
                    <a:pt x="16" y="29"/>
                  </a:cubicBezTo>
                  <a:cubicBezTo>
                    <a:pt x="7" y="29"/>
                    <a:pt x="0" y="23"/>
                    <a:pt x="0" y="15"/>
                  </a:cubicBezTo>
                  <a:cubicBezTo>
                    <a:pt x="0" y="13"/>
                    <a:pt x="0" y="0"/>
                    <a:pt x="0" y="0"/>
                  </a:cubicBezTo>
                  <a:cubicBezTo>
                    <a:pt x="31" y="0"/>
                    <a:pt x="31" y="0"/>
                    <a:pt x="31" y="0"/>
                  </a:cubicBezTo>
                  <a:cubicBezTo>
                    <a:pt x="31" y="0"/>
                    <a:pt x="31" y="8"/>
                    <a:pt x="31" y="15"/>
                  </a:cubicBezTo>
                  <a:close/>
                </a:path>
              </a:pathLst>
            </a:custGeom>
            <a:solidFill>
              <a:srgbClr val="CE903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45" name="Freeform 237">
              <a:extLst>
                <a:ext uri="{FF2B5EF4-FFF2-40B4-BE49-F238E27FC236}">
                  <a16:creationId xmlns:a16="http://schemas.microsoft.com/office/drawing/2014/main" id="{3F12E74F-8663-EE0A-8523-D9D9B3AE9981}"/>
                </a:ext>
              </a:extLst>
            </p:cNvPr>
            <p:cNvSpPr>
              <a:spLocks/>
            </p:cNvSpPr>
            <p:nvPr/>
          </p:nvSpPr>
          <p:spPr bwMode="auto">
            <a:xfrm>
              <a:off x="1861" y="3096"/>
              <a:ext cx="76" cy="68"/>
            </a:xfrm>
            <a:custGeom>
              <a:avLst/>
              <a:gdLst>
                <a:gd name="T0" fmla="*/ 185489963 w 32"/>
                <a:gd name="T1" fmla="*/ 68345002 h 29"/>
                <a:gd name="T2" fmla="*/ 92335711 w 32"/>
                <a:gd name="T3" fmla="*/ 132937927 h 29"/>
                <a:gd name="T4" fmla="*/ 0 w 32"/>
                <a:gd name="T5" fmla="*/ 68345002 h 29"/>
                <a:gd name="T6" fmla="*/ 0 w 32"/>
                <a:gd name="T7" fmla="*/ 0 h 29"/>
                <a:gd name="T8" fmla="*/ 185489963 w 32"/>
                <a:gd name="T9" fmla="*/ 0 h 29"/>
                <a:gd name="T10" fmla="*/ 185489963 w 32"/>
                <a:gd name="T11" fmla="*/ 68345002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29">
                  <a:moveTo>
                    <a:pt x="32" y="15"/>
                  </a:moveTo>
                  <a:cubicBezTo>
                    <a:pt x="32" y="23"/>
                    <a:pt x="25" y="29"/>
                    <a:pt x="16" y="29"/>
                  </a:cubicBezTo>
                  <a:cubicBezTo>
                    <a:pt x="7" y="29"/>
                    <a:pt x="0" y="23"/>
                    <a:pt x="0" y="15"/>
                  </a:cubicBezTo>
                  <a:cubicBezTo>
                    <a:pt x="0" y="13"/>
                    <a:pt x="0" y="0"/>
                    <a:pt x="0" y="0"/>
                  </a:cubicBezTo>
                  <a:cubicBezTo>
                    <a:pt x="32" y="0"/>
                    <a:pt x="32" y="0"/>
                    <a:pt x="32" y="0"/>
                  </a:cubicBezTo>
                  <a:cubicBezTo>
                    <a:pt x="32" y="0"/>
                    <a:pt x="32" y="8"/>
                    <a:pt x="32" y="15"/>
                  </a:cubicBezTo>
                  <a:close/>
                </a:path>
              </a:pathLst>
            </a:custGeom>
            <a:solidFill>
              <a:srgbClr val="664B3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46" name="Freeform 238">
              <a:extLst>
                <a:ext uri="{FF2B5EF4-FFF2-40B4-BE49-F238E27FC236}">
                  <a16:creationId xmlns:a16="http://schemas.microsoft.com/office/drawing/2014/main" id="{28F1E462-5D69-0EAE-89D2-FB9F82FF836C}"/>
                </a:ext>
              </a:extLst>
            </p:cNvPr>
            <p:cNvSpPr>
              <a:spLocks/>
            </p:cNvSpPr>
            <p:nvPr/>
          </p:nvSpPr>
          <p:spPr bwMode="auto">
            <a:xfrm>
              <a:off x="1937" y="3096"/>
              <a:ext cx="73" cy="68"/>
            </a:xfrm>
            <a:custGeom>
              <a:avLst/>
              <a:gdLst>
                <a:gd name="T0" fmla="*/ 153836098 w 31"/>
                <a:gd name="T1" fmla="*/ 68345002 h 29"/>
                <a:gd name="T2" fmla="*/ 73180522 w 31"/>
                <a:gd name="T3" fmla="*/ 132937927 h 29"/>
                <a:gd name="T4" fmla="*/ 0 w 31"/>
                <a:gd name="T5" fmla="*/ 68345002 h 29"/>
                <a:gd name="T6" fmla="*/ 0 w 31"/>
                <a:gd name="T7" fmla="*/ 0 h 29"/>
                <a:gd name="T8" fmla="*/ 153836098 w 31"/>
                <a:gd name="T9" fmla="*/ 0 h 29"/>
                <a:gd name="T10" fmla="*/ 153836098 w 31"/>
                <a:gd name="T11" fmla="*/ 68345002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29">
                  <a:moveTo>
                    <a:pt x="31" y="15"/>
                  </a:moveTo>
                  <a:cubicBezTo>
                    <a:pt x="31" y="23"/>
                    <a:pt x="24" y="29"/>
                    <a:pt x="15" y="29"/>
                  </a:cubicBezTo>
                  <a:cubicBezTo>
                    <a:pt x="7" y="29"/>
                    <a:pt x="0" y="23"/>
                    <a:pt x="0" y="15"/>
                  </a:cubicBezTo>
                  <a:cubicBezTo>
                    <a:pt x="0" y="13"/>
                    <a:pt x="0" y="0"/>
                    <a:pt x="0" y="0"/>
                  </a:cubicBezTo>
                  <a:cubicBezTo>
                    <a:pt x="31" y="0"/>
                    <a:pt x="31" y="0"/>
                    <a:pt x="31" y="0"/>
                  </a:cubicBezTo>
                  <a:cubicBezTo>
                    <a:pt x="31" y="0"/>
                    <a:pt x="31" y="8"/>
                    <a:pt x="31" y="15"/>
                  </a:cubicBezTo>
                  <a:close/>
                </a:path>
              </a:pathLst>
            </a:custGeom>
            <a:solidFill>
              <a:srgbClr val="CE903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47" name="Freeform 239">
              <a:extLst>
                <a:ext uri="{FF2B5EF4-FFF2-40B4-BE49-F238E27FC236}">
                  <a16:creationId xmlns:a16="http://schemas.microsoft.com/office/drawing/2014/main" id="{D654E880-8F24-C894-B41E-6B80F658EDCA}"/>
                </a:ext>
              </a:extLst>
            </p:cNvPr>
            <p:cNvSpPr>
              <a:spLocks/>
            </p:cNvSpPr>
            <p:nvPr/>
          </p:nvSpPr>
          <p:spPr bwMode="auto">
            <a:xfrm>
              <a:off x="2010" y="3096"/>
              <a:ext cx="73" cy="68"/>
            </a:xfrm>
            <a:custGeom>
              <a:avLst/>
              <a:gdLst>
                <a:gd name="T0" fmla="*/ 153836098 w 31"/>
                <a:gd name="T1" fmla="*/ 68345002 h 29"/>
                <a:gd name="T2" fmla="*/ 79836483 w 31"/>
                <a:gd name="T3" fmla="*/ 132937927 h 29"/>
                <a:gd name="T4" fmla="*/ 0 w 31"/>
                <a:gd name="T5" fmla="*/ 68345002 h 29"/>
                <a:gd name="T6" fmla="*/ 0 w 31"/>
                <a:gd name="T7" fmla="*/ 0 h 29"/>
                <a:gd name="T8" fmla="*/ 153836098 w 31"/>
                <a:gd name="T9" fmla="*/ 0 h 29"/>
                <a:gd name="T10" fmla="*/ 153836098 w 31"/>
                <a:gd name="T11" fmla="*/ 68345002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29">
                  <a:moveTo>
                    <a:pt x="31" y="15"/>
                  </a:moveTo>
                  <a:cubicBezTo>
                    <a:pt x="31" y="23"/>
                    <a:pt x="24" y="29"/>
                    <a:pt x="16" y="29"/>
                  </a:cubicBezTo>
                  <a:cubicBezTo>
                    <a:pt x="7" y="29"/>
                    <a:pt x="0" y="23"/>
                    <a:pt x="0" y="15"/>
                  </a:cubicBezTo>
                  <a:cubicBezTo>
                    <a:pt x="0" y="13"/>
                    <a:pt x="0" y="0"/>
                    <a:pt x="0" y="0"/>
                  </a:cubicBezTo>
                  <a:cubicBezTo>
                    <a:pt x="31" y="0"/>
                    <a:pt x="31" y="0"/>
                    <a:pt x="31" y="0"/>
                  </a:cubicBezTo>
                  <a:cubicBezTo>
                    <a:pt x="31" y="0"/>
                    <a:pt x="31" y="8"/>
                    <a:pt x="31" y="15"/>
                  </a:cubicBezTo>
                  <a:close/>
                </a:path>
              </a:pathLst>
            </a:custGeom>
            <a:solidFill>
              <a:srgbClr val="664B3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48" name="Freeform 240">
              <a:extLst>
                <a:ext uri="{FF2B5EF4-FFF2-40B4-BE49-F238E27FC236}">
                  <a16:creationId xmlns:a16="http://schemas.microsoft.com/office/drawing/2014/main" id="{85C12F56-FE38-F043-15AF-276EA38DC542}"/>
                </a:ext>
              </a:extLst>
            </p:cNvPr>
            <p:cNvSpPr>
              <a:spLocks/>
            </p:cNvSpPr>
            <p:nvPr/>
          </p:nvSpPr>
          <p:spPr bwMode="auto">
            <a:xfrm>
              <a:off x="2083" y="3096"/>
              <a:ext cx="76" cy="68"/>
            </a:xfrm>
            <a:custGeom>
              <a:avLst/>
              <a:gdLst>
                <a:gd name="T0" fmla="*/ 185489963 w 32"/>
                <a:gd name="T1" fmla="*/ 68345002 h 29"/>
                <a:gd name="T2" fmla="*/ 92335711 w 32"/>
                <a:gd name="T3" fmla="*/ 132937927 h 29"/>
                <a:gd name="T4" fmla="*/ 0 w 32"/>
                <a:gd name="T5" fmla="*/ 68345002 h 29"/>
                <a:gd name="T6" fmla="*/ 0 w 32"/>
                <a:gd name="T7" fmla="*/ 0 h 29"/>
                <a:gd name="T8" fmla="*/ 185489963 w 32"/>
                <a:gd name="T9" fmla="*/ 0 h 29"/>
                <a:gd name="T10" fmla="*/ 185489963 w 32"/>
                <a:gd name="T11" fmla="*/ 68345002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29">
                  <a:moveTo>
                    <a:pt x="32" y="15"/>
                  </a:moveTo>
                  <a:cubicBezTo>
                    <a:pt x="32" y="23"/>
                    <a:pt x="25" y="29"/>
                    <a:pt x="16" y="29"/>
                  </a:cubicBezTo>
                  <a:cubicBezTo>
                    <a:pt x="7" y="29"/>
                    <a:pt x="0" y="23"/>
                    <a:pt x="0" y="15"/>
                  </a:cubicBezTo>
                  <a:cubicBezTo>
                    <a:pt x="0" y="13"/>
                    <a:pt x="0" y="0"/>
                    <a:pt x="0" y="0"/>
                  </a:cubicBezTo>
                  <a:cubicBezTo>
                    <a:pt x="32" y="0"/>
                    <a:pt x="32" y="0"/>
                    <a:pt x="32" y="0"/>
                  </a:cubicBezTo>
                  <a:cubicBezTo>
                    <a:pt x="32" y="0"/>
                    <a:pt x="32" y="8"/>
                    <a:pt x="32" y="15"/>
                  </a:cubicBezTo>
                  <a:close/>
                </a:path>
              </a:pathLst>
            </a:custGeom>
            <a:solidFill>
              <a:srgbClr val="CE903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49" name="Freeform 241">
              <a:extLst>
                <a:ext uri="{FF2B5EF4-FFF2-40B4-BE49-F238E27FC236}">
                  <a16:creationId xmlns:a16="http://schemas.microsoft.com/office/drawing/2014/main" id="{15813E01-56A7-EAEC-97F9-3656F5E3AE47}"/>
                </a:ext>
              </a:extLst>
            </p:cNvPr>
            <p:cNvSpPr>
              <a:spLocks/>
            </p:cNvSpPr>
            <p:nvPr/>
          </p:nvSpPr>
          <p:spPr bwMode="auto">
            <a:xfrm>
              <a:off x="2159" y="3096"/>
              <a:ext cx="73" cy="68"/>
            </a:xfrm>
            <a:custGeom>
              <a:avLst/>
              <a:gdLst>
                <a:gd name="T0" fmla="*/ 153836098 w 31"/>
                <a:gd name="T1" fmla="*/ 68345002 h 29"/>
                <a:gd name="T2" fmla="*/ 79836483 w 31"/>
                <a:gd name="T3" fmla="*/ 132937927 h 29"/>
                <a:gd name="T4" fmla="*/ 0 w 31"/>
                <a:gd name="T5" fmla="*/ 68345002 h 29"/>
                <a:gd name="T6" fmla="*/ 0 w 31"/>
                <a:gd name="T7" fmla="*/ 0 h 29"/>
                <a:gd name="T8" fmla="*/ 153836098 w 31"/>
                <a:gd name="T9" fmla="*/ 0 h 29"/>
                <a:gd name="T10" fmla="*/ 153836098 w 31"/>
                <a:gd name="T11" fmla="*/ 68345002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29">
                  <a:moveTo>
                    <a:pt x="31" y="15"/>
                  </a:moveTo>
                  <a:cubicBezTo>
                    <a:pt x="31" y="23"/>
                    <a:pt x="24" y="29"/>
                    <a:pt x="16" y="29"/>
                  </a:cubicBezTo>
                  <a:cubicBezTo>
                    <a:pt x="7" y="29"/>
                    <a:pt x="0" y="23"/>
                    <a:pt x="0" y="15"/>
                  </a:cubicBezTo>
                  <a:cubicBezTo>
                    <a:pt x="0" y="13"/>
                    <a:pt x="0" y="0"/>
                    <a:pt x="0" y="0"/>
                  </a:cubicBezTo>
                  <a:cubicBezTo>
                    <a:pt x="31" y="0"/>
                    <a:pt x="31" y="0"/>
                    <a:pt x="31" y="0"/>
                  </a:cubicBezTo>
                  <a:cubicBezTo>
                    <a:pt x="31" y="0"/>
                    <a:pt x="31" y="8"/>
                    <a:pt x="31" y="15"/>
                  </a:cubicBezTo>
                  <a:close/>
                </a:path>
              </a:pathLst>
            </a:custGeom>
            <a:solidFill>
              <a:srgbClr val="664B3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50" name="Freeform 242">
              <a:extLst>
                <a:ext uri="{FF2B5EF4-FFF2-40B4-BE49-F238E27FC236}">
                  <a16:creationId xmlns:a16="http://schemas.microsoft.com/office/drawing/2014/main" id="{F29BBD59-2217-92A7-4A4B-1ADFC271F8B7}"/>
                </a:ext>
              </a:extLst>
            </p:cNvPr>
            <p:cNvSpPr>
              <a:spLocks/>
            </p:cNvSpPr>
            <p:nvPr/>
          </p:nvSpPr>
          <p:spPr bwMode="auto">
            <a:xfrm>
              <a:off x="2232" y="3096"/>
              <a:ext cx="76" cy="68"/>
            </a:xfrm>
            <a:custGeom>
              <a:avLst/>
              <a:gdLst>
                <a:gd name="T0" fmla="*/ 185489963 w 32"/>
                <a:gd name="T1" fmla="*/ 68345002 h 29"/>
                <a:gd name="T2" fmla="*/ 92335711 w 32"/>
                <a:gd name="T3" fmla="*/ 132937927 h 29"/>
                <a:gd name="T4" fmla="*/ 0 w 32"/>
                <a:gd name="T5" fmla="*/ 68345002 h 29"/>
                <a:gd name="T6" fmla="*/ 0 w 32"/>
                <a:gd name="T7" fmla="*/ 0 h 29"/>
                <a:gd name="T8" fmla="*/ 185489963 w 32"/>
                <a:gd name="T9" fmla="*/ 0 h 29"/>
                <a:gd name="T10" fmla="*/ 185489963 w 32"/>
                <a:gd name="T11" fmla="*/ 68345002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29">
                  <a:moveTo>
                    <a:pt x="32" y="15"/>
                  </a:moveTo>
                  <a:cubicBezTo>
                    <a:pt x="32" y="23"/>
                    <a:pt x="25" y="29"/>
                    <a:pt x="16" y="29"/>
                  </a:cubicBezTo>
                  <a:cubicBezTo>
                    <a:pt x="7" y="29"/>
                    <a:pt x="0" y="23"/>
                    <a:pt x="0" y="15"/>
                  </a:cubicBezTo>
                  <a:cubicBezTo>
                    <a:pt x="0" y="13"/>
                    <a:pt x="0" y="0"/>
                    <a:pt x="0" y="0"/>
                  </a:cubicBezTo>
                  <a:cubicBezTo>
                    <a:pt x="32" y="0"/>
                    <a:pt x="32" y="0"/>
                    <a:pt x="32" y="0"/>
                  </a:cubicBezTo>
                  <a:cubicBezTo>
                    <a:pt x="32" y="0"/>
                    <a:pt x="32" y="8"/>
                    <a:pt x="32" y="15"/>
                  </a:cubicBezTo>
                  <a:close/>
                </a:path>
              </a:pathLst>
            </a:custGeom>
            <a:solidFill>
              <a:srgbClr val="CE903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51" name="Freeform 243">
              <a:extLst>
                <a:ext uri="{FF2B5EF4-FFF2-40B4-BE49-F238E27FC236}">
                  <a16:creationId xmlns:a16="http://schemas.microsoft.com/office/drawing/2014/main" id="{439AE458-0F80-4D97-FC7D-B5D9D81B7D15}"/>
                </a:ext>
              </a:extLst>
            </p:cNvPr>
            <p:cNvSpPr>
              <a:spLocks/>
            </p:cNvSpPr>
            <p:nvPr/>
          </p:nvSpPr>
          <p:spPr bwMode="auto">
            <a:xfrm>
              <a:off x="2308" y="3096"/>
              <a:ext cx="73" cy="68"/>
            </a:xfrm>
            <a:custGeom>
              <a:avLst/>
              <a:gdLst>
                <a:gd name="T0" fmla="*/ 153836098 w 31"/>
                <a:gd name="T1" fmla="*/ 68345002 h 29"/>
                <a:gd name="T2" fmla="*/ 73180522 w 31"/>
                <a:gd name="T3" fmla="*/ 132937927 h 29"/>
                <a:gd name="T4" fmla="*/ 0 w 31"/>
                <a:gd name="T5" fmla="*/ 68345002 h 29"/>
                <a:gd name="T6" fmla="*/ 0 w 31"/>
                <a:gd name="T7" fmla="*/ 0 h 29"/>
                <a:gd name="T8" fmla="*/ 153836098 w 31"/>
                <a:gd name="T9" fmla="*/ 0 h 29"/>
                <a:gd name="T10" fmla="*/ 153836098 w 31"/>
                <a:gd name="T11" fmla="*/ 68345002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29">
                  <a:moveTo>
                    <a:pt x="31" y="15"/>
                  </a:moveTo>
                  <a:cubicBezTo>
                    <a:pt x="31" y="23"/>
                    <a:pt x="24" y="29"/>
                    <a:pt x="15" y="29"/>
                  </a:cubicBezTo>
                  <a:cubicBezTo>
                    <a:pt x="7" y="29"/>
                    <a:pt x="0" y="23"/>
                    <a:pt x="0" y="15"/>
                  </a:cubicBezTo>
                  <a:cubicBezTo>
                    <a:pt x="0" y="13"/>
                    <a:pt x="0" y="0"/>
                    <a:pt x="0" y="0"/>
                  </a:cubicBezTo>
                  <a:cubicBezTo>
                    <a:pt x="31" y="0"/>
                    <a:pt x="31" y="0"/>
                    <a:pt x="31" y="0"/>
                  </a:cubicBezTo>
                  <a:cubicBezTo>
                    <a:pt x="31" y="0"/>
                    <a:pt x="31" y="8"/>
                    <a:pt x="31" y="15"/>
                  </a:cubicBezTo>
                  <a:close/>
                </a:path>
              </a:pathLst>
            </a:custGeom>
            <a:solidFill>
              <a:srgbClr val="664B3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52" name="Freeform 244">
              <a:extLst>
                <a:ext uri="{FF2B5EF4-FFF2-40B4-BE49-F238E27FC236}">
                  <a16:creationId xmlns:a16="http://schemas.microsoft.com/office/drawing/2014/main" id="{CF60F8BB-D5EF-2218-DA12-8DC752B4B967}"/>
                </a:ext>
              </a:extLst>
            </p:cNvPr>
            <p:cNvSpPr>
              <a:spLocks/>
            </p:cNvSpPr>
            <p:nvPr/>
          </p:nvSpPr>
          <p:spPr bwMode="auto">
            <a:xfrm>
              <a:off x="2381" y="3096"/>
              <a:ext cx="73" cy="68"/>
            </a:xfrm>
            <a:custGeom>
              <a:avLst/>
              <a:gdLst>
                <a:gd name="T0" fmla="*/ 153836098 w 31"/>
                <a:gd name="T1" fmla="*/ 68345002 h 29"/>
                <a:gd name="T2" fmla="*/ 79836483 w 31"/>
                <a:gd name="T3" fmla="*/ 132937927 h 29"/>
                <a:gd name="T4" fmla="*/ 0 w 31"/>
                <a:gd name="T5" fmla="*/ 68345002 h 29"/>
                <a:gd name="T6" fmla="*/ 0 w 31"/>
                <a:gd name="T7" fmla="*/ 0 h 29"/>
                <a:gd name="T8" fmla="*/ 153836098 w 31"/>
                <a:gd name="T9" fmla="*/ 0 h 29"/>
                <a:gd name="T10" fmla="*/ 153836098 w 31"/>
                <a:gd name="T11" fmla="*/ 68345002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29">
                  <a:moveTo>
                    <a:pt x="31" y="15"/>
                  </a:moveTo>
                  <a:cubicBezTo>
                    <a:pt x="31" y="23"/>
                    <a:pt x="24" y="29"/>
                    <a:pt x="16" y="29"/>
                  </a:cubicBezTo>
                  <a:cubicBezTo>
                    <a:pt x="7" y="29"/>
                    <a:pt x="0" y="23"/>
                    <a:pt x="0" y="15"/>
                  </a:cubicBezTo>
                  <a:cubicBezTo>
                    <a:pt x="0" y="13"/>
                    <a:pt x="0" y="0"/>
                    <a:pt x="0" y="0"/>
                  </a:cubicBezTo>
                  <a:cubicBezTo>
                    <a:pt x="31" y="0"/>
                    <a:pt x="31" y="0"/>
                    <a:pt x="31" y="0"/>
                  </a:cubicBezTo>
                  <a:cubicBezTo>
                    <a:pt x="31" y="0"/>
                    <a:pt x="31" y="8"/>
                    <a:pt x="31" y="15"/>
                  </a:cubicBezTo>
                  <a:close/>
                </a:path>
              </a:pathLst>
            </a:custGeom>
            <a:solidFill>
              <a:srgbClr val="CE903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53" name="Freeform 245">
              <a:extLst>
                <a:ext uri="{FF2B5EF4-FFF2-40B4-BE49-F238E27FC236}">
                  <a16:creationId xmlns:a16="http://schemas.microsoft.com/office/drawing/2014/main" id="{373823B7-A875-54FF-9BC1-1578B40C75AA}"/>
                </a:ext>
              </a:extLst>
            </p:cNvPr>
            <p:cNvSpPr>
              <a:spLocks/>
            </p:cNvSpPr>
            <p:nvPr/>
          </p:nvSpPr>
          <p:spPr bwMode="auto">
            <a:xfrm>
              <a:off x="2454" y="3096"/>
              <a:ext cx="76" cy="68"/>
            </a:xfrm>
            <a:custGeom>
              <a:avLst/>
              <a:gdLst>
                <a:gd name="T0" fmla="*/ 185489963 w 32"/>
                <a:gd name="T1" fmla="*/ 68345002 h 29"/>
                <a:gd name="T2" fmla="*/ 92335711 w 32"/>
                <a:gd name="T3" fmla="*/ 132937927 h 29"/>
                <a:gd name="T4" fmla="*/ 0 w 32"/>
                <a:gd name="T5" fmla="*/ 68345002 h 29"/>
                <a:gd name="T6" fmla="*/ 0 w 32"/>
                <a:gd name="T7" fmla="*/ 0 h 29"/>
                <a:gd name="T8" fmla="*/ 185489963 w 32"/>
                <a:gd name="T9" fmla="*/ 0 h 29"/>
                <a:gd name="T10" fmla="*/ 185489963 w 32"/>
                <a:gd name="T11" fmla="*/ 68345002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29">
                  <a:moveTo>
                    <a:pt x="32" y="15"/>
                  </a:moveTo>
                  <a:cubicBezTo>
                    <a:pt x="32" y="23"/>
                    <a:pt x="25" y="29"/>
                    <a:pt x="16" y="29"/>
                  </a:cubicBezTo>
                  <a:cubicBezTo>
                    <a:pt x="7" y="29"/>
                    <a:pt x="0" y="23"/>
                    <a:pt x="0" y="15"/>
                  </a:cubicBezTo>
                  <a:cubicBezTo>
                    <a:pt x="0" y="13"/>
                    <a:pt x="0" y="0"/>
                    <a:pt x="0" y="0"/>
                  </a:cubicBezTo>
                  <a:cubicBezTo>
                    <a:pt x="32" y="0"/>
                    <a:pt x="32" y="0"/>
                    <a:pt x="32" y="0"/>
                  </a:cubicBezTo>
                  <a:cubicBezTo>
                    <a:pt x="32" y="0"/>
                    <a:pt x="32" y="8"/>
                    <a:pt x="32" y="15"/>
                  </a:cubicBezTo>
                  <a:close/>
                </a:path>
              </a:pathLst>
            </a:custGeom>
            <a:solidFill>
              <a:srgbClr val="664B3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54" name="Rectangle 246">
              <a:extLst>
                <a:ext uri="{FF2B5EF4-FFF2-40B4-BE49-F238E27FC236}">
                  <a16:creationId xmlns:a16="http://schemas.microsoft.com/office/drawing/2014/main" id="{B564720F-9585-CE91-5AB7-F2AFE4033E22}"/>
                </a:ext>
              </a:extLst>
            </p:cNvPr>
            <p:cNvSpPr>
              <a:spLocks noChangeArrowheads="1"/>
            </p:cNvSpPr>
            <p:nvPr/>
          </p:nvSpPr>
          <p:spPr bwMode="auto">
            <a:xfrm>
              <a:off x="1267" y="3055"/>
              <a:ext cx="1263" cy="41"/>
            </a:xfrm>
            <a:prstGeom prst="rect">
              <a:avLst/>
            </a:prstGeom>
            <a:solidFill>
              <a:srgbClr val="F3DB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655" name="Oval 247">
              <a:extLst>
                <a:ext uri="{FF2B5EF4-FFF2-40B4-BE49-F238E27FC236}">
                  <a16:creationId xmlns:a16="http://schemas.microsoft.com/office/drawing/2014/main" id="{B7C0AFE4-A508-79CA-F117-CAC1C00E43C9}"/>
                </a:ext>
              </a:extLst>
            </p:cNvPr>
            <p:cNvSpPr>
              <a:spLocks noChangeArrowheads="1"/>
            </p:cNvSpPr>
            <p:nvPr/>
          </p:nvSpPr>
          <p:spPr bwMode="auto">
            <a:xfrm>
              <a:off x="4062" y="-746"/>
              <a:ext cx="1052" cy="1053"/>
            </a:xfrm>
            <a:prstGeom prst="ellipse">
              <a:avLst/>
            </a:prstGeom>
            <a:solidFill>
              <a:srgbClr val="FDBE3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346" name="Freeform 248">
              <a:extLst>
                <a:ext uri="{FF2B5EF4-FFF2-40B4-BE49-F238E27FC236}">
                  <a16:creationId xmlns:a16="http://schemas.microsoft.com/office/drawing/2014/main" id="{66BFC4FA-987A-45EE-24DA-2257F839E175}"/>
                </a:ext>
              </a:extLst>
            </p:cNvPr>
            <p:cNvSpPr>
              <a:spLocks noEditPoints="1"/>
            </p:cNvSpPr>
            <p:nvPr/>
          </p:nvSpPr>
          <p:spPr bwMode="auto">
            <a:xfrm>
              <a:off x="1862" y="79"/>
              <a:ext cx="1489" cy="1015"/>
            </a:xfrm>
            <a:custGeom>
              <a:avLst/>
              <a:gdLst>
                <a:gd name="T0" fmla="*/ 558 w 630"/>
                <a:gd name="T1" fmla="*/ 141 h 429"/>
                <a:gd name="T2" fmla="*/ 559 w 630"/>
                <a:gd name="T3" fmla="*/ 122 h 429"/>
                <a:gd name="T4" fmla="*/ 437 w 630"/>
                <a:gd name="T5" fmla="*/ 0 h 429"/>
                <a:gd name="T6" fmla="*/ 316 w 630"/>
                <a:gd name="T7" fmla="*/ 100 h 429"/>
                <a:gd name="T8" fmla="*/ 302 w 630"/>
                <a:gd name="T9" fmla="*/ 99 h 429"/>
                <a:gd name="T10" fmla="*/ 223 w 630"/>
                <a:gd name="T11" fmla="*/ 156 h 429"/>
                <a:gd name="T12" fmla="*/ 144 w 630"/>
                <a:gd name="T13" fmla="*/ 99 h 429"/>
                <a:gd name="T14" fmla="*/ 61 w 630"/>
                <a:gd name="T15" fmla="*/ 182 h 429"/>
                <a:gd name="T16" fmla="*/ 65 w 630"/>
                <a:gd name="T17" fmla="*/ 208 h 429"/>
                <a:gd name="T18" fmla="*/ 0 w 630"/>
                <a:gd name="T19" fmla="*/ 289 h 429"/>
                <a:gd name="T20" fmla="*/ 83 w 630"/>
                <a:gd name="T21" fmla="*/ 372 h 429"/>
                <a:gd name="T22" fmla="*/ 129 w 630"/>
                <a:gd name="T23" fmla="*/ 358 h 429"/>
                <a:gd name="T24" fmla="*/ 241 w 630"/>
                <a:gd name="T25" fmla="*/ 429 h 429"/>
                <a:gd name="T26" fmla="*/ 348 w 630"/>
                <a:gd name="T27" fmla="*/ 365 h 429"/>
                <a:gd name="T28" fmla="*/ 424 w 630"/>
                <a:gd name="T29" fmla="*/ 403 h 429"/>
                <a:gd name="T30" fmla="*/ 520 w 630"/>
                <a:gd name="T31" fmla="*/ 307 h 429"/>
                <a:gd name="T32" fmla="*/ 520 w 630"/>
                <a:gd name="T33" fmla="*/ 302 h 429"/>
                <a:gd name="T34" fmla="*/ 547 w 630"/>
                <a:gd name="T35" fmla="*/ 307 h 429"/>
                <a:gd name="T36" fmla="*/ 630 w 630"/>
                <a:gd name="T37" fmla="*/ 224 h 429"/>
                <a:gd name="T38" fmla="*/ 558 w 630"/>
                <a:gd name="T39" fmla="*/ 141 h 429"/>
                <a:gd name="T40" fmla="*/ 372 w 630"/>
                <a:gd name="T41" fmla="*/ 226 h 429"/>
                <a:gd name="T42" fmla="*/ 372 w 630"/>
                <a:gd name="T43" fmla="*/ 227 h 429"/>
                <a:gd name="T44" fmla="*/ 372 w 630"/>
                <a:gd name="T45" fmla="*/ 227 h 429"/>
                <a:gd name="T46" fmla="*/ 372 w 630"/>
                <a:gd name="T47" fmla="*/ 22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30" h="429">
                  <a:moveTo>
                    <a:pt x="558" y="141"/>
                  </a:moveTo>
                  <a:cubicBezTo>
                    <a:pt x="559" y="135"/>
                    <a:pt x="559" y="129"/>
                    <a:pt x="559" y="122"/>
                  </a:cubicBezTo>
                  <a:cubicBezTo>
                    <a:pt x="559" y="55"/>
                    <a:pt x="504" y="0"/>
                    <a:pt x="437" y="0"/>
                  </a:cubicBezTo>
                  <a:cubicBezTo>
                    <a:pt x="376" y="0"/>
                    <a:pt x="327" y="43"/>
                    <a:pt x="316" y="100"/>
                  </a:cubicBezTo>
                  <a:cubicBezTo>
                    <a:pt x="311" y="99"/>
                    <a:pt x="307" y="99"/>
                    <a:pt x="302" y="99"/>
                  </a:cubicBezTo>
                  <a:cubicBezTo>
                    <a:pt x="265" y="99"/>
                    <a:pt x="234" y="123"/>
                    <a:pt x="223" y="156"/>
                  </a:cubicBezTo>
                  <a:cubicBezTo>
                    <a:pt x="212" y="123"/>
                    <a:pt x="181" y="99"/>
                    <a:pt x="144" y="99"/>
                  </a:cubicBezTo>
                  <a:cubicBezTo>
                    <a:pt x="98" y="99"/>
                    <a:pt x="61" y="136"/>
                    <a:pt x="61" y="182"/>
                  </a:cubicBezTo>
                  <a:cubicBezTo>
                    <a:pt x="61" y="191"/>
                    <a:pt x="62" y="199"/>
                    <a:pt x="65" y="208"/>
                  </a:cubicBezTo>
                  <a:cubicBezTo>
                    <a:pt x="28" y="216"/>
                    <a:pt x="0" y="249"/>
                    <a:pt x="0" y="289"/>
                  </a:cubicBezTo>
                  <a:cubicBezTo>
                    <a:pt x="0" y="334"/>
                    <a:pt x="38" y="372"/>
                    <a:pt x="83" y="372"/>
                  </a:cubicBezTo>
                  <a:cubicBezTo>
                    <a:pt x="100" y="372"/>
                    <a:pt x="116" y="367"/>
                    <a:pt x="129" y="358"/>
                  </a:cubicBezTo>
                  <a:cubicBezTo>
                    <a:pt x="149" y="400"/>
                    <a:pt x="191" y="429"/>
                    <a:pt x="241" y="429"/>
                  </a:cubicBezTo>
                  <a:cubicBezTo>
                    <a:pt x="287" y="429"/>
                    <a:pt x="328" y="403"/>
                    <a:pt x="348" y="365"/>
                  </a:cubicBezTo>
                  <a:cubicBezTo>
                    <a:pt x="366" y="388"/>
                    <a:pt x="393" y="403"/>
                    <a:pt x="424" y="403"/>
                  </a:cubicBezTo>
                  <a:cubicBezTo>
                    <a:pt x="477" y="403"/>
                    <a:pt x="520" y="360"/>
                    <a:pt x="520" y="307"/>
                  </a:cubicBezTo>
                  <a:cubicBezTo>
                    <a:pt x="520" y="305"/>
                    <a:pt x="520" y="304"/>
                    <a:pt x="520" y="302"/>
                  </a:cubicBezTo>
                  <a:cubicBezTo>
                    <a:pt x="528" y="305"/>
                    <a:pt x="537" y="307"/>
                    <a:pt x="547" y="307"/>
                  </a:cubicBezTo>
                  <a:cubicBezTo>
                    <a:pt x="593" y="307"/>
                    <a:pt x="630" y="270"/>
                    <a:pt x="630" y="224"/>
                  </a:cubicBezTo>
                  <a:cubicBezTo>
                    <a:pt x="630" y="182"/>
                    <a:pt x="598" y="147"/>
                    <a:pt x="558" y="141"/>
                  </a:cubicBezTo>
                  <a:close/>
                  <a:moveTo>
                    <a:pt x="372" y="226"/>
                  </a:moveTo>
                  <a:cubicBezTo>
                    <a:pt x="372" y="226"/>
                    <a:pt x="372" y="227"/>
                    <a:pt x="372" y="227"/>
                  </a:cubicBezTo>
                  <a:cubicBezTo>
                    <a:pt x="372" y="227"/>
                    <a:pt x="372" y="227"/>
                    <a:pt x="372" y="227"/>
                  </a:cubicBezTo>
                  <a:cubicBezTo>
                    <a:pt x="372" y="227"/>
                    <a:pt x="372" y="227"/>
                    <a:pt x="372" y="226"/>
                  </a:cubicBezTo>
                  <a:close/>
                </a:path>
              </a:pathLst>
            </a:custGeom>
            <a:solidFill>
              <a:schemeClr val="bg2">
                <a:lumMod val="90000"/>
              </a:schemeClr>
            </a:solidFill>
            <a:ln>
              <a:noFill/>
            </a:ln>
          </p:spPr>
          <p:txBody>
            <a:bodyPr/>
            <a:lstStyle/>
            <a:p>
              <a:pPr eaLnBrk="1" fontAlgn="auto" hangingPunct="1">
                <a:spcBef>
                  <a:spcPts val="0"/>
                </a:spcBef>
                <a:spcAft>
                  <a:spcPts val="0"/>
                </a:spcAft>
                <a:defRPr/>
              </a:pPr>
              <a:endParaRPr lang="en-US">
                <a:latin typeface="+mn-lt"/>
              </a:endParaRPr>
            </a:p>
          </p:txBody>
        </p:sp>
        <p:sp>
          <p:nvSpPr>
            <p:cNvPr id="347" name="Freeform 249">
              <a:extLst>
                <a:ext uri="{FF2B5EF4-FFF2-40B4-BE49-F238E27FC236}">
                  <a16:creationId xmlns:a16="http://schemas.microsoft.com/office/drawing/2014/main" id="{FCCFDC13-C52D-5531-2162-C91205CB2BEB}"/>
                </a:ext>
              </a:extLst>
            </p:cNvPr>
            <p:cNvSpPr>
              <a:spLocks noEditPoints="1"/>
            </p:cNvSpPr>
            <p:nvPr/>
          </p:nvSpPr>
          <p:spPr bwMode="auto">
            <a:xfrm>
              <a:off x="4049" y="-293"/>
              <a:ext cx="1755" cy="1197"/>
            </a:xfrm>
            <a:custGeom>
              <a:avLst/>
              <a:gdLst>
                <a:gd name="T0" fmla="*/ 657 w 742"/>
                <a:gd name="T1" fmla="*/ 167 h 507"/>
                <a:gd name="T2" fmla="*/ 659 w 742"/>
                <a:gd name="T3" fmla="*/ 145 h 507"/>
                <a:gd name="T4" fmla="*/ 515 w 742"/>
                <a:gd name="T5" fmla="*/ 0 h 507"/>
                <a:gd name="T6" fmla="*/ 373 w 742"/>
                <a:gd name="T7" fmla="*/ 119 h 507"/>
                <a:gd name="T8" fmla="*/ 356 w 742"/>
                <a:gd name="T9" fmla="*/ 117 h 507"/>
                <a:gd name="T10" fmla="*/ 263 w 742"/>
                <a:gd name="T11" fmla="*/ 185 h 507"/>
                <a:gd name="T12" fmla="*/ 169 w 742"/>
                <a:gd name="T13" fmla="*/ 117 h 507"/>
                <a:gd name="T14" fmla="*/ 71 w 742"/>
                <a:gd name="T15" fmla="*/ 215 h 507"/>
                <a:gd name="T16" fmla="*/ 76 w 742"/>
                <a:gd name="T17" fmla="*/ 245 h 507"/>
                <a:gd name="T18" fmla="*/ 0 w 742"/>
                <a:gd name="T19" fmla="*/ 341 h 507"/>
                <a:gd name="T20" fmla="*/ 98 w 742"/>
                <a:gd name="T21" fmla="*/ 439 h 507"/>
                <a:gd name="T22" fmla="*/ 152 w 742"/>
                <a:gd name="T23" fmla="*/ 423 h 507"/>
                <a:gd name="T24" fmla="*/ 284 w 742"/>
                <a:gd name="T25" fmla="*/ 507 h 507"/>
                <a:gd name="T26" fmla="*/ 411 w 742"/>
                <a:gd name="T27" fmla="*/ 431 h 507"/>
                <a:gd name="T28" fmla="*/ 500 w 742"/>
                <a:gd name="T29" fmla="*/ 475 h 507"/>
                <a:gd name="T30" fmla="*/ 613 w 742"/>
                <a:gd name="T31" fmla="*/ 362 h 507"/>
                <a:gd name="T32" fmla="*/ 613 w 742"/>
                <a:gd name="T33" fmla="*/ 357 h 507"/>
                <a:gd name="T34" fmla="*/ 645 w 742"/>
                <a:gd name="T35" fmla="*/ 362 h 507"/>
                <a:gd name="T36" fmla="*/ 742 w 742"/>
                <a:gd name="T37" fmla="*/ 265 h 507"/>
                <a:gd name="T38" fmla="*/ 657 w 742"/>
                <a:gd name="T39" fmla="*/ 167 h 507"/>
                <a:gd name="T40" fmla="*/ 438 w 742"/>
                <a:gd name="T41" fmla="*/ 268 h 507"/>
                <a:gd name="T42" fmla="*/ 439 w 742"/>
                <a:gd name="T43" fmla="*/ 268 h 507"/>
                <a:gd name="T44" fmla="*/ 438 w 742"/>
                <a:gd name="T45" fmla="*/ 268 h 507"/>
                <a:gd name="T46" fmla="*/ 438 w 742"/>
                <a:gd name="T47" fmla="*/ 268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42" h="507">
                  <a:moveTo>
                    <a:pt x="657" y="167"/>
                  </a:moveTo>
                  <a:cubicBezTo>
                    <a:pt x="658" y="160"/>
                    <a:pt x="659" y="153"/>
                    <a:pt x="659" y="145"/>
                  </a:cubicBezTo>
                  <a:cubicBezTo>
                    <a:pt x="659" y="65"/>
                    <a:pt x="594" y="0"/>
                    <a:pt x="515" y="0"/>
                  </a:cubicBezTo>
                  <a:cubicBezTo>
                    <a:pt x="444" y="0"/>
                    <a:pt x="385" y="51"/>
                    <a:pt x="373" y="119"/>
                  </a:cubicBezTo>
                  <a:cubicBezTo>
                    <a:pt x="367" y="118"/>
                    <a:pt x="362" y="117"/>
                    <a:pt x="356" y="117"/>
                  </a:cubicBezTo>
                  <a:cubicBezTo>
                    <a:pt x="312" y="117"/>
                    <a:pt x="275" y="146"/>
                    <a:pt x="263" y="185"/>
                  </a:cubicBezTo>
                  <a:cubicBezTo>
                    <a:pt x="250" y="146"/>
                    <a:pt x="213" y="117"/>
                    <a:pt x="169" y="117"/>
                  </a:cubicBezTo>
                  <a:cubicBezTo>
                    <a:pt x="115" y="117"/>
                    <a:pt x="71" y="161"/>
                    <a:pt x="71" y="215"/>
                  </a:cubicBezTo>
                  <a:cubicBezTo>
                    <a:pt x="71" y="226"/>
                    <a:pt x="73" y="236"/>
                    <a:pt x="76" y="245"/>
                  </a:cubicBezTo>
                  <a:cubicBezTo>
                    <a:pt x="33" y="255"/>
                    <a:pt x="0" y="294"/>
                    <a:pt x="0" y="341"/>
                  </a:cubicBezTo>
                  <a:cubicBezTo>
                    <a:pt x="0" y="395"/>
                    <a:pt x="44" y="439"/>
                    <a:pt x="98" y="439"/>
                  </a:cubicBezTo>
                  <a:cubicBezTo>
                    <a:pt x="118" y="439"/>
                    <a:pt x="137" y="433"/>
                    <a:pt x="152" y="423"/>
                  </a:cubicBezTo>
                  <a:cubicBezTo>
                    <a:pt x="175" y="472"/>
                    <a:pt x="225" y="507"/>
                    <a:pt x="284" y="507"/>
                  </a:cubicBezTo>
                  <a:cubicBezTo>
                    <a:pt x="339" y="507"/>
                    <a:pt x="386" y="476"/>
                    <a:pt x="411" y="431"/>
                  </a:cubicBezTo>
                  <a:cubicBezTo>
                    <a:pt x="431" y="458"/>
                    <a:pt x="464" y="475"/>
                    <a:pt x="500" y="475"/>
                  </a:cubicBezTo>
                  <a:cubicBezTo>
                    <a:pt x="563" y="475"/>
                    <a:pt x="613" y="425"/>
                    <a:pt x="613" y="362"/>
                  </a:cubicBezTo>
                  <a:cubicBezTo>
                    <a:pt x="613" y="361"/>
                    <a:pt x="613" y="359"/>
                    <a:pt x="613" y="357"/>
                  </a:cubicBezTo>
                  <a:cubicBezTo>
                    <a:pt x="623" y="361"/>
                    <a:pt x="633" y="362"/>
                    <a:pt x="645" y="362"/>
                  </a:cubicBezTo>
                  <a:cubicBezTo>
                    <a:pt x="699" y="362"/>
                    <a:pt x="742" y="319"/>
                    <a:pt x="742" y="265"/>
                  </a:cubicBezTo>
                  <a:cubicBezTo>
                    <a:pt x="742" y="215"/>
                    <a:pt x="705" y="174"/>
                    <a:pt x="657" y="167"/>
                  </a:cubicBezTo>
                  <a:close/>
                  <a:moveTo>
                    <a:pt x="438" y="268"/>
                  </a:moveTo>
                  <a:cubicBezTo>
                    <a:pt x="439" y="268"/>
                    <a:pt x="439" y="268"/>
                    <a:pt x="439" y="268"/>
                  </a:cubicBezTo>
                  <a:cubicBezTo>
                    <a:pt x="439" y="268"/>
                    <a:pt x="438" y="268"/>
                    <a:pt x="438" y="268"/>
                  </a:cubicBezTo>
                  <a:cubicBezTo>
                    <a:pt x="438" y="268"/>
                    <a:pt x="438" y="268"/>
                    <a:pt x="438" y="268"/>
                  </a:cubicBezTo>
                  <a:close/>
                </a:path>
              </a:pathLst>
            </a:custGeom>
            <a:solidFill>
              <a:schemeClr val="bg2">
                <a:lumMod val="90000"/>
              </a:schemeClr>
            </a:solidFill>
            <a:ln>
              <a:noFill/>
            </a:ln>
          </p:spPr>
          <p:txBody>
            <a:bodyPr/>
            <a:lstStyle/>
            <a:p>
              <a:pPr eaLnBrk="1" fontAlgn="auto" hangingPunct="1">
                <a:spcBef>
                  <a:spcPts val="0"/>
                </a:spcBef>
                <a:spcAft>
                  <a:spcPts val="0"/>
                </a:spcAft>
                <a:defRPr/>
              </a:pPr>
              <a:endParaRPr lang="en-US">
                <a:latin typeface="+mn-lt"/>
              </a:endParaRPr>
            </a:p>
          </p:txBody>
        </p:sp>
        <p:sp>
          <p:nvSpPr>
            <p:cNvPr id="25658" name="Rectangle 250">
              <a:extLst>
                <a:ext uri="{FF2B5EF4-FFF2-40B4-BE49-F238E27FC236}">
                  <a16:creationId xmlns:a16="http://schemas.microsoft.com/office/drawing/2014/main" id="{749352EC-D09B-BAB0-21DD-200572AD3189}"/>
                </a:ext>
              </a:extLst>
            </p:cNvPr>
            <p:cNvSpPr>
              <a:spLocks noChangeArrowheads="1"/>
            </p:cNvSpPr>
            <p:nvPr/>
          </p:nvSpPr>
          <p:spPr bwMode="auto">
            <a:xfrm>
              <a:off x="1364" y="3654"/>
              <a:ext cx="29" cy="248"/>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659" name="Rectangle 251">
              <a:extLst>
                <a:ext uri="{FF2B5EF4-FFF2-40B4-BE49-F238E27FC236}">
                  <a16:creationId xmlns:a16="http://schemas.microsoft.com/office/drawing/2014/main" id="{1BCEE10F-9B28-CE5E-EA1A-DB0BD334C7C9}"/>
                </a:ext>
              </a:extLst>
            </p:cNvPr>
            <p:cNvSpPr>
              <a:spLocks noChangeArrowheads="1"/>
            </p:cNvSpPr>
            <p:nvPr/>
          </p:nvSpPr>
          <p:spPr bwMode="auto">
            <a:xfrm>
              <a:off x="1357" y="3651"/>
              <a:ext cx="43" cy="36"/>
            </a:xfrm>
            <a:prstGeom prst="rect">
              <a:avLst/>
            </a:prstGeom>
            <a:solidFill>
              <a:srgbClr val="37373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660" name="Rectangle 252">
              <a:extLst>
                <a:ext uri="{FF2B5EF4-FFF2-40B4-BE49-F238E27FC236}">
                  <a16:creationId xmlns:a16="http://schemas.microsoft.com/office/drawing/2014/main" id="{ECF8D9C7-212C-6439-94F7-A2C6E110A7C6}"/>
                </a:ext>
              </a:extLst>
            </p:cNvPr>
            <p:cNvSpPr>
              <a:spLocks noChangeArrowheads="1"/>
            </p:cNvSpPr>
            <p:nvPr/>
          </p:nvSpPr>
          <p:spPr bwMode="auto">
            <a:xfrm>
              <a:off x="2026" y="3656"/>
              <a:ext cx="26" cy="246"/>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661" name="Rectangle 253">
              <a:extLst>
                <a:ext uri="{FF2B5EF4-FFF2-40B4-BE49-F238E27FC236}">
                  <a16:creationId xmlns:a16="http://schemas.microsoft.com/office/drawing/2014/main" id="{3DDC8744-4F00-6235-7932-07449FDD03B5}"/>
                </a:ext>
              </a:extLst>
            </p:cNvPr>
            <p:cNvSpPr>
              <a:spLocks noChangeArrowheads="1"/>
            </p:cNvSpPr>
            <p:nvPr/>
          </p:nvSpPr>
          <p:spPr bwMode="auto">
            <a:xfrm>
              <a:off x="2017" y="3654"/>
              <a:ext cx="43" cy="33"/>
            </a:xfrm>
            <a:prstGeom prst="rect">
              <a:avLst/>
            </a:prstGeom>
            <a:solidFill>
              <a:srgbClr val="37373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662" name="Rectangle 254">
              <a:extLst>
                <a:ext uri="{FF2B5EF4-FFF2-40B4-BE49-F238E27FC236}">
                  <a16:creationId xmlns:a16="http://schemas.microsoft.com/office/drawing/2014/main" id="{373767B8-F820-6033-9C3F-EEA7F86C3EA9}"/>
                </a:ext>
              </a:extLst>
            </p:cNvPr>
            <p:cNvSpPr>
              <a:spLocks noChangeArrowheads="1"/>
            </p:cNvSpPr>
            <p:nvPr/>
          </p:nvSpPr>
          <p:spPr bwMode="auto">
            <a:xfrm>
              <a:off x="2686" y="3656"/>
              <a:ext cx="28" cy="249"/>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663" name="Rectangle 255">
              <a:extLst>
                <a:ext uri="{FF2B5EF4-FFF2-40B4-BE49-F238E27FC236}">
                  <a16:creationId xmlns:a16="http://schemas.microsoft.com/office/drawing/2014/main" id="{F2852E85-B8C1-A696-117B-B04C0AFEFA03}"/>
                </a:ext>
              </a:extLst>
            </p:cNvPr>
            <p:cNvSpPr>
              <a:spLocks noChangeArrowheads="1"/>
            </p:cNvSpPr>
            <p:nvPr/>
          </p:nvSpPr>
          <p:spPr bwMode="auto">
            <a:xfrm>
              <a:off x="2679" y="3654"/>
              <a:ext cx="43" cy="35"/>
            </a:xfrm>
            <a:prstGeom prst="rect">
              <a:avLst/>
            </a:prstGeom>
            <a:solidFill>
              <a:srgbClr val="37373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664" name="Rectangle 256">
              <a:extLst>
                <a:ext uri="{FF2B5EF4-FFF2-40B4-BE49-F238E27FC236}">
                  <a16:creationId xmlns:a16="http://schemas.microsoft.com/office/drawing/2014/main" id="{E8B15E80-2783-78F1-D8B9-43A64580890D}"/>
                </a:ext>
              </a:extLst>
            </p:cNvPr>
            <p:cNvSpPr>
              <a:spLocks noChangeArrowheads="1"/>
            </p:cNvSpPr>
            <p:nvPr/>
          </p:nvSpPr>
          <p:spPr bwMode="auto">
            <a:xfrm>
              <a:off x="3346" y="3659"/>
              <a:ext cx="28" cy="246"/>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665" name="Rectangle 257">
              <a:extLst>
                <a:ext uri="{FF2B5EF4-FFF2-40B4-BE49-F238E27FC236}">
                  <a16:creationId xmlns:a16="http://schemas.microsoft.com/office/drawing/2014/main" id="{1BC439FC-DDA0-991A-22B1-BF0A9319C865}"/>
                </a:ext>
              </a:extLst>
            </p:cNvPr>
            <p:cNvSpPr>
              <a:spLocks noChangeArrowheads="1"/>
            </p:cNvSpPr>
            <p:nvPr/>
          </p:nvSpPr>
          <p:spPr bwMode="auto">
            <a:xfrm>
              <a:off x="3339" y="3656"/>
              <a:ext cx="42" cy="33"/>
            </a:xfrm>
            <a:prstGeom prst="rect">
              <a:avLst/>
            </a:prstGeom>
            <a:solidFill>
              <a:srgbClr val="37373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666" name="Rectangle 258">
              <a:extLst>
                <a:ext uri="{FF2B5EF4-FFF2-40B4-BE49-F238E27FC236}">
                  <a16:creationId xmlns:a16="http://schemas.microsoft.com/office/drawing/2014/main" id="{7924B207-489B-7CD3-DF66-A6E7370B69BD}"/>
                </a:ext>
              </a:extLst>
            </p:cNvPr>
            <p:cNvSpPr>
              <a:spLocks noChangeArrowheads="1"/>
            </p:cNvSpPr>
            <p:nvPr/>
          </p:nvSpPr>
          <p:spPr bwMode="auto">
            <a:xfrm>
              <a:off x="4008" y="3659"/>
              <a:ext cx="26" cy="248"/>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667" name="Rectangle 259">
              <a:extLst>
                <a:ext uri="{FF2B5EF4-FFF2-40B4-BE49-F238E27FC236}">
                  <a16:creationId xmlns:a16="http://schemas.microsoft.com/office/drawing/2014/main" id="{E058AC2B-51A5-A18B-4EFF-CBF3AA79BE6E}"/>
                </a:ext>
              </a:extLst>
            </p:cNvPr>
            <p:cNvSpPr>
              <a:spLocks noChangeArrowheads="1"/>
            </p:cNvSpPr>
            <p:nvPr/>
          </p:nvSpPr>
          <p:spPr bwMode="auto">
            <a:xfrm>
              <a:off x="3998" y="3656"/>
              <a:ext cx="43" cy="36"/>
            </a:xfrm>
            <a:prstGeom prst="rect">
              <a:avLst/>
            </a:prstGeom>
            <a:solidFill>
              <a:srgbClr val="37373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668" name="Rectangle 260">
              <a:extLst>
                <a:ext uri="{FF2B5EF4-FFF2-40B4-BE49-F238E27FC236}">
                  <a16:creationId xmlns:a16="http://schemas.microsoft.com/office/drawing/2014/main" id="{079AE58B-1625-26D4-5C28-F9B5F8A56277}"/>
                </a:ext>
              </a:extLst>
            </p:cNvPr>
            <p:cNvSpPr>
              <a:spLocks noChangeArrowheads="1"/>
            </p:cNvSpPr>
            <p:nvPr/>
          </p:nvSpPr>
          <p:spPr bwMode="auto">
            <a:xfrm>
              <a:off x="4668" y="3661"/>
              <a:ext cx="28" cy="246"/>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669" name="Rectangle 261">
              <a:extLst>
                <a:ext uri="{FF2B5EF4-FFF2-40B4-BE49-F238E27FC236}">
                  <a16:creationId xmlns:a16="http://schemas.microsoft.com/office/drawing/2014/main" id="{30C0D101-63BB-ABB1-05E7-B1171DF27874}"/>
                </a:ext>
              </a:extLst>
            </p:cNvPr>
            <p:cNvSpPr>
              <a:spLocks noChangeArrowheads="1"/>
            </p:cNvSpPr>
            <p:nvPr/>
          </p:nvSpPr>
          <p:spPr bwMode="auto">
            <a:xfrm>
              <a:off x="4660" y="3659"/>
              <a:ext cx="43" cy="33"/>
            </a:xfrm>
            <a:prstGeom prst="rect">
              <a:avLst/>
            </a:prstGeom>
            <a:solidFill>
              <a:srgbClr val="37373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670" name="Rectangle 262">
              <a:extLst>
                <a:ext uri="{FF2B5EF4-FFF2-40B4-BE49-F238E27FC236}">
                  <a16:creationId xmlns:a16="http://schemas.microsoft.com/office/drawing/2014/main" id="{294C4CFC-50FD-9C2B-A1A4-748315DCADDF}"/>
                </a:ext>
              </a:extLst>
            </p:cNvPr>
            <p:cNvSpPr>
              <a:spLocks noChangeArrowheads="1"/>
            </p:cNvSpPr>
            <p:nvPr/>
          </p:nvSpPr>
          <p:spPr bwMode="auto">
            <a:xfrm>
              <a:off x="5327" y="3661"/>
              <a:ext cx="29" cy="248"/>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671" name="Rectangle 263">
              <a:extLst>
                <a:ext uri="{FF2B5EF4-FFF2-40B4-BE49-F238E27FC236}">
                  <a16:creationId xmlns:a16="http://schemas.microsoft.com/office/drawing/2014/main" id="{57DC5DA8-423E-1EAD-65FE-EDA452983A49}"/>
                </a:ext>
              </a:extLst>
            </p:cNvPr>
            <p:cNvSpPr>
              <a:spLocks noChangeArrowheads="1"/>
            </p:cNvSpPr>
            <p:nvPr/>
          </p:nvSpPr>
          <p:spPr bwMode="auto">
            <a:xfrm>
              <a:off x="5320" y="3659"/>
              <a:ext cx="43" cy="35"/>
            </a:xfrm>
            <a:prstGeom prst="rect">
              <a:avLst/>
            </a:prstGeom>
            <a:solidFill>
              <a:srgbClr val="37373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672" name="Rectangle 264">
              <a:extLst>
                <a:ext uri="{FF2B5EF4-FFF2-40B4-BE49-F238E27FC236}">
                  <a16:creationId xmlns:a16="http://schemas.microsoft.com/office/drawing/2014/main" id="{F9937E4B-43A1-FD77-A99C-4037DD20C815}"/>
                </a:ext>
              </a:extLst>
            </p:cNvPr>
            <p:cNvSpPr>
              <a:spLocks noChangeArrowheads="1"/>
            </p:cNvSpPr>
            <p:nvPr/>
          </p:nvSpPr>
          <p:spPr bwMode="auto">
            <a:xfrm>
              <a:off x="5989" y="3661"/>
              <a:ext cx="26" cy="248"/>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673" name="Rectangle 265">
              <a:extLst>
                <a:ext uri="{FF2B5EF4-FFF2-40B4-BE49-F238E27FC236}">
                  <a16:creationId xmlns:a16="http://schemas.microsoft.com/office/drawing/2014/main" id="{1FC7D475-9200-84E2-7D9D-15FD35F24700}"/>
                </a:ext>
              </a:extLst>
            </p:cNvPr>
            <p:cNvSpPr>
              <a:spLocks noChangeArrowheads="1"/>
            </p:cNvSpPr>
            <p:nvPr/>
          </p:nvSpPr>
          <p:spPr bwMode="auto">
            <a:xfrm>
              <a:off x="5980" y="3661"/>
              <a:ext cx="42" cy="33"/>
            </a:xfrm>
            <a:prstGeom prst="rect">
              <a:avLst/>
            </a:prstGeom>
            <a:solidFill>
              <a:srgbClr val="37373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674" name="Rectangle 266">
              <a:extLst>
                <a:ext uri="{FF2B5EF4-FFF2-40B4-BE49-F238E27FC236}">
                  <a16:creationId xmlns:a16="http://schemas.microsoft.com/office/drawing/2014/main" id="{157C08BC-6647-21C8-BE7B-4F682AC8958F}"/>
                </a:ext>
              </a:extLst>
            </p:cNvPr>
            <p:cNvSpPr>
              <a:spLocks noChangeArrowheads="1"/>
            </p:cNvSpPr>
            <p:nvPr/>
          </p:nvSpPr>
          <p:spPr bwMode="auto">
            <a:xfrm>
              <a:off x="6649" y="3663"/>
              <a:ext cx="28" cy="249"/>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675" name="Rectangle 267">
              <a:extLst>
                <a:ext uri="{FF2B5EF4-FFF2-40B4-BE49-F238E27FC236}">
                  <a16:creationId xmlns:a16="http://schemas.microsoft.com/office/drawing/2014/main" id="{CF2FB708-09D4-7222-80BC-43B65B6EA4D6}"/>
                </a:ext>
              </a:extLst>
            </p:cNvPr>
            <p:cNvSpPr>
              <a:spLocks noChangeArrowheads="1"/>
            </p:cNvSpPr>
            <p:nvPr/>
          </p:nvSpPr>
          <p:spPr bwMode="auto">
            <a:xfrm>
              <a:off x="6642" y="3661"/>
              <a:ext cx="42" cy="35"/>
            </a:xfrm>
            <a:prstGeom prst="rect">
              <a:avLst/>
            </a:prstGeom>
            <a:solidFill>
              <a:srgbClr val="37373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676" name="Freeform 268">
              <a:extLst>
                <a:ext uri="{FF2B5EF4-FFF2-40B4-BE49-F238E27FC236}">
                  <a16:creationId xmlns:a16="http://schemas.microsoft.com/office/drawing/2014/main" id="{35574B63-CBA2-D7E3-1E67-DCFD4B4AFE9E}"/>
                </a:ext>
              </a:extLst>
            </p:cNvPr>
            <p:cNvSpPr>
              <a:spLocks/>
            </p:cNvSpPr>
            <p:nvPr/>
          </p:nvSpPr>
          <p:spPr bwMode="auto">
            <a:xfrm>
              <a:off x="655" y="3900"/>
              <a:ext cx="6448" cy="177"/>
            </a:xfrm>
            <a:custGeom>
              <a:avLst/>
              <a:gdLst>
                <a:gd name="T0" fmla="*/ 6245 w 6448"/>
                <a:gd name="T1" fmla="*/ 177 h 177"/>
                <a:gd name="T2" fmla="*/ 161 w 6448"/>
                <a:gd name="T3" fmla="*/ 177 h 177"/>
                <a:gd name="T4" fmla="*/ 0 w 6448"/>
                <a:gd name="T5" fmla="*/ 0 h 177"/>
                <a:gd name="T6" fmla="*/ 6448 w 6448"/>
                <a:gd name="T7" fmla="*/ 0 h 177"/>
                <a:gd name="T8" fmla="*/ 6245 w 6448"/>
                <a:gd name="T9" fmla="*/ 177 h 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448" h="177">
                  <a:moveTo>
                    <a:pt x="6245" y="177"/>
                  </a:moveTo>
                  <a:lnTo>
                    <a:pt x="161" y="177"/>
                  </a:lnTo>
                  <a:lnTo>
                    <a:pt x="0" y="0"/>
                  </a:lnTo>
                  <a:lnTo>
                    <a:pt x="6448" y="0"/>
                  </a:lnTo>
                  <a:lnTo>
                    <a:pt x="6245" y="177"/>
                  </a:lnTo>
                  <a:close/>
                </a:path>
              </a:pathLst>
            </a:custGeom>
            <a:solidFill>
              <a:srgbClr val="4176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77" name="Freeform 269">
              <a:extLst>
                <a:ext uri="{FF2B5EF4-FFF2-40B4-BE49-F238E27FC236}">
                  <a16:creationId xmlns:a16="http://schemas.microsoft.com/office/drawing/2014/main" id="{EA9099E6-F61C-A97B-7C73-AC8A121337A3}"/>
                </a:ext>
              </a:extLst>
            </p:cNvPr>
            <p:cNvSpPr>
              <a:spLocks/>
            </p:cNvSpPr>
            <p:nvPr/>
          </p:nvSpPr>
          <p:spPr bwMode="auto">
            <a:xfrm>
              <a:off x="2918" y="2719"/>
              <a:ext cx="210" cy="1181"/>
            </a:xfrm>
            <a:custGeom>
              <a:avLst/>
              <a:gdLst>
                <a:gd name="T0" fmla="*/ 453467216 w 89"/>
                <a:gd name="T1" fmla="*/ 211271369 h 499"/>
                <a:gd name="T2" fmla="*/ 226134574 w 89"/>
                <a:gd name="T3" fmla="*/ 0 h 499"/>
                <a:gd name="T4" fmla="*/ 0 w 89"/>
                <a:gd name="T5" fmla="*/ 238247284 h 499"/>
                <a:gd name="T6" fmla="*/ 374740956 w 89"/>
                <a:gd name="T7" fmla="*/ 238247284 h 499"/>
                <a:gd name="T8" fmla="*/ 374740956 w 89"/>
                <a:gd name="T9" fmla="*/ 2147483646 h 499"/>
                <a:gd name="T10" fmla="*/ 457804356 w 89"/>
                <a:gd name="T11" fmla="*/ 2147483646 h 499"/>
                <a:gd name="T12" fmla="*/ 457804356 w 89"/>
                <a:gd name="T13" fmla="*/ 211271369 h 499"/>
                <a:gd name="T14" fmla="*/ 453467216 w 89"/>
                <a:gd name="T15" fmla="*/ 211271369 h 49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9" h="499">
                  <a:moveTo>
                    <a:pt x="88" y="39"/>
                  </a:moveTo>
                  <a:cubicBezTo>
                    <a:pt x="86" y="17"/>
                    <a:pt x="67" y="0"/>
                    <a:pt x="44" y="0"/>
                  </a:cubicBezTo>
                  <a:cubicBezTo>
                    <a:pt x="20" y="0"/>
                    <a:pt x="0" y="19"/>
                    <a:pt x="0" y="44"/>
                  </a:cubicBezTo>
                  <a:cubicBezTo>
                    <a:pt x="21" y="44"/>
                    <a:pt x="52" y="44"/>
                    <a:pt x="73" y="44"/>
                  </a:cubicBezTo>
                  <a:cubicBezTo>
                    <a:pt x="73" y="499"/>
                    <a:pt x="73" y="499"/>
                    <a:pt x="73" y="499"/>
                  </a:cubicBezTo>
                  <a:cubicBezTo>
                    <a:pt x="89" y="499"/>
                    <a:pt x="89" y="499"/>
                    <a:pt x="89" y="499"/>
                  </a:cubicBezTo>
                  <a:cubicBezTo>
                    <a:pt x="89" y="39"/>
                    <a:pt x="89" y="39"/>
                    <a:pt x="89" y="39"/>
                  </a:cubicBezTo>
                  <a:lnTo>
                    <a:pt x="88" y="39"/>
                  </a:lnTo>
                  <a:close/>
                </a:path>
              </a:pathLst>
            </a:custGeom>
            <a:solidFill>
              <a:srgbClr val="37373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78" name="Freeform 270">
              <a:extLst>
                <a:ext uri="{FF2B5EF4-FFF2-40B4-BE49-F238E27FC236}">
                  <a16:creationId xmlns:a16="http://schemas.microsoft.com/office/drawing/2014/main" id="{2FF822FD-40CA-09F4-68C5-A94F2ED50419}"/>
                </a:ext>
              </a:extLst>
            </p:cNvPr>
            <p:cNvSpPr>
              <a:spLocks/>
            </p:cNvSpPr>
            <p:nvPr/>
          </p:nvSpPr>
          <p:spPr bwMode="auto">
            <a:xfrm>
              <a:off x="6521" y="2719"/>
              <a:ext cx="208" cy="1181"/>
            </a:xfrm>
            <a:custGeom>
              <a:avLst/>
              <a:gdLst>
                <a:gd name="T0" fmla="*/ 467014706 w 88"/>
                <a:gd name="T1" fmla="*/ 211271369 h 499"/>
                <a:gd name="T2" fmla="*/ 233215972 w 88"/>
                <a:gd name="T3" fmla="*/ 0 h 499"/>
                <a:gd name="T4" fmla="*/ 0 w 88"/>
                <a:gd name="T5" fmla="*/ 238247284 h 499"/>
                <a:gd name="T6" fmla="*/ 388324194 w 88"/>
                <a:gd name="T7" fmla="*/ 238247284 h 499"/>
                <a:gd name="T8" fmla="*/ 388324194 w 88"/>
                <a:gd name="T9" fmla="*/ 2147483646 h 499"/>
                <a:gd name="T10" fmla="*/ 467014706 w 88"/>
                <a:gd name="T11" fmla="*/ 2147483646 h 499"/>
                <a:gd name="T12" fmla="*/ 467014706 w 88"/>
                <a:gd name="T13" fmla="*/ 211271369 h 4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8" h="499">
                  <a:moveTo>
                    <a:pt x="88" y="39"/>
                  </a:moveTo>
                  <a:cubicBezTo>
                    <a:pt x="86" y="17"/>
                    <a:pt x="67" y="0"/>
                    <a:pt x="44" y="0"/>
                  </a:cubicBezTo>
                  <a:cubicBezTo>
                    <a:pt x="20" y="0"/>
                    <a:pt x="0" y="19"/>
                    <a:pt x="0" y="44"/>
                  </a:cubicBezTo>
                  <a:cubicBezTo>
                    <a:pt x="21" y="44"/>
                    <a:pt x="52" y="44"/>
                    <a:pt x="73" y="44"/>
                  </a:cubicBezTo>
                  <a:cubicBezTo>
                    <a:pt x="73" y="499"/>
                    <a:pt x="73" y="499"/>
                    <a:pt x="73" y="499"/>
                  </a:cubicBezTo>
                  <a:cubicBezTo>
                    <a:pt x="88" y="499"/>
                    <a:pt x="88" y="499"/>
                    <a:pt x="88" y="499"/>
                  </a:cubicBezTo>
                  <a:cubicBezTo>
                    <a:pt x="88" y="39"/>
                    <a:pt x="88" y="39"/>
                    <a:pt x="88" y="39"/>
                  </a:cubicBezTo>
                  <a:close/>
                </a:path>
              </a:pathLst>
            </a:custGeom>
            <a:solidFill>
              <a:srgbClr val="37373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79" name="Freeform 271">
              <a:extLst>
                <a:ext uri="{FF2B5EF4-FFF2-40B4-BE49-F238E27FC236}">
                  <a16:creationId xmlns:a16="http://schemas.microsoft.com/office/drawing/2014/main" id="{BF43A8E4-F164-9188-015D-79D48AD9B677}"/>
                </a:ext>
              </a:extLst>
            </p:cNvPr>
            <p:cNvSpPr>
              <a:spLocks/>
            </p:cNvSpPr>
            <p:nvPr/>
          </p:nvSpPr>
          <p:spPr bwMode="auto">
            <a:xfrm>
              <a:off x="4708" y="2719"/>
              <a:ext cx="208" cy="1183"/>
            </a:xfrm>
            <a:custGeom>
              <a:avLst/>
              <a:gdLst>
                <a:gd name="T0" fmla="*/ 467014706 w 88"/>
                <a:gd name="T1" fmla="*/ 216895711 h 500"/>
                <a:gd name="T2" fmla="*/ 233215972 w 88"/>
                <a:gd name="T3" fmla="*/ 0 h 500"/>
                <a:gd name="T4" fmla="*/ 0 w 88"/>
                <a:gd name="T5" fmla="*/ 237202599 h 500"/>
                <a:gd name="T6" fmla="*/ 381323549 w 88"/>
                <a:gd name="T7" fmla="*/ 237202599 h 500"/>
                <a:gd name="T8" fmla="*/ 381323549 w 88"/>
                <a:gd name="T9" fmla="*/ 2147483646 h 500"/>
                <a:gd name="T10" fmla="*/ 467014706 w 88"/>
                <a:gd name="T11" fmla="*/ 2147483646 h 500"/>
                <a:gd name="T12" fmla="*/ 467014706 w 88"/>
                <a:gd name="T13" fmla="*/ 216895711 h 50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8" h="500">
                  <a:moveTo>
                    <a:pt x="88" y="40"/>
                  </a:moveTo>
                  <a:cubicBezTo>
                    <a:pt x="85" y="18"/>
                    <a:pt x="67" y="0"/>
                    <a:pt x="44" y="0"/>
                  </a:cubicBezTo>
                  <a:cubicBezTo>
                    <a:pt x="19" y="0"/>
                    <a:pt x="0" y="20"/>
                    <a:pt x="0" y="44"/>
                  </a:cubicBezTo>
                  <a:cubicBezTo>
                    <a:pt x="20" y="44"/>
                    <a:pt x="51" y="44"/>
                    <a:pt x="72" y="44"/>
                  </a:cubicBezTo>
                  <a:cubicBezTo>
                    <a:pt x="72" y="500"/>
                    <a:pt x="72" y="500"/>
                    <a:pt x="72" y="500"/>
                  </a:cubicBezTo>
                  <a:cubicBezTo>
                    <a:pt x="88" y="500"/>
                    <a:pt x="88" y="500"/>
                    <a:pt x="88" y="500"/>
                  </a:cubicBezTo>
                  <a:cubicBezTo>
                    <a:pt x="88" y="40"/>
                    <a:pt x="88" y="40"/>
                    <a:pt x="88" y="40"/>
                  </a:cubicBezTo>
                  <a:close/>
                </a:path>
              </a:pathLst>
            </a:custGeom>
            <a:solidFill>
              <a:srgbClr val="37373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80" name="Freeform 272">
              <a:extLst>
                <a:ext uri="{FF2B5EF4-FFF2-40B4-BE49-F238E27FC236}">
                  <a16:creationId xmlns:a16="http://schemas.microsoft.com/office/drawing/2014/main" id="{C3CEA763-2685-F719-9A48-C1950E030F4D}"/>
                </a:ext>
              </a:extLst>
            </p:cNvPr>
            <p:cNvSpPr>
              <a:spLocks/>
            </p:cNvSpPr>
            <p:nvPr/>
          </p:nvSpPr>
          <p:spPr bwMode="auto">
            <a:xfrm>
              <a:off x="1130" y="2719"/>
              <a:ext cx="211" cy="1183"/>
            </a:xfrm>
            <a:custGeom>
              <a:avLst/>
              <a:gdLst>
                <a:gd name="T0" fmla="*/ 493176986 w 89"/>
                <a:gd name="T1" fmla="*/ 216895711 h 500"/>
                <a:gd name="T2" fmla="*/ 246149938 w 89"/>
                <a:gd name="T3" fmla="*/ 0 h 500"/>
                <a:gd name="T4" fmla="*/ 0 w 89"/>
                <a:gd name="T5" fmla="*/ 242040111 h 500"/>
                <a:gd name="T6" fmla="*/ 408264336 w 89"/>
                <a:gd name="T7" fmla="*/ 242040111 h 500"/>
                <a:gd name="T8" fmla="*/ 408264336 w 89"/>
                <a:gd name="T9" fmla="*/ 2147483646 h 500"/>
                <a:gd name="T10" fmla="*/ 497804697 w 89"/>
                <a:gd name="T11" fmla="*/ 2147483646 h 500"/>
                <a:gd name="T12" fmla="*/ 497804697 w 89"/>
                <a:gd name="T13" fmla="*/ 216895711 h 500"/>
                <a:gd name="T14" fmla="*/ 493176986 w 89"/>
                <a:gd name="T15" fmla="*/ 216895711 h 5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9" h="500">
                  <a:moveTo>
                    <a:pt x="88" y="40"/>
                  </a:moveTo>
                  <a:cubicBezTo>
                    <a:pt x="86" y="18"/>
                    <a:pt x="67" y="0"/>
                    <a:pt x="44" y="0"/>
                  </a:cubicBezTo>
                  <a:cubicBezTo>
                    <a:pt x="20" y="0"/>
                    <a:pt x="0" y="20"/>
                    <a:pt x="0" y="45"/>
                  </a:cubicBezTo>
                  <a:cubicBezTo>
                    <a:pt x="21" y="45"/>
                    <a:pt x="52" y="45"/>
                    <a:pt x="73" y="45"/>
                  </a:cubicBezTo>
                  <a:cubicBezTo>
                    <a:pt x="73" y="500"/>
                    <a:pt x="73" y="500"/>
                    <a:pt x="73" y="500"/>
                  </a:cubicBezTo>
                  <a:cubicBezTo>
                    <a:pt x="89" y="500"/>
                    <a:pt x="89" y="500"/>
                    <a:pt x="89" y="500"/>
                  </a:cubicBezTo>
                  <a:cubicBezTo>
                    <a:pt x="89" y="40"/>
                    <a:pt x="89" y="40"/>
                    <a:pt x="89" y="40"/>
                  </a:cubicBezTo>
                  <a:lnTo>
                    <a:pt x="88" y="40"/>
                  </a:lnTo>
                  <a:close/>
                </a:path>
              </a:pathLst>
            </a:custGeom>
            <a:solidFill>
              <a:srgbClr val="37373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81" name="Freeform 273">
              <a:extLst>
                <a:ext uri="{FF2B5EF4-FFF2-40B4-BE49-F238E27FC236}">
                  <a16:creationId xmlns:a16="http://schemas.microsoft.com/office/drawing/2014/main" id="{1DECF111-5C14-02D7-4585-28CFBC20909E}"/>
                </a:ext>
              </a:extLst>
            </p:cNvPr>
            <p:cNvSpPr>
              <a:spLocks noEditPoints="1"/>
            </p:cNvSpPr>
            <p:nvPr/>
          </p:nvSpPr>
          <p:spPr bwMode="auto">
            <a:xfrm>
              <a:off x="1471" y="3590"/>
              <a:ext cx="257" cy="312"/>
            </a:xfrm>
            <a:custGeom>
              <a:avLst/>
              <a:gdLst>
                <a:gd name="T0" fmla="*/ 350199376 w 109"/>
                <a:gd name="T1" fmla="*/ 248514947 h 132"/>
                <a:gd name="T2" fmla="*/ 430607209 w 109"/>
                <a:gd name="T3" fmla="*/ 47376772 h 132"/>
                <a:gd name="T4" fmla="*/ 451613644 w 109"/>
                <a:gd name="T5" fmla="*/ 31262608 h 132"/>
                <a:gd name="T6" fmla="*/ 451613644 w 109"/>
                <a:gd name="T7" fmla="*/ 42630834 h 132"/>
                <a:gd name="T8" fmla="*/ 451613644 w 109"/>
                <a:gd name="T9" fmla="*/ 0 h 132"/>
                <a:gd name="T10" fmla="*/ 395803856 w 109"/>
                <a:gd name="T11" fmla="*/ 42630834 h 132"/>
                <a:gd name="T12" fmla="*/ 320289202 w 109"/>
                <a:gd name="T13" fmla="*/ 238168956 h 132"/>
                <a:gd name="T14" fmla="*/ 152434316 w 109"/>
                <a:gd name="T15" fmla="*/ 217251814 h 132"/>
                <a:gd name="T16" fmla="*/ 131615833 w 109"/>
                <a:gd name="T17" fmla="*/ 253259992 h 132"/>
                <a:gd name="T18" fmla="*/ 302874575 w 109"/>
                <a:gd name="T19" fmla="*/ 271439627 h 132"/>
                <a:gd name="T20" fmla="*/ 299129461 w 109"/>
                <a:gd name="T21" fmla="*/ 287401736 h 132"/>
                <a:gd name="T22" fmla="*/ 208870914 w 109"/>
                <a:gd name="T23" fmla="*/ 271439627 h 132"/>
                <a:gd name="T24" fmla="*/ 0 w 109"/>
                <a:gd name="T25" fmla="*/ 487058943 h 132"/>
                <a:gd name="T26" fmla="*/ 208870914 w 109"/>
                <a:gd name="T27" fmla="*/ 699380427 h 132"/>
                <a:gd name="T28" fmla="*/ 415134481 w 109"/>
                <a:gd name="T29" fmla="*/ 487058943 h 132"/>
                <a:gd name="T30" fmla="*/ 329177436 w 109"/>
                <a:gd name="T31" fmla="*/ 307685243 h 132"/>
                <a:gd name="T32" fmla="*/ 340193805 w 109"/>
                <a:gd name="T33" fmla="*/ 287401736 h 132"/>
                <a:gd name="T34" fmla="*/ 380330110 w 109"/>
                <a:gd name="T35" fmla="*/ 318865468 h 132"/>
                <a:gd name="T36" fmla="*/ 440759081 w 109"/>
                <a:gd name="T37" fmla="*/ 487058943 h 132"/>
                <a:gd name="T38" fmla="*/ 470827664 w 109"/>
                <a:gd name="T39" fmla="*/ 487058943 h 132"/>
                <a:gd name="T40" fmla="*/ 451613644 w 109"/>
                <a:gd name="T41" fmla="*/ 370146667 h 132"/>
                <a:gd name="T42" fmla="*/ 542025496 w 109"/>
                <a:gd name="T43" fmla="*/ 470539481 h 132"/>
                <a:gd name="T44" fmla="*/ 552802728 w 109"/>
                <a:gd name="T45" fmla="*/ 509493473 h 132"/>
                <a:gd name="T46" fmla="*/ 552802728 w 109"/>
                <a:gd name="T47" fmla="*/ 435752103 h 132"/>
                <a:gd name="T48" fmla="*/ 350199376 w 109"/>
                <a:gd name="T49" fmla="*/ 248514947 h 132"/>
                <a:gd name="T50" fmla="*/ 380330110 w 109"/>
                <a:gd name="T51" fmla="*/ 487058943 h 132"/>
                <a:gd name="T52" fmla="*/ 208870914 w 109"/>
                <a:gd name="T53" fmla="*/ 661341023 h 132"/>
                <a:gd name="T54" fmla="*/ 41001084 w 109"/>
                <a:gd name="T55" fmla="*/ 487058943 h 132"/>
                <a:gd name="T56" fmla="*/ 208870914 w 109"/>
                <a:gd name="T57" fmla="*/ 307685243 h 132"/>
                <a:gd name="T58" fmla="*/ 280127680 w 109"/>
                <a:gd name="T59" fmla="*/ 322767794 h 132"/>
                <a:gd name="T60" fmla="*/ 193483204 w 109"/>
                <a:gd name="T61" fmla="*/ 470539481 h 132"/>
                <a:gd name="T62" fmla="*/ 223679967 w 109"/>
                <a:gd name="T63" fmla="*/ 498274885 h 132"/>
                <a:gd name="T64" fmla="*/ 313741766 w 109"/>
                <a:gd name="T65" fmla="*/ 345327370 h 132"/>
                <a:gd name="T66" fmla="*/ 380330110 w 109"/>
                <a:gd name="T67" fmla="*/ 487058943 h 1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9" h="132">
                  <a:moveTo>
                    <a:pt x="69" y="47"/>
                  </a:moveTo>
                  <a:cubicBezTo>
                    <a:pt x="70" y="45"/>
                    <a:pt x="78" y="25"/>
                    <a:pt x="85" y="9"/>
                  </a:cubicBezTo>
                  <a:cubicBezTo>
                    <a:pt x="86" y="6"/>
                    <a:pt x="87" y="6"/>
                    <a:pt x="89" y="6"/>
                  </a:cubicBezTo>
                  <a:cubicBezTo>
                    <a:pt x="89" y="8"/>
                    <a:pt x="89" y="8"/>
                    <a:pt x="89" y="8"/>
                  </a:cubicBezTo>
                  <a:cubicBezTo>
                    <a:pt x="89" y="0"/>
                    <a:pt x="89" y="0"/>
                    <a:pt x="89" y="0"/>
                  </a:cubicBezTo>
                  <a:cubicBezTo>
                    <a:pt x="81" y="0"/>
                    <a:pt x="78" y="8"/>
                    <a:pt x="78" y="8"/>
                  </a:cubicBezTo>
                  <a:cubicBezTo>
                    <a:pt x="73" y="19"/>
                    <a:pt x="69" y="31"/>
                    <a:pt x="63" y="45"/>
                  </a:cubicBezTo>
                  <a:cubicBezTo>
                    <a:pt x="47" y="38"/>
                    <a:pt x="32" y="41"/>
                    <a:pt x="30" y="41"/>
                  </a:cubicBezTo>
                  <a:cubicBezTo>
                    <a:pt x="22" y="42"/>
                    <a:pt x="20" y="48"/>
                    <a:pt x="26" y="48"/>
                  </a:cubicBezTo>
                  <a:cubicBezTo>
                    <a:pt x="50" y="45"/>
                    <a:pt x="60" y="51"/>
                    <a:pt x="60" y="51"/>
                  </a:cubicBezTo>
                  <a:cubicBezTo>
                    <a:pt x="60" y="51"/>
                    <a:pt x="59" y="53"/>
                    <a:pt x="59" y="54"/>
                  </a:cubicBezTo>
                  <a:cubicBezTo>
                    <a:pt x="53" y="52"/>
                    <a:pt x="48" y="51"/>
                    <a:pt x="41" y="51"/>
                  </a:cubicBezTo>
                  <a:cubicBezTo>
                    <a:pt x="19" y="51"/>
                    <a:pt x="0" y="69"/>
                    <a:pt x="0" y="92"/>
                  </a:cubicBezTo>
                  <a:cubicBezTo>
                    <a:pt x="0" y="114"/>
                    <a:pt x="19" y="132"/>
                    <a:pt x="41" y="132"/>
                  </a:cubicBezTo>
                  <a:cubicBezTo>
                    <a:pt x="64" y="132"/>
                    <a:pt x="82" y="114"/>
                    <a:pt x="82" y="92"/>
                  </a:cubicBezTo>
                  <a:cubicBezTo>
                    <a:pt x="82" y="78"/>
                    <a:pt x="76" y="66"/>
                    <a:pt x="65" y="58"/>
                  </a:cubicBezTo>
                  <a:cubicBezTo>
                    <a:pt x="66" y="57"/>
                    <a:pt x="66" y="56"/>
                    <a:pt x="67" y="54"/>
                  </a:cubicBezTo>
                  <a:cubicBezTo>
                    <a:pt x="70" y="56"/>
                    <a:pt x="75" y="60"/>
                    <a:pt x="75" y="60"/>
                  </a:cubicBezTo>
                  <a:cubicBezTo>
                    <a:pt x="75" y="60"/>
                    <a:pt x="89" y="72"/>
                    <a:pt x="87" y="92"/>
                  </a:cubicBezTo>
                  <a:cubicBezTo>
                    <a:pt x="86" y="96"/>
                    <a:pt x="91" y="98"/>
                    <a:pt x="93" y="92"/>
                  </a:cubicBezTo>
                  <a:cubicBezTo>
                    <a:pt x="94" y="86"/>
                    <a:pt x="93" y="75"/>
                    <a:pt x="89" y="70"/>
                  </a:cubicBezTo>
                  <a:cubicBezTo>
                    <a:pt x="89" y="70"/>
                    <a:pt x="101" y="78"/>
                    <a:pt x="107" y="89"/>
                  </a:cubicBezTo>
                  <a:cubicBezTo>
                    <a:pt x="107" y="92"/>
                    <a:pt x="107" y="94"/>
                    <a:pt x="109" y="96"/>
                  </a:cubicBezTo>
                  <a:cubicBezTo>
                    <a:pt x="109" y="82"/>
                    <a:pt x="109" y="82"/>
                    <a:pt x="109" y="82"/>
                  </a:cubicBezTo>
                  <a:cubicBezTo>
                    <a:pt x="105" y="77"/>
                    <a:pt x="94" y="63"/>
                    <a:pt x="69" y="47"/>
                  </a:cubicBezTo>
                  <a:close/>
                  <a:moveTo>
                    <a:pt x="75" y="92"/>
                  </a:moveTo>
                  <a:cubicBezTo>
                    <a:pt x="75" y="110"/>
                    <a:pt x="60" y="125"/>
                    <a:pt x="41" y="125"/>
                  </a:cubicBezTo>
                  <a:cubicBezTo>
                    <a:pt x="23" y="125"/>
                    <a:pt x="8" y="110"/>
                    <a:pt x="8" y="92"/>
                  </a:cubicBezTo>
                  <a:cubicBezTo>
                    <a:pt x="8" y="73"/>
                    <a:pt x="23" y="58"/>
                    <a:pt x="41" y="58"/>
                  </a:cubicBezTo>
                  <a:cubicBezTo>
                    <a:pt x="46" y="58"/>
                    <a:pt x="51" y="59"/>
                    <a:pt x="55" y="61"/>
                  </a:cubicBezTo>
                  <a:cubicBezTo>
                    <a:pt x="47" y="77"/>
                    <a:pt x="38" y="89"/>
                    <a:pt x="38" y="89"/>
                  </a:cubicBezTo>
                  <a:cubicBezTo>
                    <a:pt x="44" y="94"/>
                    <a:pt x="44" y="94"/>
                    <a:pt x="44" y="94"/>
                  </a:cubicBezTo>
                  <a:cubicBezTo>
                    <a:pt x="45" y="93"/>
                    <a:pt x="53" y="81"/>
                    <a:pt x="62" y="65"/>
                  </a:cubicBezTo>
                  <a:cubicBezTo>
                    <a:pt x="70" y="71"/>
                    <a:pt x="75" y="81"/>
                    <a:pt x="75" y="92"/>
                  </a:cubicBezTo>
                  <a:close/>
                </a:path>
              </a:pathLst>
            </a:custGeom>
            <a:solidFill>
              <a:srgbClr val="37373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82" name="Freeform 274">
              <a:extLst>
                <a:ext uri="{FF2B5EF4-FFF2-40B4-BE49-F238E27FC236}">
                  <a16:creationId xmlns:a16="http://schemas.microsoft.com/office/drawing/2014/main" id="{BB1FB1EB-1F98-4000-444E-EAB451ED23EC}"/>
                </a:ext>
              </a:extLst>
            </p:cNvPr>
            <p:cNvSpPr>
              <a:spLocks/>
            </p:cNvSpPr>
            <p:nvPr/>
          </p:nvSpPr>
          <p:spPr bwMode="auto">
            <a:xfrm>
              <a:off x="1717" y="3741"/>
              <a:ext cx="11" cy="10"/>
            </a:xfrm>
            <a:custGeom>
              <a:avLst/>
              <a:gdLst>
                <a:gd name="T0" fmla="*/ 2740485 w 5"/>
                <a:gd name="T1" fmla="*/ 0 h 4"/>
                <a:gd name="T2" fmla="*/ 2740485 w 5"/>
                <a:gd name="T3" fmla="*/ 58891613 h 4"/>
                <a:gd name="T4" fmla="*/ 7263791 w 5"/>
                <a:gd name="T5" fmla="*/ 58891613 h 4"/>
                <a:gd name="T6" fmla="*/ 7263791 w 5"/>
                <a:gd name="T7" fmla="*/ 0 h 4"/>
                <a:gd name="T8" fmla="*/ 2740485 w 5"/>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4">
                  <a:moveTo>
                    <a:pt x="2" y="0"/>
                  </a:moveTo>
                  <a:cubicBezTo>
                    <a:pt x="0" y="1"/>
                    <a:pt x="1" y="4"/>
                    <a:pt x="2" y="4"/>
                  </a:cubicBezTo>
                  <a:cubicBezTo>
                    <a:pt x="3" y="4"/>
                    <a:pt x="4" y="4"/>
                    <a:pt x="5" y="4"/>
                  </a:cubicBezTo>
                  <a:cubicBezTo>
                    <a:pt x="5" y="0"/>
                    <a:pt x="5" y="0"/>
                    <a:pt x="5" y="0"/>
                  </a:cubicBezTo>
                  <a:cubicBezTo>
                    <a:pt x="3" y="0"/>
                    <a:pt x="2" y="0"/>
                    <a:pt x="2" y="0"/>
                  </a:cubicBezTo>
                  <a:close/>
                </a:path>
              </a:pathLst>
            </a:custGeom>
            <a:solidFill>
              <a:srgbClr val="F68E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83" name="Freeform 275">
              <a:extLst>
                <a:ext uri="{FF2B5EF4-FFF2-40B4-BE49-F238E27FC236}">
                  <a16:creationId xmlns:a16="http://schemas.microsoft.com/office/drawing/2014/main" id="{6E058DC2-2C62-6A53-AA1D-0D87EF0C9890}"/>
                </a:ext>
              </a:extLst>
            </p:cNvPr>
            <p:cNvSpPr>
              <a:spLocks noEditPoints="1"/>
            </p:cNvSpPr>
            <p:nvPr/>
          </p:nvSpPr>
          <p:spPr bwMode="auto">
            <a:xfrm>
              <a:off x="1728" y="3630"/>
              <a:ext cx="253" cy="272"/>
            </a:xfrm>
            <a:custGeom>
              <a:avLst/>
              <a:gdLst>
                <a:gd name="T0" fmla="*/ 550568206 w 107"/>
                <a:gd name="T1" fmla="*/ 401931044 h 115"/>
                <a:gd name="T2" fmla="*/ 332222382 w 107"/>
                <a:gd name="T3" fmla="*/ 181248335 h 115"/>
                <a:gd name="T4" fmla="*/ 309192889 w 107"/>
                <a:gd name="T5" fmla="*/ 181248335 h 115"/>
                <a:gd name="T6" fmla="*/ 246231061 w 107"/>
                <a:gd name="T7" fmla="*/ 181248335 h 115"/>
                <a:gd name="T8" fmla="*/ 277768433 w 107"/>
                <a:gd name="T9" fmla="*/ 172838975 h 115"/>
                <a:gd name="T10" fmla="*/ 516275153 w 107"/>
                <a:gd name="T11" fmla="*/ 240927370 h 115"/>
                <a:gd name="T12" fmla="*/ 532520061 w 107"/>
                <a:gd name="T13" fmla="*/ 204381188 h 115"/>
                <a:gd name="T14" fmla="*/ 261519033 w 107"/>
                <a:gd name="T15" fmla="*/ 129476324 h 115"/>
                <a:gd name="T16" fmla="*/ 186949860 w 107"/>
                <a:gd name="T17" fmla="*/ 181248335 h 115"/>
                <a:gd name="T18" fmla="*/ 180455589 w 107"/>
                <a:gd name="T19" fmla="*/ 181248335 h 115"/>
                <a:gd name="T20" fmla="*/ 261519033 w 107"/>
                <a:gd name="T21" fmla="*/ 38556982 h 115"/>
                <a:gd name="T22" fmla="*/ 332222382 w 107"/>
                <a:gd name="T23" fmla="*/ 38556982 h 115"/>
                <a:gd name="T24" fmla="*/ 332222382 w 107"/>
                <a:gd name="T25" fmla="*/ 0 h 115"/>
                <a:gd name="T26" fmla="*/ 203478485 w 107"/>
                <a:gd name="T27" fmla="*/ 0 h 115"/>
                <a:gd name="T28" fmla="*/ 203478485 w 107"/>
                <a:gd name="T29" fmla="*/ 38556982 h 115"/>
                <a:gd name="T30" fmla="*/ 214806758 w 107"/>
                <a:gd name="T31" fmla="*/ 38556982 h 115"/>
                <a:gd name="T32" fmla="*/ 42813019 w 107"/>
                <a:gd name="T33" fmla="*/ 342252009 h 115"/>
                <a:gd name="T34" fmla="*/ 38421512 w 107"/>
                <a:gd name="T35" fmla="*/ 342252009 h 115"/>
                <a:gd name="T36" fmla="*/ 38421512 w 107"/>
                <a:gd name="T37" fmla="*/ 342252009 h 115"/>
                <a:gd name="T38" fmla="*/ 26632939 w 107"/>
                <a:gd name="T39" fmla="*/ 274180615 h 115"/>
                <a:gd name="T40" fmla="*/ 38421512 w 107"/>
                <a:gd name="T41" fmla="*/ 274180615 h 115"/>
                <a:gd name="T42" fmla="*/ 38421512 w 107"/>
                <a:gd name="T43" fmla="*/ 252224983 h 115"/>
                <a:gd name="T44" fmla="*/ 0 w 107"/>
                <a:gd name="T45" fmla="*/ 252224983 h 115"/>
                <a:gd name="T46" fmla="*/ 0 w 107"/>
                <a:gd name="T47" fmla="*/ 274180615 h 115"/>
                <a:gd name="T48" fmla="*/ 4763713 w 107"/>
                <a:gd name="T49" fmla="*/ 274180615 h 115"/>
                <a:gd name="T50" fmla="*/ 16249414 w 107"/>
                <a:gd name="T51" fmla="*/ 342252009 h 115"/>
                <a:gd name="T52" fmla="*/ 4763713 w 107"/>
                <a:gd name="T53" fmla="*/ 358870773 h 115"/>
                <a:gd name="T54" fmla="*/ 0 w 107"/>
                <a:gd name="T55" fmla="*/ 349151267 h 115"/>
                <a:gd name="T56" fmla="*/ 0 w 107"/>
                <a:gd name="T57" fmla="*/ 423887459 h 115"/>
                <a:gd name="T58" fmla="*/ 38421512 w 107"/>
                <a:gd name="T59" fmla="*/ 444997989 h 115"/>
                <a:gd name="T60" fmla="*/ 86056118 w 107"/>
                <a:gd name="T61" fmla="*/ 417382181 h 115"/>
                <a:gd name="T62" fmla="*/ 112712351 w 107"/>
                <a:gd name="T63" fmla="*/ 417382181 h 115"/>
                <a:gd name="T64" fmla="*/ 332222382 w 107"/>
                <a:gd name="T65" fmla="*/ 616801670 h 115"/>
                <a:gd name="T66" fmla="*/ 550568206 w 107"/>
                <a:gd name="T67" fmla="*/ 401931044 h 115"/>
                <a:gd name="T68" fmla="*/ 112712351 w 107"/>
                <a:gd name="T69" fmla="*/ 380808969 h 115"/>
                <a:gd name="T70" fmla="*/ 90847127 w 107"/>
                <a:gd name="T71" fmla="*/ 380808969 h 115"/>
                <a:gd name="T72" fmla="*/ 79065751 w 107"/>
                <a:gd name="T73" fmla="*/ 358870773 h 115"/>
                <a:gd name="T74" fmla="*/ 160293245 w 107"/>
                <a:gd name="T75" fmla="*/ 219800293 h 115"/>
                <a:gd name="T76" fmla="*/ 203478485 w 107"/>
                <a:gd name="T77" fmla="*/ 219800293 h 115"/>
                <a:gd name="T78" fmla="*/ 112712351 w 107"/>
                <a:gd name="T79" fmla="*/ 380808969 h 115"/>
                <a:gd name="T80" fmla="*/ 309192889 w 107"/>
                <a:gd name="T81" fmla="*/ 219800293 h 115"/>
                <a:gd name="T82" fmla="*/ 309192889 w 107"/>
                <a:gd name="T83" fmla="*/ 219800293 h 115"/>
                <a:gd name="T84" fmla="*/ 309192889 w 107"/>
                <a:gd name="T85" fmla="*/ 380808969 h 115"/>
                <a:gd name="T86" fmla="*/ 155384003 w 107"/>
                <a:gd name="T87" fmla="*/ 380808969 h 115"/>
                <a:gd name="T88" fmla="*/ 309192889 w 107"/>
                <a:gd name="T89" fmla="*/ 219800293 h 115"/>
                <a:gd name="T90" fmla="*/ 332222382 w 107"/>
                <a:gd name="T91" fmla="*/ 578397938 h 115"/>
                <a:gd name="T92" fmla="*/ 155384003 w 107"/>
                <a:gd name="T93" fmla="*/ 417382181 h 115"/>
                <a:gd name="T94" fmla="*/ 352070248 w 107"/>
                <a:gd name="T95" fmla="*/ 417382181 h 115"/>
                <a:gd name="T96" fmla="*/ 352070248 w 107"/>
                <a:gd name="T97" fmla="*/ 219800293 h 115"/>
                <a:gd name="T98" fmla="*/ 512735761 w 107"/>
                <a:gd name="T99" fmla="*/ 401931044 h 115"/>
                <a:gd name="T100" fmla="*/ 332222382 w 107"/>
                <a:gd name="T101" fmla="*/ 578397938 h 11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07" h="115">
                  <a:moveTo>
                    <a:pt x="103" y="75"/>
                  </a:moveTo>
                  <a:cubicBezTo>
                    <a:pt x="103" y="52"/>
                    <a:pt x="85" y="34"/>
                    <a:pt x="62" y="34"/>
                  </a:cubicBezTo>
                  <a:cubicBezTo>
                    <a:pt x="61" y="34"/>
                    <a:pt x="59" y="34"/>
                    <a:pt x="58" y="34"/>
                  </a:cubicBezTo>
                  <a:cubicBezTo>
                    <a:pt x="46" y="34"/>
                    <a:pt x="46" y="34"/>
                    <a:pt x="46" y="34"/>
                  </a:cubicBezTo>
                  <a:cubicBezTo>
                    <a:pt x="48" y="33"/>
                    <a:pt x="50" y="32"/>
                    <a:pt x="52" y="32"/>
                  </a:cubicBezTo>
                  <a:cubicBezTo>
                    <a:pt x="59" y="29"/>
                    <a:pt x="78" y="28"/>
                    <a:pt x="97" y="45"/>
                  </a:cubicBezTo>
                  <a:cubicBezTo>
                    <a:pt x="102" y="50"/>
                    <a:pt x="107" y="44"/>
                    <a:pt x="100" y="38"/>
                  </a:cubicBezTo>
                  <a:cubicBezTo>
                    <a:pt x="84" y="23"/>
                    <a:pt x="63" y="20"/>
                    <a:pt x="49" y="24"/>
                  </a:cubicBezTo>
                  <a:cubicBezTo>
                    <a:pt x="41" y="27"/>
                    <a:pt x="37" y="31"/>
                    <a:pt x="35" y="34"/>
                  </a:cubicBezTo>
                  <a:cubicBezTo>
                    <a:pt x="34" y="34"/>
                    <a:pt x="34" y="34"/>
                    <a:pt x="34" y="34"/>
                  </a:cubicBezTo>
                  <a:cubicBezTo>
                    <a:pt x="49" y="7"/>
                    <a:pt x="49" y="7"/>
                    <a:pt x="49" y="7"/>
                  </a:cubicBezTo>
                  <a:cubicBezTo>
                    <a:pt x="49" y="7"/>
                    <a:pt x="60" y="7"/>
                    <a:pt x="62" y="7"/>
                  </a:cubicBezTo>
                  <a:cubicBezTo>
                    <a:pt x="68" y="4"/>
                    <a:pt x="65" y="0"/>
                    <a:pt x="62" y="0"/>
                  </a:cubicBezTo>
                  <a:cubicBezTo>
                    <a:pt x="61" y="0"/>
                    <a:pt x="39" y="0"/>
                    <a:pt x="38" y="0"/>
                  </a:cubicBezTo>
                  <a:cubicBezTo>
                    <a:pt x="31" y="1"/>
                    <a:pt x="35" y="7"/>
                    <a:pt x="38" y="7"/>
                  </a:cubicBezTo>
                  <a:cubicBezTo>
                    <a:pt x="39" y="7"/>
                    <a:pt x="40" y="7"/>
                    <a:pt x="40" y="7"/>
                  </a:cubicBezTo>
                  <a:cubicBezTo>
                    <a:pt x="8" y="64"/>
                    <a:pt x="8" y="64"/>
                    <a:pt x="8" y="64"/>
                  </a:cubicBezTo>
                  <a:cubicBezTo>
                    <a:pt x="8" y="64"/>
                    <a:pt x="8" y="64"/>
                    <a:pt x="7" y="64"/>
                  </a:cubicBezTo>
                  <a:cubicBezTo>
                    <a:pt x="7" y="64"/>
                    <a:pt x="7" y="64"/>
                    <a:pt x="7" y="64"/>
                  </a:cubicBezTo>
                  <a:cubicBezTo>
                    <a:pt x="5" y="51"/>
                    <a:pt x="5" y="51"/>
                    <a:pt x="5" y="51"/>
                  </a:cubicBezTo>
                  <a:cubicBezTo>
                    <a:pt x="5" y="51"/>
                    <a:pt x="7" y="51"/>
                    <a:pt x="7" y="51"/>
                  </a:cubicBezTo>
                  <a:cubicBezTo>
                    <a:pt x="9" y="49"/>
                    <a:pt x="8" y="47"/>
                    <a:pt x="7" y="47"/>
                  </a:cubicBezTo>
                  <a:cubicBezTo>
                    <a:pt x="7" y="47"/>
                    <a:pt x="3" y="47"/>
                    <a:pt x="0" y="47"/>
                  </a:cubicBezTo>
                  <a:cubicBezTo>
                    <a:pt x="0" y="51"/>
                    <a:pt x="0" y="51"/>
                    <a:pt x="0" y="51"/>
                  </a:cubicBezTo>
                  <a:cubicBezTo>
                    <a:pt x="0" y="51"/>
                    <a:pt x="1" y="51"/>
                    <a:pt x="1" y="51"/>
                  </a:cubicBezTo>
                  <a:cubicBezTo>
                    <a:pt x="3" y="64"/>
                    <a:pt x="3" y="64"/>
                    <a:pt x="3" y="64"/>
                  </a:cubicBezTo>
                  <a:cubicBezTo>
                    <a:pt x="2" y="65"/>
                    <a:pt x="1" y="66"/>
                    <a:pt x="1" y="67"/>
                  </a:cubicBezTo>
                  <a:cubicBezTo>
                    <a:pt x="1" y="67"/>
                    <a:pt x="0" y="66"/>
                    <a:pt x="0" y="65"/>
                  </a:cubicBezTo>
                  <a:cubicBezTo>
                    <a:pt x="0" y="79"/>
                    <a:pt x="0" y="79"/>
                    <a:pt x="0" y="79"/>
                  </a:cubicBezTo>
                  <a:cubicBezTo>
                    <a:pt x="1" y="81"/>
                    <a:pt x="4" y="83"/>
                    <a:pt x="7" y="83"/>
                  </a:cubicBezTo>
                  <a:cubicBezTo>
                    <a:pt x="11" y="83"/>
                    <a:pt x="14" y="81"/>
                    <a:pt x="16" y="78"/>
                  </a:cubicBezTo>
                  <a:cubicBezTo>
                    <a:pt x="21" y="78"/>
                    <a:pt x="21" y="78"/>
                    <a:pt x="21" y="78"/>
                  </a:cubicBezTo>
                  <a:cubicBezTo>
                    <a:pt x="23" y="99"/>
                    <a:pt x="41" y="115"/>
                    <a:pt x="62" y="115"/>
                  </a:cubicBezTo>
                  <a:cubicBezTo>
                    <a:pt x="85" y="115"/>
                    <a:pt x="103" y="97"/>
                    <a:pt x="103" y="75"/>
                  </a:cubicBezTo>
                  <a:close/>
                  <a:moveTo>
                    <a:pt x="21" y="71"/>
                  </a:moveTo>
                  <a:cubicBezTo>
                    <a:pt x="17" y="71"/>
                    <a:pt x="17" y="71"/>
                    <a:pt x="17" y="71"/>
                  </a:cubicBezTo>
                  <a:cubicBezTo>
                    <a:pt x="16" y="69"/>
                    <a:pt x="16" y="68"/>
                    <a:pt x="15" y="67"/>
                  </a:cubicBezTo>
                  <a:cubicBezTo>
                    <a:pt x="30" y="41"/>
                    <a:pt x="30" y="41"/>
                    <a:pt x="30" y="41"/>
                  </a:cubicBezTo>
                  <a:cubicBezTo>
                    <a:pt x="38" y="41"/>
                    <a:pt x="38" y="41"/>
                    <a:pt x="38" y="41"/>
                  </a:cubicBezTo>
                  <a:cubicBezTo>
                    <a:pt x="29" y="48"/>
                    <a:pt x="23" y="59"/>
                    <a:pt x="21" y="71"/>
                  </a:cubicBezTo>
                  <a:close/>
                  <a:moveTo>
                    <a:pt x="58" y="41"/>
                  </a:moveTo>
                  <a:cubicBezTo>
                    <a:pt x="58" y="41"/>
                    <a:pt x="58" y="41"/>
                    <a:pt x="58" y="41"/>
                  </a:cubicBezTo>
                  <a:cubicBezTo>
                    <a:pt x="58" y="71"/>
                    <a:pt x="58" y="71"/>
                    <a:pt x="58" y="71"/>
                  </a:cubicBezTo>
                  <a:cubicBezTo>
                    <a:pt x="29" y="71"/>
                    <a:pt x="29" y="71"/>
                    <a:pt x="29" y="71"/>
                  </a:cubicBezTo>
                  <a:cubicBezTo>
                    <a:pt x="31" y="55"/>
                    <a:pt x="43" y="43"/>
                    <a:pt x="58" y="41"/>
                  </a:cubicBezTo>
                  <a:close/>
                  <a:moveTo>
                    <a:pt x="62" y="108"/>
                  </a:moveTo>
                  <a:cubicBezTo>
                    <a:pt x="45" y="108"/>
                    <a:pt x="31" y="95"/>
                    <a:pt x="29" y="78"/>
                  </a:cubicBezTo>
                  <a:cubicBezTo>
                    <a:pt x="66" y="78"/>
                    <a:pt x="66" y="78"/>
                    <a:pt x="66" y="78"/>
                  </a:cubicBezTo>
                  <a:cubicBezTo>
                    <a:pt x="66" y="41"/>
                    <a:pt x="66" y="41"/>
                    <a:pt x="66" y="41"/>
                  </a:cubicBezTo>
                  <a:cubicBezTo>
                    <a:pt x="83" y="43"/>
                    <a:pt x="96" y="57"/>
                    <a:pt x="96" y="75"/>
                  </a:cubicBezTo>
                  <a:cubicBezTo>
                    <a:pt x="96" y="93"/>
                    <a:pt x="81" y="108"/>
                    <a:pt x="62" y="108"/>
                  </a:cubicBezTo>
                  <a:close/>
                </a:path>
              </a:pathLst>
            </a:custGeom>
            <a:solidFill>
              <a:srgbClr val="37373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84" name="Freeform 276">
              <a:extLst>
                <a:ext uri="{FF2B5EF4-FFF2-40B4-BE49-F238E27FC236}">
                  <a16:creationId xmlns:a16="http://schemas.microsoft.com/office/drawing/2014/main" id="{96F1FEFC-FDE9-67D7-438C-7ED013F292B2}"/>
                </a:ext>
              </a:extLst>
            </p:cNvPr>
            <p:cNvSpPr>
              <a:spLocks/>
            </p:cNvSpPr>
            <p:nvPr/>
          </p:nvSpPr>
          <p:spPr bwMode="auto">
            <a:xfrm>
              <a:off x="1681" y="3609"/>
              <a:ext cx="40" cy="0"/>
            </a:xfrm>
            <a:custGeom>
              <a:avLst/>
              <a:gdLst>
                <a:gd name="T0" fmla="*/ 78472127 w 17"/>
                <a:gd name="T1" fmla="*/ 82928786 w 17"/>
                <a:gd name="T2" fmla="*/ 0 w 17"/>
                <a:gd name="T3" fmla="*/ 78472127 w 17"/>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17">
                  <a:moveTo>
                    <a:pt x="16" y="0"/>
                  </a:moveTo>
                  <a:cubicBezTo>
                    <a:pt x="16" y="0"/>
                    <a:pt x="17" y="0"/>
                    <a:pt x="17" y="0"/>
                  </a:cubicBezTo>
                  <a:cubicBezTo>
                    <a:pt x="0" y="0"/>
                    <a:pt x="0" y="0"/>
                    <a:pt x="0" y="0"/>
                  </a:cubicBezTo>
                  <a:cubicBezTo>
                    <a:pt x="4" y="0"/>
                    <a:pt x="9" y="0"/>
                    <a:pt x="16" y="0"/>
                  </a:cubicBezTo>
                  <a:close/>
                </a:path>
              </a:pathLst>
            </a:custGeom>
            <a:solidFill>
              <a:srgbClr val="804F2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85" name="Freeform 277">
              <a:extLst>
                <a:ext uri="{FF2B5EF4-FFF2-40B4-BE49-F238E27FC236}">
                  <a16:creationId xmlns:a16="http://schemas.microsoft.com/office/drawing/2014/main" id="{37C4EB6A-54F0-4A4F-7F26-3BC7B9EAF1C1}"/>
                </a:ext>
              </a:extLst>
            </p:cNvPr>
            <p:cNvSpPr>
              <a:spLocks/>
            </p:cNvSpPr>
            <p:nvPr/>
          </p:nvSpPr>
          <p:spPr bwMode="auto">
            <a:xfrm>
              <a:off x="1681" y="3585"/>
              <a:ext cx="40" cy="5"/>
            </a:xfrm>
            <a:custGeom>
              <a:avLst/>
              <a:gdLst>
                <a:gd name="T0" fmla="*/ 0 w 17"/>
                <a:gd name="T1" fmla="*/ 0 h 2"/>
                <a:gd name="T2" fmla="*/ 82928786 w 17"/>
                <a:gd name="T3" fmla="*/ 0 h 2"/>
                <a:gd name="T4" fmla="*/ 0 w 17"/>
                <a:gd name="T5" fmla="*/ 0 h 2"/>
                <a:gd name="T6" fmla="*/ 0 w 17"/>
                <a:gd name="T7" fmla="*/ 30995625 h 2"/>
                <a:gd name="T8" fmla="*/ 0 w 17"/>
                <a:gd name="T9" fmla="*/ 30995625 h 2"/>
                <a:gd name="T10" fmla="*/ 0 w 17"/>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2">
                  <a:moveTo>
                    <a:pt x="0" y="0"/>
                  </a:moveTo>
                  <a:cubicBezTo>
                    <a:pt x="6" y="0"/>
                    <a:pt x="9" y="0"/>
                    <a:pt x="17" y="0"/>
                  </a:cubicBezTo>
                  <a:cubicBezTo>
                    <a:pt x="0" y="0"/>
                    <a:pt x="0" y="0"/>
                    <a:pt x="0" y="0"/>
                  </a:cubicBezTo>
                  <a:cubicBezTo>
                    <a:pt x="0" y="2"/>
                    <a:pt x="0" y="2"/>
                    <a:pt x="0" y="2"/>
                  </a:cubicBezTo>
                  <a:cubicBezTo>
                    <a:pt x="0" y="2"/>
                    <a:pt x="0" y="2"/>
                    <a:pt x="0" y="2"/>
                  </a:cubicBezTo>
                  <a:lnTo>
                    <a:pt x="0" y="0"/>
                  </a:lnTo>
                  <a:close/>
                </a:path>
              </a:pathLst>
            </a:custGeom>
            <a:solidFill>
              <a:srgbClr val="FF784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86" name="Freeform 278">
              <a:extLst>
                <a:ext uri="{FF2B5EF4-FFF2-40B4-BE49-F238E27FC236}">
                  <a16:creationId xmlns:a16="http://schemas.microsoft.com/office/drawing/2014/main" id="{3B09ADAD-B656-8542-AE54-745CAF64CD49}"/>
                </a:ext>
              </a:extLst>
            </p:cNvPr>
            <p:cNvSpPr>
              <a:spLocks/>
            </p:cNvSpPr>
            <p:nvPr/>
          </p:nvSpPr>
          <p:spPr bwMode="auto">
            <a:xfrm>
              <a:off x="1681" y="3585"/>
              <a:ext cx="55" cy="24"/>
            </a:xfrm>
            <a:custGeom>
              <a:avLst/>
              <a:gdLst>
                <a:gd name="T0" fmla="*/ 111953763 w 23"/>
                <a:gd name="T1" fmla="*/ 70300488 h 10"/>
                <a:gd name="T2" fmla="*/ 111953763 w 23"/>
                <a:gd name="T3" fmla="*/ 0 h 10"/>
                <a:gd name="T4" fmla="*/ 0 w 23"/>
                <a:gd name="T5" fmla="*/ 0 h 10"/>
                <a:gd name="T6" fmla="*/ 0 w 23"/>
                <a:gd name="T7" fmla="*/ 14714760 h 10"/>
                <a:gd name="T8" fmla="*/ 0 w 23"/>
                <a:gd name="T9" fmla="*/ 14714760 h 10"/>
                <a:gd name="T10" fmla="*/ 0 w 23"/>
                <a:gd name="T11" fmla="*/ 70300488 h 10"/>
                <a:gd name="T12" fmla="*/ 111953763 w 23"/>
                <a:gd name="T13" fmla="*/ 70300488 h 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3" h="10">
                  <a:moveTo>
                    <a:pt x="17" y="10"/>
                  </a:moveTo>
                  <a:cubicBezTo>
                    <a:pt x="17" y="10"/>
                    <a:pt x="23" y="5"/>
                    <a:pt x="17" y="0"/>
                  </a:cubicBezTo>
                  <a:cubicBezTo>
                    <a:pt x="9" y="0"/>
                    <a:pt x="6" y="0"/>
                    <a:pt x="0" y="0"/>
                  </a:cubicBezTo>
                  <a:cubicBezTo>
                    <a:pt x="0" y="2"/>
                    <a:pt x="0" y="2"/>
                    <a:pt x="0" y="2"/>
                  </a:cubicBezTo>
                  <a:cubicBezTo>
                    <a:pt x="0" y="2"/>
                    <a:pt x="0" y="2"/>
                    <a:pt x="0" y="2"/>
                  </a:cubicBezTo>
                  <a:cubicBezTo>
                    <a:pt x="0" y="10"/>
                    <a:pt x="0" y="10"/>
                    <a:pt x="0" y="10"/>
                  </a:cubicBezTo>
                  <a:lnTo>
                    <a:pt x="17" y="10"/>
                  </a:lnTo>
                  <a:close/>
                </a:path>
              </a:pathLst>
            </a:custGeom>
            <a:solidFill>
              <a:srgbClr val="F68E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87" name="Oval 279">
              <a:extLst>
                <a:ext uri="{FF2B5EF4-FFF2-40B4-BE49-F238E27FC236}">
                  <a16:creationId xmlns:a16="http://schemas.microsoft.com/office/drawing/2014/main" id="{422644EA-F40C-B6EB-9D61-BBFE3932EDCA}"/>
                </a:ext>
              </a:extLst>
            </p:cNvPr>
            <p:cNvSpPr>
              <a:spLocks noChangeArrowheads="1"/>
            </p:cNvSpPr>
            <p:nvPr/>
          </p:nvSpPr>
          <p:spPr bwMode="auto">
            <a:xfrm>
              <a:off x="1539" y="3777"/>
              <a:ext cx="59" cy="59"/>
            </a:xfrm>
            <a:prstGeom prst="ellipse">
              <a:avLst/>
            </a:prstGeom>
            <a:solidFill>
              <a:srgbClr val="0F304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688" name="Oval 280">
              <a:extLst>
                <a:ext uri="{FF2B5EF4-FFF2-40B4-BE49-F238E27FC236}">
                  <a16:creationId xmlns:a16="http://schemas.microsoft.com/office/drawing/2014/main" id="{3B7B20E6-A7CB-C6EC-E3AD-938147103A6D}"/>
                </a:ext>
              </a:extLst>
            </p:cNvPr>
            <p:cNvSpPr>
              <a:spLocks noChangeArrowheads="1"/>
            </p:cNvSpPr>
            <p:nvPr/>
          </p:nvSpPr>
          <p:spPr bwMode="auto">
            <a:xfrm>
              <a:off x="1558" y="3796"/>
              <a:ext cx="22"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689" name="Oval 281">
              <a:extLst>
                <a:ext uri="{FF2B5EF4-FFF2-40B4-BE49-F238E27FC236}">
                  <a16:creationId xmlns:a16="http://schemas.microsoft.com/office/drawing/2014/main" id="{A54238E8-E9EA-5652-121A-640F509BC2A6}"/>
                </a:ext>
              </a:extLst>
            </p:cNvPr>
            <p:cNvSpPr>
              <a:spLocks noChangeArrowheads="1"/>
            </p:cNvSpPr>
            <p:nvPr/>
          </p:nvSpPr>
          <p:spPr bwMode="auto">
            <a:xfrm>
              <a:off x="1851" y="3777"/>
              <a:ext cx="60" cy="59"/>
            </a:xfrm>
            <a:prstGeom prst="ellipse">
              <a:avLst/>
            </a:prstGeom>
            <a:solidFill>
              <a:srgbClr val="0F304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690" name="Oval 282">
              <a:extLst>
                <a:ext uri="{FF2B5EF4-FFF2-40B4-BE49-F238E27FC236}">
                  <a16:creationId xmlns:a16="http://schemas.microsoft.com/office/drawing/2014/main" id="{6ABE6B3C-D26C-C39F-ACF0-296694E5D080}"/>
                </a:ext>
              </a:extLst>
            </p:cNvPr>
            <p:cNvSpPr>
              <a:spLocks noChangeArrowheads="1"/>
            </p:cNvSpPr>
            <p:nvPr/>
          </p:nvSpPr>
          <p:spPr bwMode="auto">
            <a:xfrm>
              <a:off x="1868" y="3796"/>
              <a:ext cx="24"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en-US" altLang="tr-TR" sz="1800">
                <a:latin typeface="Calibri" panose="020F0502020204030204" pitchFamily="34" charset="0"/>
              </a:endParaRPr>
            </a:p>
          </p:txBody>
        </p:sp>
        <p:sp>
          <p:nvSpPr>
            <p:cNvPr id="25691" name="Freeform 283">
              <a:extLst>
                <a:ext uri="{FF2B5EF4-FFF2-40B4-BE49-F238E27FC236}">
                  <a16:creationId xmlns:a16="http://schemas.microsoft.com/office/drawing/2014/main" id="{196504C5-017C-3372-7577-4D9B3B59F791}"/>
                </a:ext>
              </a:extLst>
            </p:cNvPr>
            <p:cNvSpPr>
              <a:spLocks noEditPoints="1"/>
            </p:cNvSpPr>
            <p:nvPr/>
          </p:nvSpPr>
          <p:spPr bwMode="auto">
            <a:xfrm>
              <a:off x="1717" y="3767"/>
              <a:ext cx="201" cy="78"/>
            </a:xfrm>
            <a:custGeom>
              <a:avLst/>
              <a:gdLst>
                <a:gd name="T0" fmla="*/ 367904512 w 85"/>
                <a:gd name="T1" fmla="*/ 20044019 h 33"/>
                <a:gd name="T2" fmla="*/ 438678102 w 85"/>
                <a:gd name="T3" fmla="*/ 85443339 h 33"/>
                <a:gd name="T4" fmla="*/ 367904512 w 85"/>
                <a:gd name="T5" fmla="*/ 154591719 h 33"/>
                <a:gd name="T6" fmla="*/ 357265003 w 85"/>
                <a:gd name="T7" fmla="*/ 154591719 h 33"/>
                <a:gd name="T8" fmla="*/ 69916294 w 85"/>
                <a:gd name="T9" fmla="*/ 132178424 h 33"/>
                <a:gd name="T10" fmla="*/ 16265336 w 85"/>
                <a:gd name="T11" fmla="*/ 78627867 h 33"/>
                <a:gd name="T12" fmla="*/ 69916294 w 85"/>
                <a:gd name="T13" fmla="*/ 31262608 h 33"/>
                <a:gd name="T14" fmla="*/ 367904512 w 85"/>
                <a:gd name="T15" fmla="*/ 20044019 h 33"/>
                <a:gd name="T16" fmla="*/ 367904512 w 85"/>
                <a:gd name="T17" fmla="*/ 0 h 33"/>
                <a:gd name="T18" fmla="*/ 367904512 w 85"/>
                <a:gd name="T19" fmla="*/ 0 h 33"/>
                <a:gd name="T20" fmla="*/ 367904512 w 85"/>
                <a:gd name="T21" fmla="*/ 0 h 33"/>
                <a:gd name="T22" fmla="*/ 69916294 w 85"/>
                <a:gd name="T23" fmla="*/ 16168547 h 33"/>
                <a:gd name="T24" fmla="*/ 0 w 85"/>
                <a:gd name="T25" fmla="*/ 78627867 h 33"/>
                <a:gd name="T26" fmla="*/ 69916294 w 85"/>
                <a:gd name="T27" fmla="*/ 148110510 h 33"/>
                <a:gd name="T28" fmla="*/ 357265003 w 85"/>
                <a:gd name="T29" fmla="*/ 170697162 h 33"/>
                <a:gd name="T30" fmla="*/ 367904512 w 85"/>
                <a:gd name="T31" fmla="*/ 174657215 h 33"/>
                <a:gd name="T32" fmla="*/ 454089989 w 85"/>
                <a:gd name="T33" fmla="*/ 85443339 h 33"/>
                <a:gd name="T34" fmla="*/ 367904512 w 85"/>
                <a:gd name="T35" fmla="*/ 0 h 3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85" h="33">
                  <a:moveTo>
                    <a:pt x="69" y="4"/>
                  </a:moveTo>
                  <a:cubicBezTo>
                    <a:pt x="76" y="4"/>
                    <a:pt x="82" y="9"/>
                    <a:pt x="82" y="16"/>
                  </a:cubicBezTo>
                  <a:cubicBezTo>
                    <a:pt x="82" y="23"/>
                    <a:pt x="76" y="29"/>
                    <a:pt x="69" y="29"/>
                  </a:cubicBezTo>
                  <a:cubicBezTo>
                    <a:pt x="69" y="29"/>
                    <a:pt x="68" y="29"/>
                    <a:pt x="67" y="29"/>
                  </a:cubicBezTo>
                  <a:cubicBezTo>
                    <a:pt x="13" y="25"/>
                    <a:pt x="13" y="25"/>
                    <a:pt x="13" y="25"/>
                  </a:cubicBezTo>
                  <a:cubicBezTo>
                    <a:pt x="8" y="25"/>
                    <a:pt x="3" y="20"/>
                    <a:pt x="3" y="15"/>
                  </a:cubicBezTo>
                  <a:cubicBezTo>
                    <a:pt x="3" y="10"/>
                    <a:pt x="8" y="6"/>
                    <a:pt x="13" y="6"/>
                  </a:cubicBezTo>
                  <a:cubicBezTo>
                    <a:pt x="69" y="4"/>
                    <a:pt x="69" y="4"/>
                    <a:pt x="69" y="4"/>
                  </a:cubicBezTo>
                  <a:moveTo>
                    <a:pt x="69" y="0"/>
                  </a:moveTo>
                  <a:cubicBezTo>
                    <a:pt x="69" y="0"/>
                    <a:pt x="69" y="0"/>
                    <a:pt x="69" y="0"/>
                  </a:cubicBezTo>
                  <a:cubicBezTo>
                    <a:pt x="69" y="0"/>
                    <a:pt x="69" y="0"/>
                    <a:pt x="69" y="0"/>
                  </a:cubicBezTo>
                  <a:cubicBezTo>
                    <a:pt x="13" y="3"/>
                    <a:pt x="13" y="3"/>
                    <a:pt x="13" y="3"/>
                  </a:cubicBezTo>
                  <a:cubicBezTo>
                    <a:pt x="6" y="3"/>
                    <a:pt x="0" y="8"/>
                    <a:pt x="0" y="15"/>
                  </a:cubicBezTo>
                  <a:cubicBezTo>
                    <a:pt x="0" y="22"/>
                    <a:pt x="6" y="28"/>
                    <a:pt x="13" y="28"/>
                  </a:cubicBezTo>
                  <a:cubicBezTo>
                    <a:pt x="67" y="32"/>
                    <a:pt x="67" y="32"/>
                    <a:pt x="67" y="32"/>
                  </a:cubicBezTo>
                  <a:cubicBezTo>
                    <a:pt x="68" y="32"/>
                    <a:pt x="69" y="33"/>
                    <a:pt x="69" y="33"/>
                  </a:cubicBezTo>
                  <a:cubicBezTo>
                    <a:pt x="78" y="33"/>
                    <a:pt x="85" y="25"/>
                    <a:pt x="85" y="16"/>
                  </a:cubicBezTo>
                  <a:cubicBezTo>
                    <a:pt x="85" y="8"/>
                    <a:pt x="78" y="0"/>
                    <a:pt x="69" y="0"/>
                  </a:cubicBezTo>
                  <a:close/>
                </a:path>
              </a:pathLst>
            </a:custGeom>
            <a:solidFill>
              <a:srgbClr val="F68E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 fill="hold"/>
                                        <p:tgtEl>
                                          <p:spTgt spid="4"/>
                                        </p:tgtEl>
                                        <p:attrNameLst>
                                          <p:attrName>ppt_x</p:attrName>
                                        </p:attrNameLst>
                                      </p:cBhvr>
                                      <p:tavLst>
                                        <p:tav tm="0">
                                          <p:val>
                                            <p:strVal val="#ppt_x"/>
                                          </p:val>
                                        </p:tav>
                                        <p:tav tm="100000">
                                          <p:val>
                                            <p:strVal val="#ppt_x"/>
                                          </p:val>
                                        </p:tav>
                                      </p:tavLst>
                                    </p:anim>
                                    <p:anim calcmode="lin" valueType="num">
                                      <p:cBhvr additive="base">
                                        <p:cTn id="8" dur="1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ayt Numarası Yer Tutucusu 1">
            <a:extLst>
              <a:ext uri="{FF2B5EF4-FFF2-40B4-BE49-F238E27FC236}">
                <a16:creationId xmlns:a16="http://schemas.microsoft.com/office/drawing/2014/main" id="{30F0DEED-7DC5-B01D-B392-8B9EAAFE6555}"/>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nSpc>
                <a:spcPct val="100000"/>
              </a:lnSpc>
              <a:spcBef>
                <a:spcPct val="0"/>
              </a:spcBef>
              <a:buFontTx/>
              <a:buNone/>
            </a:pPr>
            <a:fld id="{097B48E2-02F9-4EDC-8D13-FF6EDFE9F2B5}" type="slidenum">
              <a:rPr lang="en-US" altLang="tr-TR" sz="1200" smtClean="0">
                <a:solidFill>
                  <a:srgbClr val="898989"/>
                </a:solidFill>
              </a:rPr>
              <a:pPr>
                <a:lnSpc>
                  <a:spcPct val="100000"/>
                </a:lnSpc>
                <a:spcBef>
                  <a:spcPct val="0"/>
                </a:spcBef>
                <a:buFontTx/>
                <a:buNone/>
              </a:pPr>
              <a:t>5</a:t>
            </a:fld>
            <a:endParaRPr lang="en-US" altLang="tr-TR" sz="1200">
              <a:solidFill>
                <a:srgbClr val="898989"/>
              </a:solidFill>
            </a:endParaRPr>
          </a:p>
        </p:txBody>
      </p:sp>
      <p:cxnSp>
        <p:nvCxnSpPr>
          <p:cNvPr id="4" name="Straight Connector 6">
            <a:extLst>
              <a:ext uri="{FF2B5EF4-FFF2-40B4-BE49-F238E27FC236}">
                <a16:creationId xmlns:a16="http://schemas.microsoft.com/office/drawing/2014/main" id="{AB383685-7D5A-CCDA-C3EB-D3791D20E282}"/>
              </a:ext>
            </a:extLst>
          </p:cNvPr>
          <p:cNvCxnSpPr/>
          <p:nvPr/>
        </p:nvCxnSpPr>
        <p:spPr>
          <a:xfrm>
            <a:off x="11113" y="1423988"/>
            <a:ext cx="124301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İçerik Yer Tutucusu 2">
            <a:extLst>
              <a:ext uri="{FF2B5EF4-FFF2-40B4-BE49-F238E27FC236}">
                <a16:creationId xmlns:a16="http://schemas.microsoft.com/office/drawing/2014/main" id="{0DDADCE8-5804-6024-B6AD-1C6DE3F7BA48}"/>
              </a:ext>
            </a:extLst>
          </p:cNvPr>
          <p:cNvSpPr txBox="1">
            <a:spLocks/>
          </p:cNvSpPr>
          <p:nvPr/>
        </p:nvSpPr>
        <p:spPr>
          <a:xfrm>
            <a:off x="631825" y="842963"/>
            <a:ext cx="4506913" cy="51752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 typeface="Arial" panose="020B0604020202020204" pitchFamily="34" charset="0"/>
              <a:buNone/>
              <a:defRPr/>
            </a:pPr>
            <a:r>
              <a:rPr lang="tr-TR" sz="2200" b="1">
                <a:solidFill>
                  <a:schemeClr val="accent4">
                    <a:lumMod val="75000"/>
                  </a:schemeClr>
                </a:solidFill>
                <a:latin typeface="Open Sans" panose="020B0606030504020204" pitchFamily="34" charset="0"/>
                <a:ea typeface="Open Sans" panose="020B0606030504020204" pitchFamily="34" charset="0"/>
                <a:cs typeface="Open Sans" panose="020B0606030504020204" pitchFamily="34" charset="0"/>
              </a:rPr>
              <a:t>Hizmetlerimiz</a:t>
            </a:r>
          </a:p>
        </p:txBody>
      </p:sp>
      <p:sp>
        <p:nvSpPr>
          <p:cNvPr id="6" name="İçerik Yer Tutucusu 2">
            <a:extLst>
              <a:ext uri="{FF2B5EF4-FFF2-40B4-BE49-F238E27FC236}">
                <a16:creationId xmlns:a16="http://schemas.microsoft.com/office/drawing/2014/main" id="{9C8E83A5-F37B-5BDD-098D-2E21AA5EF690}"/>
              </a:ext>
            </a:extLst>
          </p:cNvPr>
          <p:cNvSpPr txBox="1">
            <a:spLocks/>
          </p:cNvSpPr>
          <p:nvPr/>
        </p:nvSpPr>
        <p:spPr>
          <a:xfrm>
            <a:off x="1296988" y="1266825"/>
            <a:ext cx="9850437" cy="39211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 typeface="Arial" panose="020B0604020202020204" pitchFamily="34" charset="0"/>
              <a:buNone/>
              <a:defRPr/>
            </a:pPr>
            <a:r>
              <a:rPr lang="tr-TR" sz="1800" b="1">
                <a:solidFill>
                  <a:schemeClr val="bg2">
                    <a:lumMod val="10000"/>
                  </a:schemeClr>
                </a:solidFill>
              </a:rPr>
              <a:t>MAKİNE VE TEÇHİZAT DEĞERLEMESİ</a:t>
            </a:r>
          </a:p>
        </p:txBody>
      </p:sp>
      <p:sp>
        <p:nvSpPr>
          <p:cNvPr id="7" name="Rectangle 7">
            <a:extLst>
              <a:ext uri="{FF2B5EF4-FFF2-40B4-BE49-F238E27FC236}">
                <a16:creationId xmlns:a16="http://schemas.microsoft.com/office/drawing/2014/main" id="{4E25EB23-2576-85D4-F08D-125578BD7DA1}"/>
              </a:ext>
            </a:extLst>
          </p:cNvPr>
          <p:cNvSpPr/>
          <p:nvPr/>
        </p:nvSpPr>
        <p:spPr>
          <a:xfrm>
            <a:off x="684213" y="1409700"/>
            <a:ext cx="623887" cy="269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nvGrpSpPr>
          <p:cNvPr id="26631" name="Group 307">
            <a:extLst>
              <a:ext uri="{FF2B5EF4-FFF2-40B4-BE49-F238E27FC236}">
                <a16:creationId xmlns:a16="http://schemas.microsoft.com/office/drawing/2014/main" id="{CD00832F-7F90-60C0-1FEF-4D3937994B73}"/>
              </a:ext>
            </a:extLst>
          </p:cNvPr>
          <p:cNvGrpSpPr>
            <a:grpSpLocks/>
          </p:cNvGrpSpPr>
          <p:nvPr/>
        </p:nvGrpSpPr>
        <p:grpSpPr bwMode="auto">
          <a:xfrm>
            <a:off x="-3175" y="6743700"/>
            <a:ext cx="12195175" cy="114300"/>
            <a:chOff x="-3175" y="4762500"/>
            <a:chExt cx="12195174" cy="2092323"/>
          </a:xfrm>
        </p:grpSpPr>
        <p:sp>
          <p:nvSpPr>
            <p:cNvPr id="46" name="Rectangle 308">
              <a:extLst>
                <a:ext uri="{FF2B5EF4-FFF2-40B4-BE49-F238E27FC236}">
                  <a16:creationId xmlns:a16="http://schemas.microsoft.com/office/drawing/2014/main" id="{F08EA666-0B09-625E-E918-1AC74116353C}"/>
                </a:ext>
              </a:extLst>
            </p:cNvPr>
            <p:cNvSpPr/>
            <p:nvPr/>
          </p:nvSpPr>
          <p:spPr>
            <a:xfrm>
              <a:off x="-3175" y="4762500"/>
              <a:ext cx="2032000" cy="2092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47" name="Rectangle 309">
              <a:extLst>
                <a:ext uri="{FF2B5EF4-FFF2-40B4-BE49-F238E27FC236}">
                  <a16:creationId xmlns:a16="http://schemas.microsoft.com/office/drawing/2014/main" id="{00763BA5-B77B-80E6-61AB-D00FC9CBA5D4}"/>
                </a:ext>
              </a:extLst>
            </p:cNvPr>
            <p:cNvSpPr/>
            <p:nvPr/>
          </p:nvSpPr>
          <p:spPr>
            <a:xfrm>
              <a:off x="2027238" y="4762500"/>
              <a:ext cx="2032000" cy="2092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48" name="Rectangle 310">
              <a:extLst>
                <a:ext uri="{FF2B5EF4-FFF2-40B4-BE49-F238E27FC236}">
                  <a16:creationId xmlns:a16="http://schemas.microsoft.com/office/drawing/2014/main" id="{BDE50BA9-5A61-822D-212B-A53D9737AB73}"/>
                </a:ext>
              </a:extLst>
            </p:cNvPr>
            <p:cNvSpPr/>
            <p:nvPr/>
          </p:nvSpPr>
          <p:spPr>
            <a:xfrm>
              <a:off x="4059238" y="4762500"/>
              <a:ext cx="2032000" cy="2092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49" name="Rectangle 311">
              <a:extLst>
                <a:ext uri="{FF2B5EF4-FFF2-40B4-BE49-F238E27FC236}">
                  <a16:creationId xmlns:a16="http://schemas.microsoft.com/office/drawing/2014/main" id="{16EB6D9D-7CB2-BE28-5D00-05494F735691}"/>
                </a:ext>
              </a:extLst>
            </p:cNvPr>
            <p:cNvSpPr/>
            <p:nvPr/>
          </p:nvSpPr>
          <p:spPr>
            <a:xfrm>
              <a:off x="6089650" y="4762500"/>
              <a:ext cx="2032000" cy="2092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0" name="Rectangle 312">
              <a:extLst>
                <a:ext uri="{FF2B5EF4-FFF2-40B4-BE49-F238E27FC236}">
                  <a16:creationId xmlns:a16="http://schemas.microsoft.com/office/drawing/2014/main" id="{FC5D248E-00C8-1F23-473D-6895A4520CA6}"/>
                </a:ext>
              </a:extLst>
            </p:cNvPr>
            <p:cNvSpPr/>
            <p:nvPr/>
          </p:nvSpPr>
          <p:spPr>
            <a:xfrm>
              <a:off x="8118474" y="4762500"/>
              <a:ext cx="2032000" cy="2092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1" name="Rectangle 313">
              <a:extLst>
                <a:ext uri="{FF2B5EF4-FFF2-40B4-BE49-F238E27FC236}">
                  <a16:creationId xmlns:a16="http://schemas.microsoft.com/office/drawing/2014/main" id="{5358F63D-EB19-9125-3BF2-DEBCADCBA7EC}"/>
                </a:ext>
              </a:extLst>
            </p:cNvPr>
            <p:cNvSpPr/>
            <p:nvPr/>
          </p:nvSpPr>
          <p:spPr>
            <a:xfrm>
              <a:off x="10148887" y="4762500"/>
              <a:ext cx="2043112" cy="20923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
        <p:nvSpPr>
          <p:cNvPr id="52" name="Freeform 183">
            <a:extLst>
              <a:ext uri="{FF2B5EF4-FFF2-40B4-BE49-F238E27FC236}">
                <a16:creationId xmlns:a16="http://schemas.microsoft.com/office/drawing/2014/main" id="{98120BC3-AB0E-ABA5-340B-89FD10D19077}"/>
              </a:ext>
            </a:extLst>
          </p:cNvPr>
          <p:cNvSpPr>
            <a:spLocks noEditPoints="1"/>
          </p:cNvSpPr>
          <p:nvPr/>
        </p:nvSpPr>
        <p:spPr bwMode="auto">
          <a:xfrm>
            <a:off x="-1588" y="3535363"/>
            <a:ext cx="12185651" cy="3241675"/>
          </a:xfrm>
          <a:custGeom>
            <a:avLst/>
            <a:gdLst>
              <a:gd name="T0" fmla="*/ 3743 w 4211"/>
              <a:gd name="T1" fmla="*/ 508 h 1254"/>
              <a:gd name="T2" fmla="*/ 3617 w 4211"/>
              <a:gd name="T3" fmla="*/ 207 h 1254"/>
              <a:gd name="T4" fmla="*/ 3276 w 4211"/>
              <a:gd name="T5" fmla="*/ 492 h 1254"/>
              <a:gd name="T6" fmla="*/ 3009 w 4211"/>
              <a:gd name="T7" fmla="*/ 368 h 1254"/>
              <a:gd name="T8" fmla="*/ 2879 w 4211"/>
              <a:gd name="T9" fmla="*/ 454 h 1254"/>
              <a:gd name="T10" fmla="*/ 2692 w 4211"/>
              <a:gd name="T11" fmla="*/ 361 h 1254"/>
              <a:gd name="T12" fmla="*/ 2479 w 4211"/>
              <a:gd name="T13" fmla="*/ 311 h 1254"/>
              <a:gd name="T14" fmla="*/ 2299 w 4211"/>
              <a:gd name="T15" fmla="*/ 698 h 1254"/>
              <a:gd name="T16" fmla="*/ 1966 w 4211"/>
              <a:gd name="T17" fmla="*/ 651 h 1254"/>
              <a:gd name="T18" fmla="*/ 1625 w 4211"/>
              <a:gd name="T19" fmla="*/ 382 h 1254"/>
              <a:gd name="T20" fmla="*/ 1424 w 4211"/>
              <a:gd name="T21" fmla="*/ 558 h 1254"/>
              <a:gd name="T22" fmla="*/ 1102 w 4211"/>
              <a:gd name="T23" fmla="*/ 651 h 1254"/>
              <a:gd name="T24" fmla="*/ 842 w 4211"/>
              <a:gd name="T25" fmla="*/ 606 h 1254"/>
              <a:gd name="T26" fmla="*/ 485 w 4211"/>
              <a:gd name="T27" fmla="*/ 798 h 1254"/>
              <a:gd name="T28" fmla="*/ 11 w 4211"/>
              <a:gd name="T29" fmla="*/ 620 h 1254"/>
              <a:gd name="T30" fmla="*/ 1788 w 4211"/>
              <a:gd name="T31" fmla="*/ 979 h 1254"/>
              <a:gd name="T32" fmla="*/ 1746 w 4211"/>
              <a:gd name="T33" fmla="*/ 729 h 1254"/>
              <a:gd name="T34" fmla="*/ 1788 w 4211"/>
              <a:gd name="T35" fmla="*/ 520 h 1254"/>
              <a:gd name="T36" fmla="*/ 1746 w 4211"/>
              <a:gd name="T37" fmla="*/ 216 h 1254"/>
              <a:gd name="T38" fmla="*/ 1864 w 4211"/>
              <a:gd name="T39" fmla="*/ 881 h 1254"/>
              <a:gd name="T40" fmla="*/ 1864 w 4211"/>
              <a:gd name="T41" fmla="*/ 672 h 1254"/>
              <a:gd name="T42" fmla="*/ 1821 w 4211"/>
              <a:gd name="T43" fmla="*/ 423 h 1254"/>
              <a:gd name="T44" fmla="*/ 1864 w 4211"/>
              <a:gd name="T45" fmla="*/ 368 h 1254"/>
              <a:gd name="T46" fmla="*/ 1899 w 4211"/>
              <a:gd name="T47" fmla="*/ 979 h 1254"/>
              <a:gd name="T48" fmla="*/ 1940 w 4211"/>
              <a:gd name="T49" fmla="*/ 729 h 1254"/>
              <a:gd name="T50" fmla="*/ 1940 w 4211"/>
              <a:gd name="T51" fmla="*/ 520 h 1254"/>
              <a:gd name="T52" fmla="*/ 1899 w 4211"/>
              <a:gd name="T53" fmla="*/ 271 h 1254"/>
              <a:gd name="T54" fmla="*/ 1940 w 4211"/>
              <a:gd name="T55" fmla="*/ 216 h 1254"/>
              <a:gd name="T56" fmla="*/ 2441 w 4211"/>
              <a:gd name="T57" fmla="*/ 1138 h 1254"/>
              <a:gd name="T58" fmla="*/ 2496 w 4211"/>
              <a:gd name="T59" fmla="*/ 397 h 1254"/>
              <a:gd name="T60" fmla="*/ 2576 w 4211"/>
              <a:gd name="T61" fmla="*/ 1138 h 1254"/>
              <a:gd name="T62" fmla="*/ 2600 w 4211"/>
              <a:gd name="T63" fmla="*/ 397 h 1254"/>
              <a:gd name="T64" fmla="*/ 3518 w 4211"/>
              <a:gd name="T65" fmla="*/ 924 h 1254"/>
              <a:gd name="T66" fmla="*/ 3492 w 4211"/>
              <a:gd name="T67" fmla="*/ 803 h 1254"/>
              <a:gd name="T68" fmla="*/ 3518 w 4211"/>
              <a:gd name="T69" fmla="*/ 644 h 1254"/>
              <a:gd name="T70" fmla="*/ 3518 w 4211"/>
              <a:gd name="T71" fmla="*/ 558 h 1254"/>
              <a:gd name="T72" fmla="*/ 3492 w 4211"/>
              <a:gd name="T73" fmla="*/ 461 h 1254"/>
              <a:gd name="T74" fmla="*/ 3518 w 4211"/>
              <a:gd name="T75" fmla="*/ 437 h 1254"/>
              <a:gd name="T76" fmla="*/ 3492 w 4211"/>
              <a:gd name="T77" fmla="*/ 316 h 1254"/>
              <a:gd name="T78" fmla="*/ 3570 w 4211"/>
              <a:gd name="T79" fmla="*/ 948 h 1254"/>
              <a:gd name="T80" fmla="*/ 3570 w 4211"/>
              <a:gd name="T81" fmla="*/ 865 h 1254"/>
              <a:gd name="T82" fmla="*/ 3541 w 4211"/>
              <a:gd name="T83" fmla="*/ 765 h 1254"/>
              <a:gd name="T84" fmla="*/ 3570 w 4211"/>
              <a:gd name="T85" fmla="*/ 741 h 1254"/>
              <a:gd name="T86" fmla="*/ 3541 w 4211"/>
              <a:gd name="T87" fmla="*/ 620 h 1254"/>
              <a:gd name="T88" fmla="*/ 3570 w 4211"/>
              <a:gd name="T89" fmla="*/ 461 h 1254"/>
              <a:gd name="T90" fmla="*/ 3570 w 4211"/>
              <a:gd name="T91" fmla="*/ 378 h 1254"/>
              <a:gd name="T92" fmla="*/ 3541 w 4211"/>
              <a:gd name="T93" fmla="*/ 278 h 1254"/>
              <a:gd name="T94" fmla="*/ 3619 w 4211"/>
              <a:gd name="T95" fmla="*/ 986 h 1254"/>
              <a:gd name="T96" fmla="*/ 3593 w 4211"/>
              <a:gd name="T97" fmla="*/ 865 h 1254"/>
              <a:gd name="T98" fmla="*/ 3619 w 4211"/>
              <a:gd name="T99" fmla="*/ 765 h 1254"/>
              <a:gd name="T100" fmla="*/ 3619 w 4211"/>
              <a:gd name="T101" fmla="*/ 620 h 1254"/>
              <a:gd name="T102" fmla="*/ 3593 w 4211"/>
              <a:gd name="T103" fmla="*/ 520 h 1254"/>
              <a:gd name="T104" fmla="*/ 3619 w 4211"/>
              <a:gd name="T105" fmla="*/ 499 h 1254"/>
              <a:gd name="T106" fmla="*/ 3593 w 4211"/>
              <a:gd name="T107" fmla="*/ 378 h 1254"/>
              <a:gd name="T108" fmla="*/ 3619 w 4211"/>
              <a:gd name="T109" fmla="*/ 278 h 1254"/>
              <a:gd name="T110" fmla="*/ 3669 w 4211"/>
              <a:gd name="T111" fmla="*/ 865 h 1254"/>
              <a:gd name="T112" fmla="*/ 3643 w 4211"/>
              <a:gd name="T113" fmla="*/ 765 h 1254"/>
              <a:gd name="T114" fmla="*/ 3669 w 4211"/>
              <a:gd name="T115" fmla="*/ 741 h 1254"/>
              <a:gd name="T116" fmla="*/ 3643 w 4211"/>
              <a:gd name="T117" fmla="*/ 620 h 1254"/>
              <a:gd name="T118" fmla="*/ 3669 w 4211"/>
              <a:gd name="T119" fmla="*/ 520 h 1254"/>
              <a:gd name="T120" fmla="*/ 3669 w 4211"/>
              <a:gd name="T121" fmla="*/ 378 h 1254"/>
              <a:gd name="T122" fmla="*/ 3643 w 4211"/>
              <a:gd name="T123" fmla="*/ 278 h 1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11" h="1254">
                <a:moveTo>
                  <a:pt x="4107" y="853"/>
                </a:moveTo>
                <a:lnTo>
                  <a:pt x="4107" y="689"/>
                </a:lnTo>
                <a:lnTo>
                  <a:pt x="4038" y="689"/>
                </a:lnTo>
                <a:lnTo>
                  <a:pt x="4038" y="677"/>
                </a:lnTo>
                <a:lnTo>
                  <a:pt x="3967" y="677"/>
                </a:lnTo>
                <a:lnTo>
                  <a:pt x="3967" y="508"/>
                </a:lnTo>
                <a:lnTo>
                  <a:pt x="3743" y="508"/>
                </a:lnTo>
                <a:lnTo>
                  <a:pt x="3743" y="335"/>
                </a:lnTo>
                <a:lnTo>
                  <a:pt x="3712" y="335"/>
                </a:lnTo>
                <a:lnTo>
                  <a:pt x="3712" y="197"/>
                </a:lnTo>
                <a:lnTo>
                  <a:pt x="3653" y="197"/>
                </a:lnTo>
                <a:lnTo>
                  <a:pt x="3653" y="157"/>
                </a:lnTo>
                <a:lnTo>
                  <a:pt x="3617" y="157"/>
                </a:lnTo>
                <a:lnTo>
                  <a:pt x="3617" y="207"/>
                </a:lnTo>
                <a:lnTo>
                  <a:pt x="3440" y="207"/>
                </a:lnTo>
                <a:lnTo>
                  <a:pt x="3440" y="596"/>
                </a:lnTo>
                <a:lnTo>
                  <a:pt x="3388" y="596"/>
                </a:lnTo>
                <a:lnTo>
                  <a:pt x="3388" y="708"/>
                </a:lnTo>
                <a:lnTo>
                  <a:pt x="3362" y="708"/>
                </a:lnTo>
                <a:lnTo>
                  <a:pt x="3362" y="492"/>
                </a:lnTo>
                <a:lnTo>
                  <a:pt x="3276" y="492"/>
                </a:lnTo>
                <a:lnTo>
                  <a:pt x="3276" y="373"/>
                </a:lnTo>
                <a:lnTo>
                  <a:pt x="3146" y="373"/>
                </a:lnTo>
                <a:lnTo>
                  <a:pt x="3146" y="449"/>
                </a:lnTo>
                <a:lnTo>
                  <a:pt x="3078" y="382"/>
                </a:lnTo>
                <a:lnTo>
                  <a:pt x="3028" y="444"/>
                </a:lnTo>
                <a:lnTo>
                  <a:pt x="3009" y="444"/>
                </a:lnTo>
                <a:lnTo>
                  <a:pt x="3009" y="368"/>
                </a:lnTo>
                <a:lnTo>
                  <a:pt x="2959" y="368"/>
                </a:lnTo>
                <a:lnTo>
                  <a:pt x="2959" y="202"/>
                </a:lnTo>
                <a:lnTo>
                  <a:pt x="2924" y="202"/>
                </a:lnTo>
                <a:lnTo>
                  <a:pt x="2924" y="382"/>
                </a:lnTo>
                <a:lnTo>
                  <a:pt x="2896" y="382"/>
                </a:lnTo>
                <a:lnTo>
                  <a:pt x="2896" y="454"/>
                </a:lnTo>
                <a:lnTo>
                  <a:pt x="2879" y="454"/>
                </a:lnTo>
                <a:lnTo>
                  <a:pt x="2879" y="615"/>
                </a:lnTo>
                <a:lnTo>
                  <a:pt x="2806" y="615"/>
                </a:lnTo>
                <a:lnTo>
                  <a:pt x="2806" y="679"/>
                </a:lnTo>
                <a:lnTo>
                  <a:pt x="2746" y="679"/>
                </a:lnTo>
                <a:lnTo>
                  <a:pt x="2746" y="594"/>
                </a:lnTo>
                <a:lnTo>
                  <a:pt x="2692" y="594"/>
                </a:lnTo>
                <a:lnTo>
                  <a:pt x="2692" y="361"/>
                </a:lnTo>
                <a:lnTo>
                  <a:pt x="2626" y="361"/>
                </a:lnTo>
                <a:lnTo>
                  <a:pt x="2626" y="316"/>
                </a:lnTo>
                <a:lnTo>
                  <a:pt x="2557" y="316"/>
                </a:lnTo>
                <a:lnTo>
                  <a:pt x="2557" y="264"/>
                </a:lnTo>
                <a:lnTo>
                  <a:pt x="2522" y="264"/>
                </a:lnTo>
                <a:lnTo>
                  <a:pt x="2522" y="311"/>
                </a:lnTo>
                <a:lnTo>
                  <a:pt x="2479" y="311"/>
                </a:lnTo>
                <a:lnTo>
                  <a:pt x="2479" y="157"/>
                </a:lnTo>
                <a:lnTo>
                  <a:pt x="2413" y="157"/>
                </a:lnTo>
                <a:lnTo>
                  <a:pt x="2413" y="309"/>
                </a:lnTo>
                <a:lnTo>
                  <a:pt x="2339" y="309"/>
                </a:lnTo>
                <a:lnTo>
                  <a:pt x="2339" y="492"/>
                </a:lnTo>
                <a:lnTo>
                  <a:pt x="2299" y="492"/>
                </a:lnTo>
                <a:lnTo>
                  <a:pt x="2299" y="698"/>
                </a:lnTo>
                <a:lnTo>
                  <a:pt x="2127" y="698"/>
                </a:lnTo>
                <a:lnTo>
                  <a:pt x="2127" y="620"/>
                </a:lnTo>
                <a:lnTo>
                  <a:pt x="2018" y="620"/>
                </a:lnTo>
                <a:lnTo>
                  <a:pt x="2018" y="708"/>
                </a:lnTo>
                <a:lnTo>
                  <a:pt x="1999" y="708"/>
                </a:lnTo>
                <a:lnTo>
                  <a:pt x="1999" y="651"/>
                </a:lnTo>
                <a:lnTo>
                  <a:pt x="1966" y="651"/>
                </a:lnTo>
                <a:lnTo>
                  <a:pt x="1966" y="0"/>
                </a:lnTo>
                <a:lnTo>
                  <a:pt x="1710" y="0"/>
                </a:lnTo>
                <a:lnTo>
                  <a:pt x="1710" y="696"/>
                </a:lnTo>
                <a:lnTo>
                  <a:pt x="1632" y="696"/>
                </a:lnTo>
                <a:lnTo>
                  <a:pt x="1632" y="558"/>
                </a:lnTo>
                <a:lnTo>
                  <a:pt x="1625" y="558"/>
                </a:lnTo>
                <a:lnTo>
                  <a:pt x="1625" y="382"/>
                </a:lnTo>
                <a:lnTo>
                  <a:pt x="1554" y="283"/>
                </a:lnTo>
                <a:lnTo>
                  <a:pt x="1554" y="162"/>
                </a:lnTo>
                <a:lnTo>
                  <a:pt x="1530" y="162"/>
                </a:lnTo>
                <a:lnTo>
                  <a:pt x="1530" y="278"/>
                </a:lnTo>
                <a:lnTo>
                  <a:pt x="1469" y="387"/>
                </a:lnTo>
                <a:lnTo>
                  <a:pt x="1469" y="558"/>
                </a:lnTo>
                <a:lnTo>
                  <a:pt x="1424" y="558"/>
                </a:lnTo>
                <a:lnTo>
                  <a:pt x="1424" y="656"/>
                </a:lnTo>
                <a:lnTo>
                  <a:pt x="1388" y="656"/>
                </a:lnTo>
                <a:lnTo>
                  <a:pt x="1388" y="591"/>
                </a:lnTo>
                <a:lnTo>
                  <a:pt x="1197" y="591"/>
                </a:lnTo>
                <a:lnTo>
                  <a:pt x="1197" y="808"/>
                </a:lnTo>
                <a:lnTo>
                  <a:pt x="1102" y="808"/>
                </a:lnTo>
                <a:lnTo>
                  <a:pt x="1102" y="651"/>
                </a:lnTo>
                <a:lnTo>
                  <a:pt x="1052" y="651"/>
                </a:lnTo>
                <a:lnTo>
                  <a:pt x="1052" y="596"/>
                </a:lnTo>
                <a:lnTo>
                  <a:pt x="936" y="596"/>
                </a:lnTo>
                <a:lnTo>
                  <a:pt x="936" y="656"/>
                </a:lnTo>
                <a:lnTo>
                  <a:pt x="887" y="656"/>
                </a:lnTo>
                <a:lnTo>
                  <a:pt x="887" y="606"/>
                </a:lnTo>
                <a:lnTo>
                  <a:pt x="842" y="606"/>
                </a:lnTo>
                <a:lnTo>
                  <a:pt x="842" y="665"/>
                </a:lnTo>
                <a:lnTo>
                  <a:pt x="797" y="665"/>
                </a:lnTo>
                <a:lnTo>
                  <a:pt x="797" y="715"/>
                </a:lnTo>
                <a:lnTo>
                  <a:pt x="579" y="715"/>
                </a:lnTo>
                <a:lnTo>
                  <a:pt x="579" y="914"/>
                </a:lnTo>
                <a:lnTo>
                  <a:pt x="485" y="914"/>
                </a:lnTo>
                <a:lnTo>
                  <a:pt x="485" y="798"/>
                </a:lnTo>
                <a:lnTo>
                  <a:pt x="444" y="798"/>
                </a:lnTo>
                <a:lnTo>
                  <a:pt x="444" y="620"/>
                </a:lnTo>
                <a:lnTo>
                  <a:pt x="243" y="620"/>
                </a:lnTo>
                <a:lnTo>
                  <a:pt x="243" y="720"/>
                </a:lnTo>
                <a:lnTo>
                  <a:pt x="182" y="720"/>
                </a:lnTo>
                <a:lnTo>
                  <a:pt x="182" y="620"/>
                </a:lnTo>
                <a:lnTo>
                  <a:pt x="11" y="620"/>
                </a:lnTo>
                <a:lnTo>
                  <a:pt x="11" y="914"/>
                </a:lnTo>
                <a:lnTo>
                  <a:pt x="0" y="914"/>
                </a:lnTo>
                <a:lnTo>
                  <a:pt x="0" y="1247"/>
                </a:lnTo>
                <a:lnTo>
                  <a:pt x="4211" y="1254"/>
                </a:lnTo>
                <a:lnTo>
                  <a:pt x="4211" y="853"/>
                </a:lnTo>
                <a:lnTo>
                  <a:pt x="4107" y="853"/>
                </a:lnTo>
                <a:close/>
                <a:moveTo>
                  <a:pt x="1788" y="979"/>
                </a:moveTo>
                <a:lnTo>
                  <a:pt x="1746" y="979"/>
                </a:lnTo>
                <a:lnTo>
                  <a:pt x="1746" y="881"/>
                </a:lnTo>
                <a:lnTo>
                  <a:pt x="1788" y="881"/>
                </a:lnTo>
                <a:lnTo>
                  <a:pt x="1788" y="979"/>
                </a:lnTo>
                <a:close/>
                <a:moveTo>
                  <a:pt x="1788" y="827"/>
                </a:moveTo>
                <a:lnTo>
                  <a:pt x="1746" y="827"/>
                </a:lnTo>
                <a:lnTo>
                  <a:pt x="1746" y="729"/>
                </a:lnTo>
                <a:lnTo>
                  <a:pt x="1788" y="729"/>
                </a:lnTo>
                <a:lnTo>
                  <a:pt x="1788" y="827"/>
                </a:lnTo>
                <a:close/>
                <a:moveTo>
                  <a:pt x="1788" y="520"/>
                </a:moveTo>
                <a:lnTo>
                  <a:pt x="1746" y="520"/>
                </a:lnTo>
                <a:lnTo>
                  <a:pt x="1746" y="423"/>
                </a:lnTo>
                <a:lnTo>
                  <a:pt x="1788" y="423"/>
                </a:lnTo>
                <a:lnTo>
                  <a:pt x="1788" y="520"/>
                </a:lnTo>
                <a:close/>
                <a:moveTo>
                  <a:pt x="1788" y="368"/>
                </a:moveTo>
                <a:lnTo>
                  <a:pt x="1746" y="368"/>
                </a:lnTo>
                <a:lnTo>
                  <a:pt x="1746" y="271"/>
                </a:lnTo>
                <a:lnTo>
                  <a:pt x="1788" y="271"/>
                </a:lnTo>
                <a:lnTo>
                  <a:pt x="1788" y="368"/>
                </a:lnTo>
                <a:close/>
                <a:moveTo>
                  <a:pt x="1788" y="216"/>
                </a:moveTo>
                <a:lnTo>
                  <a:pt x="1746" y="216"/>
                </a:lnTo>
                <a:lnTo>
                  <a:pt x="1746" y="116"/>
                </a:lnTo>
                <a:lnTo>
                  <a:pt x="1788" y="116"/>
                </a:lnTo>
                <a:lnTo>
                  <a:pt x="1788" y="216"/>
                </a:lnTo>
                <a:close/>
                <a:moveTo>
                  <a:pt x="1864" y="979"/>
                </a:moveTo>
                <a:lnTo>
                  <a:pt x="1821" y="979"/>
                </a:lnTo>
                <a:lnTo>
                  <a:pt x="1821" y="881"/>
                </a:lnTo>
                <a:lnTo>
                  <a:pt x="1864" y="881"/>
                </a:lnTo>
                <a:lnTo>
                  <a:pt x="1864" y="979"/>
                </a:lnTo>
                <a:close/>
                <a:moveTo>
                  <a:pt x="1864" y="827"/>
                </a:moveTo>
                <a:lnTo>
                  <a:pt x="1821" y="827"/>
                </a:lnTo>
                <a:lnTo>
                  <a:pt x="1821" y="729"/>
                </a:lnTo>
                <a:lnTo>
                  <a:pt x="1864" y="729"/>
                </a:lnTo>
                <a:lnTo>
                  <a:pt x="1864" y="827"/>
                </a:lnTo>
                <a:close/>
                <a:moveTo>
                  <a:pt x="1864" y="672"/>
                </a:moveTo>
                <a:lnTo>
                  <a:pt x="1821" y="672"/>
                </a:lnTo>
                <a:lnTo>
                  <a:pt x="1821" y="575"/>
                </a:lnTo>
                <a:lnTo>
                  <a:pt x="1864" y="575"/>
                </a:lnTo>
                <a:lnTo>
                  <a:pt x="1864" y="672"/>
                </a:lnTo>
                <a:close/>
                <a:moveTo>
                  <a:pt x="1864" y="520"/>
                </a:moveTo>
                <a:lnTo>
                  <a:pt x="1821" y="520"/>
                </a:lnTo>
                <a:lnTo>
                  <a:pt x="1821" y="423"/>
                </a:lnTo>
                <a:lnTo>
                  <a:pt x="1864" y="423"/>
                </a:lnTo>
                <a:lnTo>
                  <a:pt x="1864" y="520"/>
                </a:lnTo>
                <a:close/>
                <a:moveTo>
                  <a:pt x="1864" y="368"/>
                </a:moveTo>
                <a:lnTo>
                  <a:pt x="1821" y="368"/>
                </a:lnTo>
                <a:lnTo>
                  <a:pt x="1821" y="271"/>
                </a:lnTo>
                <a:lnTo>
                  <a:pt x="1864" y="271"/>
                </a:lnTo>
                <a:lnTo>
                  <a:pt x="1864" y="368"/>
                </a:lnTo>
                <a:close/>
                <a:moveTo>
                  <a:pt x="1864" y="216"/>
                </a:moveTo>
                <a:lnTo>
                  <a:pt x="1821" y="216"/>
                </a:lnTo>
                <a:lnTo>
                  <a:pt x="1821" y="116"/>
                </a:lnTo>
                <a:lnTo>
                  <a:pt x="1864" y="116"/>
                </a:lnTo>
                <a:lnTo>
                  <a:pt x="1864" y="216"/>
                </a:lnTo>
                <a:close/>
                <a:moveTo>
                  <a:pt x="1940" y="979"/>
                </a:moveTo>
                <a:lnTo>
                  <a:pt x="1899" y="979"/>
                </a:lnTo>
                <a:lnTo>
                  <a:pt x="1899" y="881"/>
                </a:lnTo>
                <a:lnTo>
                  <a:pt x="1940" y="881"/>
                </a:lnTo>
                <a:lnTo>
                  <a:pt x="1940" y="979"/>
                </a:lnTo>
                <a:close/>
                <a:moveTo>
                  <a:pt x="1940" y="827"/>
                </a:moveTo>
                <a:lnTo>
                  <a:pt x="1899" y="827"/>
                </a:lnTo>
                <a:lnTo>
                  <a:pt x="1899" y="729"/>
                </a:lnTo>
                <a:lnTo>
                  <a:pt x="1940" y="729"/>
                </a:lnTo>
                <a:lnTo>
                  <a:pt x="1940" y="827"/>
                </a:lnTo>
                <a:close/>
                <a:moveTo>
                  <a:pt x="1940" y="672"/>
                </a:moveTo>
                <a:lnTo>
                  <a:pt x="1899" y="672"/>
                </a:lnTo>
                <a:lnTo>
                  <a:pt x="1899" y="575"/>
                </a:lnTo>
                <a:lnTo>
                  <a:pt x="1940" y="575"/>
                </a:lnTo>
                <a:lnTo>
                  <a:pt x="1940" y="672"/>
                </a:lnTo>
                <a:close/>
                <a:moveTo>
                  <a:pt x="1940" y="520"/>
                </a:moveTo>
                <a:lnTo>
                  <a:pt x="1899" y="520"/>
                </a:lnTo>
                <a:lnTo>
                  <a:pt x="1899" y="423"/>
                </a:lnTo>
                <a:lnTo>
                  <a:pt x="1940" y="423"/>
                </a:lnTo>
                <a:lnTo>
                  <a:pt x="1940" y="520"/>
                </a:lnTo>
                <a:close/>
                <a:moveTo>
                  <a:pt x="1940" y="368"/>
                </a:moveTo>
                <a:lnTo>
                  <a:pt x="1899" y="368"/>
                </a:lnTo>
                <a:lnTo>
                  <a:pt x="1899" y="271"/>
                </a:lnTo>
                <a:lnTo>
                  <a:pt x="1940" y="271"/>
                </a:lnTo>
                <a:lnTo>
                  <a:pt x="1940" y="368"/>
                </a:lnTo>
                <a:close/>
                <a:moveTo>
                  <a:pt x="1940" y="216"/>
                </a:moveTo>
                <a:lnTo>
                  <a:pt x="1899" y="216"/>
                </a:lnTo>
                <a:lnTo>
                  <a:pt x="1899" y="116"/>
                </a:lnTo>
                <a:lnTo>
                  <a:pt x="1940" y="116"/>
                </a:lnTo>
                <a:lnTo>
                  <a:pt x="1940" y="216"/>
                </a:lnTo>
                <a:close/>
                <a:moveTo>
                  <a:pt x="2418" y="1138"/>
                </a:moveTo>
                <a:lnTo>
                  <a:pt x="2401" y="1138"/>
                </a:lnTo>
                <a:lnTo>
                  <a:pt x="2401" y="397"/>
                </a:lnTo>
                <a:lnTo>
                  <a:pt x="2418" y="397"/>
                </a:lnTo>
                <a:lnTo>
                  <a:pt x="2418" y="1138"/>
                </a:lnTo>
                <a:close/>
                <a:moveTo>
                  <a:pt x="2458" y="1138"/>
                </a:moveTo>
                <a:lnTo>
                  <a:pt x="2441" y="1138"/>
                </a:lnTo>
                <a:lnTo>
                  <a:pt x="2441" y="397"/>
                </a:lnTo>
                <a:lnTo>
                  <a:pt x="2458" y="397"/>
                </a:lnTo>
                <a:lnTo>
                  <a:pt x="2458" y="1138"/>
                </a:lnTo>
                <a:close/>
                <a:moveTo>
                  <a:pt x="2496" y="1138"/>
                </a:moveTo>
                <a:lnTo>
                  <a:pt x="2481" y="1138"/>
                </a:lnTo>
                <a:lnTo>
                  <a:pt x="2481" y="397"/>
                </a:lnTo>
                <a:lnTo>
                  <a:pt x="2496" y="397"/>
                </a:lnTo>
                <a:lnTo>
                  <a:pt x="2496" y="1138"/>
                </a:lnTo>
                <a:close/>
                <a:moveTo>
                  <a:pt x="2536" y="1138"/>
                </a:moveTo>
                <a:lnTo>
                  <a:pt x="2522" y="1138"/>
                </a:lnTo>
                <a:lnTo>
                  <a:pt x="2522" y="397"/>
                </a:lnTo>
                <a:lnTo>
                  <a:pt x="2536" y="397"/>
                </a:lnTo>
                <a:lnTo>
                  <a:pt x="2536" y="1138"/>
                </a:lnTo>
                <a:close/>
                <a:moveTo>
                  <a:pt x="2576" y="1138"/>
                </a:moveTo>
                <a:lnTo>
                  <a:pt x="2562" y="1138"/>
                </a:lnTo>
                <a:lnTo>
                  <a:pt x="2562" y="397"/>
                </a:lnTo>
                <a:lnTo>
                  <a:pt x="2576" y="397"/>
                </a:lnTo>
                <a:lnTo>
                  <a:pt x="2576" y="1138"/>
                </a:lnTo>
                <a:close/>
                <a:moveTo>
                  <a:pt x="2616" y="1138"/>
                </a:moveTo>
                <a:lnTo>
                  <a:pt x="2600" y="1138"/>
                </a:lnTo>
                <a:lnTo>
                  <a:pt x="2600" y="397"/>
                </a:lnTo>
                <a:lnTo>
                  <a:pt x="2616" y="397"/>
                </a:lnTo>
                <a:lnTo>
                  <a:pt x="2616" y="1138"/>
                </a:lnTo>
                <a:close/>
                <a:moveTo>
                  <a:pt x="3518" y="924"/>
                </a:moveTo>
                <a:lnTo>
                  <a:pt x="3492" y="924"/>
                </a:lnTo>
                <a:lnTo>
                  <a:pt x="3492" y="886"/>
                </a:lnTo>
                <a:lnTo>
                  <a:pt x="3518" y="886"/>
                </a:lnTo>
                <a:lnTo>
                  <a:pt x="3518" y="924"/>
                </a:lnTo>
                <a:close/>
                <a:moveTo>
                  <a:pt x="3518" y="865"/>
                </a:moveTo>
                <a:lnTo>
                  <a:pt x="3492" y="865"/>
                </a:lnTo>
                <a:lnTo>
                  <a:pt x="3492" y="827"/>
                </a:lnTo>
                <a:lnTo>
                  <a:pt x="3518" y="827"/>
                </a:lnTo>
                <a:lnTo>
                  <a:pt x="3518" y="865"/>
                </a:lnTo>
                <a:close/>
                <a:moveTo>
                  <a:pt x="3518" y="803"/>
                </a:moveTo>
                <a:lnTo>
                  <a:pt x="3492" y="803"/>
                </a:lnTo>
                <a:lnTo>
                  <a:pt x="3492" y="765"/>
                </a:lnTo>
                <a:lnTo>
                  <a:pt x="3518" y="765"/>
                </a:lnTo>
                <a:lnTo>
                  <a:pt x="3518" y="803"/>
                </a:lnTo>
                <a:close/>
                <a:moveTo>
                  <a:pt x="3518" y="682"/>
                </a:moveTo>
                <a:lnTo>
                  <a:pt x="3492" y="682"/>
                </a:lnTo>
                <a:lnTo>
                  <a:pt x="3492" y="644"/>
                </a:lnTo>
                <a:lnTo>
                  <a:pt x="3518" y="644"/>
                </a:lnTo>
                <a:lnTo>
                  <a:pt x="3518" y="682"/>
                </a:lnTo>
                <a:close/>
                <a:moveTo>
                  <a:pt x="3518" y="620"/>
                </a:moveTo>
                <a:lnTo>
                  <a:pt x="3492" y="620"/>
                </a:lnTo>
                <a:lnTo>
                  <a:pt x="3492" y="582"/>
                </a:lnTo>
                <a:lnTo>
                  <a:pt x="3518" y="582"/>
                </a:lnTo>
                <a:lnTo>
                  <a:pt x="3518" y="620"/>
                </a:lnTo>
                <a:close/>
                <a:moveTo>
                  <a:pt x="3518" y="558"/>
                </a:moveTo>
                <a:lnTo>
                  <a:pt x="3492" y="558"/>
                </a:lnTo>
                <a:lnTo>
                  <a:pt x="3492" y="520"/>
                </a:lnTo>
                <a:lnTo>
                  <a:pt x="3518" y="520"/>
                </a:lnTo>
                <a:lnTo>
                  <a:pt x="3518" y="558"/>
                </a:lnTo>
                <a:close/>
                <a:moveTo>
                  <a:pt x="3518" y="499"/>
                </a:moveTo>
                <a:lnTo>
                  <a:pt x="3492" y="499"/>
                </a:lnTo>
                <a:lnTo>
                  <a:pt x="3492" y="461"/>
                </a:lnTo>
                <a:lnTo>
                  <a:pt x="3518" y="461"/>
                </a:lnTo>
                <a:lnTo>
                  <a:pt x="3518" y="499"/>
                </a:lnTo>
                <a:close/>
                <a:moveTo>
                  <a:pt x="3518" y="437"/>
                </a:moveTo>
                <a:lnTo>
                  <a:pt x="3492" y="437"/>
                </a:lnTo>
                <a:lnTo>
                  <a:pt x="3492" y="399"/>
                </a:lnTo>
                <a:lnTo>
                  <a:pt x="3518" y="399"/>
                </a:lnTo>
                <a:lnTo>
                  <a:pt x="3518" y="437"/>
                </a:lnTo>
                <a:close/>
                <a:moveTo>
                  <a:pt x="3518" y="378"/>
                </a:moveTo>
                <a:lnTo>
                  <a:pt x="3492" y="378"/>
                </a:lnTo>
                <a:lnTo>
                  <a:pt x="3492" y="337"/>
                </a:lnTo>
                <a:lnTo>
                  <a:pt x="3518" y="337"/>
                </a:lnTo>
                <a:lnTo>
                  <a:pt x="3518" y="378"/>
                </a:lnTo>
                <a:close/>
                <a:moveTo>
                  <a:pt x="3518" y="316"/>
                </a:moveTo>
                <a:lnTo>
                  <a:pt x="3492" y="316"/>
                </a:lnTo>
                <a:lnTo>
                  <a:pt x="3492" y="278"/>
                </a:lnTo>
                <a:lnTo>
                  <a:pt x="3518" y="278"/>
                </a:lnTo>
                <a:lnTo>
                  <a:pt x="3518" y="316"/>
                </a:lnTo>
                <a:close/>
                <a:moveTo>
                  <a:pt x="3570" y="986"/>
                </a:moveTo>
                <a:lnTo>
                  <a:pt x="3541" y="986"/>
                </a:lnTo>
                <a:lnTo>
                  <a:pt x="3541" y="948"/>
                </a:lnTo>
                <a:lnTo>
                  <a:pt x="3570" y="948"/>
                </a:lnTo>
                <a:lnTo>
                  <a:pt x="3570" y="986"/>
                </a:lnTo>
                <a:close/>
                <a:moveTo>
                  <a:pt x="3570" y="924"/>
                </a:moveTo>
                <a:lnTo>
                  <a:pt x="3541" y="924"/>
                </a:lnTo>
                <a:lnTo>
                  <a:pt x="3541" y="886"/>
                </a:lnTo>
                <a:lnTo>
                  <a:pt x="3570" y="886"/>
                </a:lnTo>
                <a:lnTo>
                  <a:pt x="3570" y="924"/>
                </a:lnTo>
                <a:close/>
                <a:moveTo>
                  <a:pt x="3570" y="865"/>
                </a:moveTo>
                <a:lnTo>
                  <a:pt x="3541" y="865"/>
                </a:lnTo>
                <a:lnTo>
                  <a:pt x="3541" y="827"/>
                </a:lnTo>
                <a:lnTo>
                  <a:pt x="3570" y="827"/>
                </a:lnTo>
                <a:lnTo>
                  <a:pt x="3570" y="865"/>
                </a:lnTo>
                <a:close/>
                <a:moveTo>
                  <a:pt x="3570" y="803"/>
                </a:moveTo>
                <a:lnTo>
                  <a:pt x="3541" y="803"/>
                </a:lnTo>
                <a:lnTo>
                  <a:pt x="3541" y="765"/>
                </a:lnTo>
                <a:lnTo>
                  <a:pt x="3570" y="765"/>
                </a:lnTo>
                <a:lnTo>
                  <a:pt x="3570" y="803"/>
                </a:lnTo>
                <a:close/>
                <a:moveTo>
                  <a:pt x="3570" y="741"/>
                </a:moveTo>
                <a:lnTo>
                  <a:pt x="3541" y="741"/>
                </a:lnTo>
                <a:lnTo>
                  <a:pt x="3541" y="703"/>
                </a:lnTo>
                <a:lnTo>
                  <a:pt x="3570" y="703"/>
                </a:lnTo>
                <a:lnTo>
                  <a:pt x="3570" y="741"/>
                </a:lnTo>
                <a:close/>
                <a:moveTo>
                  <a:pt x="3570" y="682"/>
                </a:moveTo>
                <a:lnTo>
                  <a:pt x="3541" y="682"/>
                </a:lnTo>
                <a:lnTo>
                  <a:pt x="3541" y="644"/>
                </a:lnTo>
                <a:lnTo>
                  <a:pt x="3570" y="644"/>
                </a:lnTo>
                <a:lnTo>
                  <a:pt x="3570" y="682"/>
                </a:lnTo>
                <a:close/>
                <a:moveTo>
                  <a:pt x="3570" y="620"/>
                </a:moveTo>
                <a:lnTo>
                  <a:pt x="3541" y="620"/>
                </a:lnTo>
                <a:lnTo>
                  <a:pt x="3541" y="582"/>
                </a:lnTo>
                <a:lnTo>
                  <a:pt x="3570" y="582"/>
                </a:lnTo>
                <a:lnTo>
                  <a:pt x="3570" y="620"/>
                </a:lnTo>
                <a:close/>
                <a:moveTo>
                  <a:pt x="3570" y="499"/>
                </a:moveTo>
                <a:lnTo>
                  <a:pt x="3541" y="499"/>
                </a:lnTo>
                <a:lnTo>
                  <a:pt x="3541" y="461"/>
                </a:lnTo>
                <a:lnTo>
                  <a:pt x="3570" y="461"/>
                </a:lnTo>
                <a:lnTo>
                  <a:pt x="3570" y="499"/>
                </a:lnTo>
                <a:close/>
                <a:moveTo>
                  <a:pt x="3570" y="437"/>
                </a:moveTo>
                <a:lnTo>
                  <a:pt x="3541" y="437"/>
                </a:lnTo>
                <a:lnTo>
                  <a:pt x="3541" y="399"/>
                </a:lnTo>
                <a:lnTo>
                  <a:pt x="3570" y="399"/>
                </a:lnTo>
                <a:lnTo>
                  <a:pt x="3570" y="437"/>
                </a:lnTo>
                <a:close/>
                <a:moveTo>
                  <a:pt x="3570" y="378"/>
                </a:moveTo>
                <a:lnTo>
                  <a:pt x="3541" y="378"/>
                </a:lnTo>
                <a:lnTo>
                  <a:pt x="3541" y="337"/>
                </a:lnTo>
                <a:lnTo>
                  <a:pt x="3570" y="337"/>
                </a:lnTo>
                <a:lnTo>
                  <a:pt x="3570" y="378"/>
                </a:lnTo>
                <a:close/>
                <a:moveTo>
                  <a:pt x="3570" y="316"/>
                </a:moveTo>
                <a:lnTo>
                  <a:pt x="3541" y="316"/>
                </a:lnTo>
                <a:lnTo>
                  <a:pt x="3541" y="278"/>
                </a:lnTo>
                <a:lnTo>
                  <a:pt x="3570" y="278"/>
                </a:lnTo>
                <a:lnTo>
                  <a:pt x="3570" y="316"/>
                </a:lnTo>
                <a:close/>
                <a:moveTo>
                  <a:pt x="3619" y="986"/>
                </a:moveTo>
                <a:lnTo>
                  <a:pt x="3593" y="986"/>
                </a:lnTo>
                <a:lnTo>
                  <a:pt x="3593" y="948"/>
                </a:lnTo>
                <a:lnTo>
                  <a:pt x="3619" y="948"/>
                </a:lnTo>
                <a:lnTo>
                  <a:pt x="3619" y="986"/>
                </a:lnTo>
                <a:close/>
                <a:moveTo>
                  <a:pt x="3619" y="924"/>
                </a:moveTo>
                <a:lnTo>
                  <a:pt x="3593" y="924"/>
                </a:lnTo>
                <a:lnTo>
                  <a:pt x="3593" y="886"/>
                </a:lnTo>
                <a:lnTo>
                  <a:pt x="3619" y="886"/>
                </a:lnTo>
                <a:lnTo>
                  <a:pt x="3619" y="924"/>
                </a:lnTo>
                <a:close/>
                <a:moveTo>
                  <a:pt x="3619" y="865"/>
                </a:moveTo>
                <a:lnTo>
                  <a:pt x="3593" y="865"/>
                </a:lnTo>
                <a:lnTo>
                  <a:pt x="3593" y="827"/>
                </a:lnTo>
                <a:lnTo>
                  <a:pt x="3619" y="827"/>
                </a:lnTo>
                <a:lnTo>
                  <a:pt x="3619" y="865"/>
                </a:lnTo>
                <a:close/>
                <a:moveTo>
                  <a:pt x="3619" y="803"/>
                </a:moveTo>
                <a:lnTo>
                  <a:pt x="3593" y="803"/>
                </a:lnTo>
                <a:lnTo>
                  <a:pt x="3593" y="765"/>
                </a:lnTo>
                <a:lnTo>
                  <a:pt x="3619" y="765"/>
                </a:lnTo>
                <a:lnTo>
                  <a:pt x="3619" y="803"/>
                </a:lnTo>
                <a:close/>
                <a:moveTo>
                  <a:pt x="3619" y="682"/>
                </a:moveTo>
                <a:lnTo>
                  <a:pt x="3593" y="682"/>
                </a:lnTo>
                <a:lnTo>
                  <a:pt x="3593" y="644"/>
                </a:lnTo>
                <a:lnTo>
                  <a:pt x="3619" y="644"/>
                </a:lnTo>
                <a:lnTo>
                  <a:pt x="3619" y="682"/>
                </a:lnTo>
                <a:close/>
                <a:moveTo>
                  <a:pt x="3619" y="620"/>
                </a:moveTo>
                <a:lnTo>
                  <a:pt x="3593" y="620"/>
                </a:lnTo>
                <a:lnTo>
                  <a:pt x="3593" y="582"/>
                </a:lnTo>
                <a:lnTo>
                  <a:pt x="3619" y="582"/>
                </a:lnTo>
                <a:lnTo>
                  <a:pt x="3619" y="620"/>
                </a:lnTo>
                <a:close/>
                <a:moveTo>
                  <a:pt x="3619" y="558"/>
                </a:moveTo>
                <a:lnTo>
                  <a:pt x="3593" y="558"/>
                </a:lnTo>
                <a:lnTo>
                  <a:pt x="3593" y="520"/>
                </a:lnTo>
                <a:lnTo>
                  <a:pt x="3619" y="520"/>
                </a:lnTo>
                <a:lnTo>
                  <a:pt x="3619" y="558"/>
                </a:lnTo>
                <a:close/>
                <a:moveTo>
                  <a:pt x="3619" y="499"/>
                </a:moveTo>
                <a:lnTo>
                  <a:pt x="3593" y="499"/>
                </a:lnTo>
                <a:lnTo>
                  <a:pt x="3593" y="461"/>
                </a:lnTo>
                <a:lnTo>
                  <a:pt x="3619" y="461"/>
                </a:lnTo>
                <a:lnTo>
                  <a:pt x="3619" y="499"/>
                </a:lnTo>
                <a:close/>
                <a:moveTo>
                  <a:pt x="3619" y="437"/>
                </a:moveTo>
                <a:lnTo>
                  <a:pt x="3593" y="437"/>
                </a:lnTo>
                <a:lnTo>
                  <a:pt x="3593" y="399"/>
                </a:lnTo>
                <a:lnTo>
                  <a:pt x="3619" y="399"/>
                </a:lnTo>
                <a:lnTo>
                  <a:pt x="3619" y="437"/>
                </a:lnTo>
                <a:close/>
                <a:moveTo>
                  <a:pt x="3619" y="378"/>
                </a:moveTo>
                <a:lnTo>
                  <a:pt x="3593" y="378"/>
                </a:lnTo>
                <a:lnTo>
                  <a:pt x="3593" y="337"/>
                </a:lnTo>
                <a:lnTo>
                  <a:pt x="3619" y="337"/>
                </a:lnTo>
                <a:lnTo>
                  <a:pt x="3619" y="378"/>
                </a:lnTo>
                <a:close/>
                <a:moveTo>
                  <a:pt x="3619" y="316"/>
                </a:moveTo>
                <a:lnTo>
                  <a:pt x="3593" y="316"/>
                </a:lnTo>
                <a:lnTo>
                  <a:pt x="3593" y="278"/>
                </a:lnTo>
                <a:lnTo>
                  <a:pt x="3619" y="278"/>
                </a:lnTo>
                <a:lnTo>
                  <a:pt x="3619" y="316"/>
                </a:lnTo>
                <a:close/>
                <a:moveTo>
                  <a:pt x="3669" y="986"/>
                </a:moveTo>
                <a:lnTo>
                  <a:pt x="3643" y="986"/>
                </a:lnTo>
                <a:lnTo>
                  <a:pt x="3643" y="948"/>
                </a:lnTo>
                <a:lnTo>
                  <a:pt x="3669" y="948"/>
                </a:lnTo>
                <a:lnTo>
                  <a:pt x="3669" y="986"/>
                </a:lnTo>
                <a:close/>
                <a:moveTo>
                  <a:pt x="3669" y="865"/>
                </a:moveTo>
                <a:lnTo>
                  <a:pt x="3643" y="865"/>
                </a:lnTo>
                <a:lnTo>
                  <a:pt x="3643" y="827"/>
                </a:lnTo>
                <a:lnTo>
                  <a:pt x="3669" y="827"/>
                </a:lnTo>
                <a:lnTo>
                  <a:pt x="3669" y="865"/>
                </a:lnTo>
                <a:close/>
                <a:moveTo>
                  <a:pt x="3669" y="803"/>
                </a:moveTo>
                <a:lnTo>
                  <a:pt x="3643" y="803"/>
                </a:lnTo>
                <a:lnTo>
                  <a:pt x="3643" y="765"/>
                </a:lnTo>
                <a:lnTo>
                  <a:pt x="3669" y="765"/>
                </a:lnTo>
                <a:lnTo>
                  <a:pt x="3669" y="803"/>
                </a:lnTo>
                <a:close/>
                <a:moveTo>
                  <a:pt x="3669" y="741"/>
                </a:moveTo>
                <a:lnTo>
                  <a:pt x="3643" y="741"/>
                </a:lnTo>
                <a:lnTo>
                  <a:pt x="3643" y="703"/>
                </a:lnTo>
                <a:lnTo>
                  <a:pt x="3669" y="703"/>
                </a:lnTo>
                <a:lnTo>
                  <a:pt x="3669" y="741"/>
                </a:lnTo>
                <a:close/>
                <a:moveTo>
                  <a:pt x="3669" y="682"/>
                </a:moveTo>
                <a:lnTo>
                  <a:pt x="3643" y="682"/>
                </a:lnTo>
                <a:lnTo>
                  <a:pt x="3643" y="644"/>
                </a:lnTo>
                <a:lnTo>
                  <a:pt x="3669" y="644"/>
                </a:lnTo>
                <a:lnTo>
                  <a:pt x="3669" y="682"/>
                </a:lnTo>
                <a:close/>
                <a:moveTo>
                  <a:pt x="3669" y="620"/>
                </a:moveTo>
                <a:lnTo>
                  <a:pt x="3643" y="620"/>
                </a:lnTo>
                <a:lnTo>
                  <a:pt x="3643" y="582"/>
                </a:lnTo>
                <a:lnTo>
                  <a:pt x="3669" y="582"/>
                </a:lnTo>
                <a:lnTo>
                  <a:pt x="3669" y="620"/>
                </a:lnTo>
                <a:close/>
                <a:moveTo>
                  <a:pt x="3669" y="558"/>
                </a:moveTo>
                <a:lnTo>
                  <a:pt x="3643" y="558"/>
                </a:lnTo>
                <a:lnTo>
                  <a:pt x="3643" y="520"/>
                </a:lnTo>
                <a:lnTo>
                  <a:pt x="3669" y="520"/>
                </a:lnTo>
                <a:lnTo>
                  <a:pt x="3669" y="558"/>
                </a:lnTo>
                <a:close/>
                <a:moveTo>
                  <a:pt x="3669" y="499"/>
                </a:moveTo>
                <a:lnTo>
                  <a:pt x="3643" y="499"/>
                </a:lnTo>
                <a:lnTo>
                  <a:pt x="3643" y="461"/>
                </a:lnTo>
                <a:lnTo>
                  <a:pt x="3669" y="461"/>
                </a:lnTo>
                <a:lnTo>
                  <a:pt x="3669" y="499"/>
                </a:lnTo>
                <a:close/>
                <a:moveTo>
                  <a:pt x="3669" y="378"/>
                </a:moveTo>
                <a:lnTo>
                  <a:pt x="3643" y="378"/>
                </a:lnTo>
                <a:lnTo>
                  <a:pt x="3643" y="337"/>
                </a:lnTo>
                <a:lnTo>
                  <a:pt x="3669" y="337"/>
                </a:lnTo>
                <a:lnTo>
                  <a:pt x="3669" y="378"/>
                </a:lnTo>
                <a:close/>
                <a:moveTo>
                  <a:pt x="3669" y="316"/>
                </a:moveTo>
                <a:lnTo>
                  <a:pt x="3643" y="316"/>
                </a:lnTo>
                <a:lnTo>
                  <a:pt x="3643" y="278"/>
                </a:lnTo>
                <a:lnTo>
                  <a:pt x="3669" y="278"/>
                </a:lnTo>
                <a:lnTo>
                  <a:pt x="3669" y="316"/>
                </a:lnTo>
                <a:close/>
              </a:path>
            </a:pathLst>
          </a:custGeom>
          <a:solidFill>
            <a:schemeClr val="tx2">
              <a:lumMod val="60000"/>
              <a:lumOff val="40000"/>
              <a:alpha val="15000"/>
            </a:schemeClr>
          </a:solidFill>
          <a:ln>
            <a:noFill/>
          </a:ln>
        </p:spPr>
        <p:txBody>
          <a:bodyPr/>
          <a:lstStyle/>
          <a:p>
            <a:pPr eaLnBrk="1" fontAlgn="auto" hangingPunct="1">
              <a:spcBef>
                <a:spcPts val="0"/>
              </a:spcBef>
              <a:spcAft>
                <a:spcPts val="0"/>
              </a:spcAft>
              <a:defRPr/>
            </a:pPr>
            <a:endParaRPr lang="en-US" sz="1351">
              <a:latin typeface="+mn-lt"/>
            </a:endParaRPr>
          </a:p>
        </p:txBody>
      </p:sp>
      <p:pic>
        <p:nvPicPr>
          <p:cNvPr id="26633" name="Picture 4" descr="C:\Users\Zeki\Desktop\Untitled-1.eps">
            <a:extLst>
              <a:ext uri="{FF2B5EF4-FFF2-40B4-BE49-F238E27FC236}">
                <a16:creationId xmlns:a16="http://schemas.microsoft.com/office/drawing/2014/main" id="{CF30BC40-509E-CD10-0288-C3C4D31FC99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flipH="1">
            <a:off x="5772150" y="2246313"/>
            <a:ext cx="3070225" cy="440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6634" name="Group 54">
            <a:extLst>
              <a:ext uri="{FF2B5EF4-FFF2-40B4-BE49-F238E27FC236}">
                <a16:creationId xmlns:a16="http://schemas.microsoft.com/office/drawing/2014/main" id="{30848544-E56E-E1C4-6187-C94F034D5B87}"/>
              </a:ext>
            </a:extLst>
          </p:cNvPr>
          <p:cNvGrpSpPr>
            <a:grpSpLocks/>
          </p:cNvGrpSpPr>
          <p:nvPr/>
        </p:nvGrpSpPr>
        <p:grpSpPr bwMode="auto">
          <a:xfrm>
            <a:off x="7065963" y="3505200"/>
            <a:ext cx="5278437" cy="3263900"/>
            <a:chOff x="9410700" y="2776538"/>
            <a:chExt cx="2781301" cy="1719263"/>
          </a:xfrm>
        </p:grpSpPr>
        <p:sp>
          <p:nvSpPr>
            <p:cNvPr id="26637" name="Freeform 484">
              <a:extLst>
                <a:ext uri="{FF2B5EF4-FFF2-40B4-BE49-F238E27FC236}">
                  <a16:creationId xmlns:a16="http://schemas.microsoft.com/office/drawing/2014/main" id="{39BF3219-3792-DD91-E463-9C772F03E543}"/>
                </a:ext>
              </a:extLst>
            </p:cNvPr>
            <p:cNvSpPr>
              <a:spLocks/>
            </p:cNvSpPr>
            <p:nvPr/>
          </p:nvSpPr>
          <p:spPr bwMode="auto">
            <a:xfrm>
              <a:off x="9410700" y="3327401"/>
              <a:ext cx="2781300" cy="927100"/>
            </a:xfrm>
            <a:custGeom>
              <a:avLst/>
              <a:gdLst>
                <a:gd name="T0" fmla="*/ 2147483646 w 5257"/>
                <a:gd name="T1" fmla="*/ 2147483646 h 1750"/>
                <a:gd name="T2" fmla="*/ 2147483646 w 5257"/>
                <a:gd name="T3" fmla="*/ 2147483646 h 1750"/>
                <a:gd name="T4" fmla="*/ 0 w 5257"/>
                <a:gd name="T5" fmla="*/ 2147483646 h 1750"/>
                <a:gd name="T6" fmla="*/ 2147483646 w 5257"/>
                <a:gd name="T7" fmla="*/ 2147483646 h 1750"/>
                <a:gd name="T8" fmla="*/ 2147483646 w 5257"/>
                <a:gd name="T9" fmla="*/ 2147483646 h 1750"/>
                <a:gd name="T10" fmla="*/ 2147483646 w 5257"/>
                <a:gd name="T11" fmla="*/ 2147483646 h 1750"/>
                <a:gd name="T12" fmla="*/ 2147483646 w 5257"/>
                <a:gd name="T13" fmla="*/ 2147483646 h 1750"/>
                <a:gd name="T14" fmla="*/ 2147483646 w 5257"/>
                <a:gd name="T15" fmla="*/ 2147483646 h 1750"/>
                <a:gd name="T16" fmla="*/ 2147483646 w 5257"/>
                <a:gd name="T17" fmla="*/ 2147483646 h 1750"/>
                <a:gd name="T18" fmla="*/ 2147483646 w 5257"/>
                <a:gd name="T19" fmla="*/ 2147483646 h 1750"/>
                <a:gd name="T20" fmla="*/ 2147483646 w 5257"/>
                <a:gd name="T21" fmla="*/ 2147483646 h 1750"/>
                <a:gd name="T22" fmla="*/ 2147483646 w 5257"/>
                <a:gd name="T23" fmla="*/ 2147483646 h 1750"/>
                <a:gd name="T24" fmla="*/ 2147483646 w 5257"/>
                <a:gd name="T25" fmla="*/ 2147483646 h 1750"/>
                <a:gd name="T26" fmla="*/ 2147483646 w 5257"/>
                <a:gd name="T27" fmla="*/ 2147483646 h 1750"/>
                <a:gd name="T28" fmla="*/ 2147483646 w 5257"/>
                <a:gd name="T29" fmla="*/ 2147483646 h 1750"/>
                <a:gd name="T30" fmla="*/ 2147483646 w 5257"/>
                <a:gd name="T31" fmla="*/ 2147483646 h 1750"/>
                <a:gd name="T32" fmla="*/ 2147483646 w 5257"/>
                <a:gd name="T33" fmla="*/ 2147483646 h 1750"/>
                <a:gd name="T34" fmla="*/ 2147483646 w 5257"/>
                <a:gd name="T35" fmla="*/ 2147483646 h 1750"/>
                <a:gd name="T36" fmla="*/ 2147483646 w 5257"/>
                <a:gd name="T37" fmla="*/ 2147483646 h 1750"/>
                <a:gd name="T38" fmla="*/ 2147483646 w 5257"/>
                <a:gd name="T39" fmla="*/ 2147483646 h 1750"/>
                <a:gd name="T40" fmla="*/ 2147483646 w 5257"/>
                <a:gd name="T41" fmla="*/ 2147483646 h 1750"/>
                <a:gd name="T42" fmla="*/ 2147483646 w 5257"/>
                <a:gd name="T43" fmla="*/ 2147483646 h 1750"/>
                <a:gd name="T44" fmla="*/ 2147483646 w 5257"/>
                <a:gd name="T45" fmla="*/ 2147483646 h 1750"/>
                <a:gd name="T46" fmla="*/ 2147483646 w 5257"/>
                <a:gd name="T47" fmla="*/ 2147483646 h 1750"/>
                <a:gd name="T48" fmla="*/ 2147483646 w 5257"/>
                <a:gd name="T49" fmla="*/ 2147483646 h 1750"/>
                <a:gd name="T50" fmla="*/ 2147483646 w 5257"/>
                <a:gd name="T51" fmla="*/ 0 h 1750"/>
                <a:gd name="T52" fmla="*/ 2147483646 w 5257"/>
                <a:gd name="T53" fmla="*/ 2147483646 h 1750"/>
                <a:gd name="T54" fmla="*/ 2147483646 w 5257"/>
                <a:gd name="T55" fmla="*/ 2147483646 h 1750"/>
                <a:gd name="T56" fmla="*/ 2147483646 w 5257"/>
                <a:gd name="T57" fmla="*/ 2147483646 h 1750"/>
                <a:gd name="T58" fmla="*/ 2147483646 w 5257"/>
                <a:gd name="T59" fmla="*/ 2147483646 h 1750"/>
                <a:gd name="T60" fmla="*/ 2147483646 w 5257"/>
                <a:gd name="T61" fmla="*/ 2147483646 h 1750"/>
                <a:gd name="T62" fmla="*/ 2147483646 w 5257"/>
                <a:gd name="T63" fmla="*/ 2147483646 h 1750"/>
                <a:gd name="T64" fmla="*/ 2147483646 w 5257"/>
                <a:gd name="T65" fmla="*/ 2147483646 h 1750"/>
                <a:gd name="T66" fmla="*/ 2147483646 w 5257"/>
                <a:gd name="T67" fmla="*/ 2147483646 h 1750"/>
                <a:gd name="T68" fmla="*/ 2147483646 w 5257"/>
                <a:gd name="T69" fmla="*/ 2147483646 h 1750"/>
                <a:gd name="T70" fmla="*/ 2147483646 w 5257"/>
                <a:gd name="T71" fmla="*/ 2147483646 h 1750"/>
                <a:gd name="T72" fmla="*/ 2147483646 w 5257"/>
                <a:gd name="T73" fmla="*/ 2147483646 h 1750"/>
                <a:gd name="T74" fmla="*/ 2147483646 w 5257"/>
                <a:gd name="T75" fmla="*/ 2147483646 h 1750"/>
                <a:gd name="T76" fmla="*/ 2147483646 w 5257"/>
                <a:gd name="T77" fmla="*/ 2147483646 h 1750"/>
                <a:gd name="T78" fmla="*/ 2147483646 w 5257"/>
                <a:gd name="T79" fmla="*/ 2147483646 h 1750"/>
                <a:gd name="T80" fmla="*/ 2147483646 w 5257"/>
                <a:gd name="T81" fmla="*/ 2147483646 h 1750"/>
                <a:gd name="T82" fmla="*/ 2147483646 w 5257"/>
                <a:gd name="T83" fmla="*/ 2147483646 h 1750"/>
                <a:gd name="T84" fmla="*/ 2147483646 w 5257"/>
                <a:gd name="T85" fmla="*/ 2147483646 h 1750"/>
                <a:gd name="T86" fmla="*/ 2147483646 w 5257"/>
                <a:gd name="T87" fmla="*/ 2147483646 h 1750"/>
                <a:gd name="T88" fmla="*/ 2147483646 w 5257"/>
                <a:gd name="T89" fmla="*/ 2147483646 h 1750"/>
                <a:gd name="T90" fmla="*/ 2147483646 w 5257"/>
                <a:gd name="T91" fmla="*/ 2147483646 h 175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5257" h="1750">
                  <a:moveTo>
                    <a:pt x="5" y="1750"/>
                  </a:moveTo>
                  <a:lnTo>
                    <a:pt x="5" y="1750"/>
                  </a:lnTo>
                  <a:lnTo>
                    <a:pt x="4" y="1731"/>
                  </a:lnTo>
                  <a:lnTo>
                    <a:pt x="1" y="1680"/>
                  </a:lnTo>
                  <a:lnTo>
                    <a:pt x="0" y="1644"/>
                  </a:lnTo>
                  <a:lnTo>
                    <a:pt x="0" y="1601"/>
                  </a:lnTo>
                  <a:lnTo>
                    <a:pt x="0" y="1551"/>
                  </a:lnTo>
                  <a:lnTo>
                    <a:pt x="3" y="1496"/>
                  </a:lnTo>
                  <a:lnTo>
                    <a:pt x="5" y="1438"/>
                  </a:lnTo>
                  <a:lnTo>
                    <a:pt x="9" y="1373"/>
                  </a:lnTo>
                  <a:lnTo>
                    <a:pt x="18" y="1306"/>
                  </a:lnTo>
                  <a:lnTo>
                    <a:pt x="27" y="1235"/>
                  </a:lnTo>
                  <a:lnTo>
                    <a:pt x="39" y="1162"/>
                  </a:lnTo>
                  <a:lnTo>
                    <a:pt x="54" y="1087"/>
                  </a:lnTo>
                  <a:lnTo>
                    <a:pt x="72" y="1009"/>
                  </a:lnTo>
                  <a:lnTo>
                    <a:pt x="82" y="970"/>
                  </a:lnTo>
                  <a:lnTo>
                    <a:pt x="94" y="931"/>
                  </a:lnTo>
                  <a:lnTo>
                    <a:pt x="106" y="893"/>
                  </a:lnTo>
                  <a:lnTo>
                    <a:pt x="119" y="854"/>
                  </a:lnTo>
                  <a:lnTo>
                    <a:pt x="134" y="814"/>
                  </a:lnTo>
                  <a:lnTo>
                    <a:pt x="150" y="775"/>
                  </a:lnTo>
                  <a:lnTo>
                    <a:pt x="166" y="736"/>
                  </a:lnTo>
                  <a:lnTo>
                    <a:pt x="185" y="697"/>
                  </a:lnTo>
                  <a:lnTo>
                    <a:pt x="204" y="660"/>
                  </a:lnTo>
                  <a:lnTo>
                    <a:pt x="224" y="621"/>
                  </a:lnTo>
                  <a:lnTo>
                    <a:pt x="246" y="583"/>
                  </a:lnTo>
                  <a:lnTo>
                    <a:pt x="269" y="547"/>
                  </a:lnTo>
                  <a:lnTo>
                    <a:pt x="293" y="510"/>
                  </a:lnTo>
                  <a:lnTo>
                    <a:pt x="319" y="475"/>
                  </a:lnTo>
                  <a:lnTo>
                    <a:pt x="347" y="440"/>
                  </a:lnTo>
                  <a:lnTo>
                    <a:pt x="375" y="405"/>
                  </a:lnTo>
                  <a:lnTo>
                    <a:pt x="405" y="372"/>
                  </a:lnTo>
                  <a:lnTo>
                    <a:pt x="437" y="340"/>
                  </a:lnTo>
                  <a:lnTo>
                    <a:pt x="470" y="309"/>
                  </a:lnTo>
                  <a:lnTo>
                    <a:pt x="505" y="278"/>
                  </a:lnTo>
                  <a:lnTo>
                    <a:pt x="542" y="249"/>
                  </a:lnTo>
                  <a:lnTo>
                    <a:pt x="580" y="222"/>
                  </a:lnTo>
                  <a:lnTo>
                    <a:pt x="620" y="195"/>
                  </a:lnTo>
                  <a:lnTo>
                    <a:pt x="662" y="170"/>
                  </a:lnTo>
                  <a:lnTo>
                    <a:pt x="706" y="145"/>
                  </a:lnTo>
                  <a:lnTo>
                    <a:pt x="751" y="124"/>
                  </a:lnTo>
                  <a:lnTo>
                    <a:pt x="798" y="103"/>
                  </a:lnTo>
                  <a:lnTo>
                    <a:pt x="848" y="84"/>
                  </a:lnTo>
                  <a:lnTo>
                    <a:pt x="900" y="66"/>
                  </a:lnTo>
                  <a:lnTo>
                    <a:pt x="952" y="50"/>
                  </a:lnTo>
                  <a:lnTo>
                    <a:pt x="1008" y="37"/>
                  </a:lnTo>
                  <a:lnTo>
                    <a:pt x="1066" y="25"/>
                  </a:lnTo>
                  <a:lnTo>
                    <a:pt x="1125" y="16"/>
                  </a:lnTo>
                  <a:lnTo>
                    <a:pt x="1186" y="8"/>
                  </a:lnTo>
                  <a:lnTo>
                    <a:pt x="1252" y="2"/>
                  </a:lnTo>
                  <a:lnTo>
                    <a:pt x="1318" y="0"/>
                  </a:lnTo>
                  <a:lnTo>
                    <a:pt x="1387" y="1"/>
                  </a:lnTo>
                  <a:lnTo>
                    <a:pt x="1457" y="4"/>
                  </a:lnTo>
                  <a:lnTo>
                    <a:pt x="1529" y="9"/>
                  </a:lnTo>
                  <a:lnTo>
                    <a:pt x="1602" y="17"/>
                  </a:lnTo>
                  <a:lnTo>
                    <a:pt x="1677" y="28"/>
                  </a:lnTo>
                  <a:lnTo>
                    <a:pt x="1753" y="41"/>
                  </a:lnTo>
                  <a:lnTo>
                    <a:pt x="1831" y="56"/>
                  </a:lnTo>
                  <a:lnTo>
                    <a:pt x="1908" y="75"/>
                  </a:lnTo>
                  <a:lnTo>
                    <a:pt x="1987" y="93"/>
                  </a:lnTo>
                  <a:lnTo>
                    <a:pt x="2068" y="115"/>
                  </a:lnTo>
                  <a:lnTo>
                    <a:pt x="2149" y="139"/>
                  </a:lnTo>
                  <a:lnTo>
                    <a:pt x="2231" y="163"/>
                  </a:lnTo>
                  <a:lnTo>
                    <a:pt x="2314" y="191"/>
                  </a:lnTo>
                  <a:lnTo>
                    <a:pt x="2397" y="219"/>
                  </a:lnTo>
                  <a:lnTo>
                    <a:pt x="2481" y="249"/>
                  </a:lnTo>
                  <a:lnTo>
                    <a:pt x="2566" y="281"/>
                  </a:lnTo>
                  <a:lnTo>
                    <a:pt x="2650" y="313"/>
                  </a:lnTo>
                  <a:lnTo>
                    <a:pt x="2734" y="348"/>
                  </a:lnTo>
                  <a:lnTo>
                    <a:pt x="2819" y="382"/>
                  </a:lnTo>
                  <a:lnTo>
                    <a:pt x="2904" y="420"/>
                  </a:lnTo>
                  <a:lnTo>
                    <a:pt x="2989" y="457"/>
                  </a:lnTo>
                  <a:lnTo>
                    <a:pt x="3073" y="495"/>
                  </a:lnTo>
                  <a:lnTo>
                    <a:pt x="3157" y="534"/>
                  </a:lnTo>
                  <a:lnTo>
                    <a:pt x="3242" y="574"/>
                  </a:lnTo>
                  <a:lnTo>
                    <a:pt x="3408" y="656"/>
                  </a:lnTo>
                  <a:lnTo>
                    <a:pt x="3571" y="740"/>
                  </a:lnTo>
                  <a:lnTo>
                    <a:pt x="3733" y="824"/>
                  </a:lnTo>
                  <a:lnTo>
                    <a:pt x="3890" y="909"/>
                  </a:lnTo>
                  <a:lnTo>
                    <a:pt x="4041" y="994"/>
                  </a:lnTo>
                  <a:lnTo>
                    <a:pt x="4188" y="1077"/>
                  </a:lnTo>
                  <a:lnTo>
                    <a:pt x="4328" y="1160"/>
                  </a:lnTo>
                  <a:lnTo>
                    <a:pt x="4462" y="1239"/>
                  </a:lnTo>
                  <a:lnTo>
                    <a:pt x="4588" y="1316"/>
                  </a:lnTo>
                  <a:lnTo>
                    <a:pt x="4704" y="1388"/>
                  </a:lnTo>
                  <a:lnTo>
                    <a:pt x="4812" y="1456"/>
                  </a:lnTo>
                  <a:lnTo>
                    <a:pt x="4999" y="1575"/>
                  </a:lnTo>
                  <a:lnTo>
                    <a:pt x="5138" y="1668"/>
                  </a:lnTo>
                  <a:lnTo>
                    <a:pt x="5226" y="1728"/>
                  </a:lnTo>
                  <a:lnTo>
                    <a:pt x="5257" y="1750"/>
                  </a:lnTo>
                  <a:lnTo>
                    <a:pt x="5" y="1750"/>
                  </a:lnTo>
                  <a:close/>
                </a:path>
              </a:pathLst>
            </a:custGeom>
            <a:solidFill>
              <a:srgbClr val="D6FF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38" name="Freeform 485">
              <a:extLst>
                <a:ext uri="{FF2B5EF4-FFF2-40B4-BE49-F238E27FC236}">
                  <a16:creationId xmlns:a16="http://schemas.microsoft.com/office/drawing/2014/main" id="{97AE5286-7766-842D-2351-B2BC11B45633}"/>
                </a:ext>
              </a:extLst>
            </p:cNvPr>
            <p:cNvSpPr>
              <a:spLocks/>
            </p:cNvSpPr>
            <p:nvPr/>
          </p:nvSpPr>
          <p:spPr bwMode="auto">
            <a:xfrm>
              <a:off x="9766300" y="2776538"/>
              <a:ext cx="1282700" cy="476250"/>
            </a:xfrm>
            <a:custGeom>
              <a:avLst/>
              <a:gdLst>
                <a:gd name="T0" fmla="*/ 2147483646 w 2422"/>
                <a:gd name="T1" fmla="*/ 2147483646 h 900"/>
                <a:gd name="T2" fmla="*/ 2147483646 w 2422"/>
                <a:gd name="T3" fmla="*/ 2147483646 h 900"/>
                <a:gd name="T4" fmla="*/ 2147483646 w 2422"/>
                <a:gd name="T5" fmla="*/ 2147483646 h 900"/>
                <a:gd name="T6" fmla="*/ 2147483646 w 2422"/>
                <a:gd name="T7" fmla="*/ 2147483646 h 900"/>
                <a:gd name="T8" fmla="*/ 2147483646 w 2422"/>
                <a:gd name="T9" fmla="*/ 2147483646 h 900"/>
                <a:gd name="T10" fmla="*/ 2147483646 w 2422"/>
                <a:gd name="T11" fmla="*/ 2147483646 h 900"/>
                <a:gd name="T12" fmla="*/ 2147483646 w 2422"/>
                <a:gd name="T13" fmla="*/ 2147483646 h 900"/>
                <a:gd name="T14" fmla="*/ 2147483646 w 2422"/>
                <a:gd name="T15" fmla="*/ 2147483646 h 900"/>
                <a:gd name="T16" fmla="*/ 2147483646 w 2422"/>
                <a:gd name="T17" fmla="*/ 2147483646 h 900"/>
                <a:gd name="T18" fmla="*/ 2147483646 w 2422"/>
                <a:gd name="T19" fmla="*/ 2147483646 h 900"/>
                <a:gd name="T20" fmla="*/ 2147483646 w 2422"/>
                <a:gd name="T21" fmla="*/ 2147483646 h 900"/>
                <a:gd name="T22" fmla="*/ 2147483646 w 2422"/>
                <a:gd name="T23" fmla="*/ 2147483646 h 900"/>
                <a:gd name="T24" fmla="*/ 2147483646 w 2422"/>
                <a:gd name="T25" fmla="*/ 2147483646 h 900"/>
                <a:gd name="T26" fmla="*/ 2147483646 w 2422"/>
                <a:gd name="T27" fmla="*/ 2147483646 h 900"/>
                <a:gd name="T28" fmla="*/ 2147483646 w 2422"/>
                <a:gd name="T29" fmla="*/ 2147483646 h 900"/>
                <a:gd name="T30" fmla="*/ 2147483646 w 2422"/>
                <a:gd name="T31" fmla="*/ 2147483646 h 900"/>
                <a:gd name="T32" fmla="*/ 2147483646 w 2422"/>
                <a:gd name="T33" fmla="*/ 2147483646 h 900"/>
                <a:gd name="T34" fmla="*/ 2147483646 w 2422"/>
                <a:gd name="T35" fmla="*/ 2147483646 h 900"/>
                <a:gd name="T36" fmla="*/ 2147483646 w 2422"/>
                <a:gd name="T37" fmla="*/ 2147483646 h 900"/>
                <a:gd name="T38" fmla="*/ 2147483646 w 2422"/>
                <a:gd name="T39" fmla="*/ 2147483646 h 900"/>
                <a:gd name="T40" fmla="*/ 2147483646 w 2422"/>
                <a:gd name="T41" fmla="*/ 2147483646 h 900"/>
                <a:gd name="T42" fmla="*/ 2147483646 w 2422"/>
                <a:gd name="T43" fmla="*/ 2147483646 h 900"/>
                <a:gd name="T44" fmla="*/ 2147483646 w 2422"/>
                <a:gd name="T45" fmla="*/ 2147483646 h 900"/>
                <a:gd name="T46" fmla="*/ 2147483646 w 2422"/>
                <a:gd name="T47" fmla="*/ 2147483646 h 900"/>
                <a:gd name="T48" fmla="*/ 2147483646 w 2422"/>
                <a:gd name="T49" fmla="*/ 2147483646 h 900"/>
                <a:gd name="T50" fmla="*/ 2147483646 w 2422"/>
                <a:gd name="T51" fmla="*/ 2147483646 h 900"/>
                <a:gd name="T52" fmla="*/ 2147483646 w 2422"/>
                <a:gd name="T53" fmla="*/ 2147483646 h 900"/>
                <a:gd name="T54" fmla="*/ 2147483646 w 2422"/>
                <a:gd name="T55" fmla="*/ 2147483646 h 900"/>
                <a:gd name="T56" fmla="*/ 2147483646 w 2422"/>
                <a:gd name="T57" fmla="*/ 2147483646 h 900"/>
                <a:gd name="T58" fmla="*/ 2147483646 w 2422"/>
                <a:gd name="T59" fmla="*/ 2147483646 h 900"/>
                <a:gd name="T60" fmla="*/ 2147483646 w 2422"/>
                <a:gd name="T61" fmla="*/ 2147483646 h 900"/>
                <a:gd name="T62" fmla="*/ 2147483646 w 2422"/>
                <a:gd name="T63" fmla="*/ 2147483646 h 900"/>
                <a:gd name="T64" fmla="*/ 2147483646 w 2422"/>
                <a:gd name="T65" fmla="*/ 2147483646 h 900"/>
                <a:gd name="T66" fmla="*/ 2147483646 w 2422"/>
                <a:gd name="T67" fmla="*/ 2147483646 h 900"/>
                <a:gd name="T68" fmla="*/ 2147483646 w 2422"/>
                <a:gd name="T69" fmla="*/ 2147483646 h 900"/>
                <a:gd name="T70" fmla="*/ 2147483646 w 2422"/>
                <a:gd name="T71" fmla="*/ 0 h 900"/>
                <a:gd name="T72" fmla="*/ 2147483646 w 2422"/>
                <a:gd name="T73" fmla="*/ 2147483646 h 900"/>
                <a:gd name="T74" fmla="*/ 2147483646 w 2422"/>
                <a:gd name="T75" fmla="*/ 2147483646 h 900"/>
                <a:gd name="T76" fmla="*/ 2147483646 w 2422"/>
                <a:gd name="T77" fmla="*/ 2147483646 h 900"/>
                <a:gd name="T78" fmla="*/ 2147483646 w 2422"/>
                <a:gd name="T79" fmla="*/ 2147483646 h 900"/>
                <a:gd name="T80" fmla="*/ 2147483646 w 2422"/>
                <a:gd name="T81" fmla="*/ 2147483646 h 900"/>
                <a:gd name="T82" fmla="*/ 2147483646 w 2422"/>
                <a:gd name="T83" fmla="*/ 2147483646 h 900"/>
                <a:gd name="T84" fmla="*/ 2147483646 w 2422"/>
                <a:gd name="T85" fmla="*/ 2147483646 h 900"/>
                <a:gd name="T86" fmla="*/ 2147483646 w 2422"/>
                <a:gd name="T87" fmla="*/ 2147483646 h 900"/>
                <a:gd name="T88" fmla="*/ 2147483646 w 2422"/>
                <a:gd name="T89" fmla="*/ 2147483646 h 900"/>
                <a:gd name="T90" fmla="*/ 2147483646 w 2422"/>
                <a:gd name="T91" fmla="*/ 2147483646 h 900"/>
                <a:gd name="T92" fmla="*/ 2147483646 w 2422"/>
                <a:gd name="T93" fmla="*/ 2147483646 h 900"/>
                <a:gd name="T94" fmla="*/ 2147483646 w 2422"/>
                <a:gd name="T95" fmla="*/ 2147483646 h 900"/>
                <a:gd name="T96" fmla="*/ 2147483646 w 2422"/>
                <a:gd name="T97" fmla="*/ 2147483646 h 900"/>
                <a:gd name="T98" fmla="*/ 2147483646 w 2422"/>
                <a:gd name="T99" fmla="*/ 2147483646 h 900"/>
                <a:gd name="T100" fmla="*/ 2147483646 w 2422"/>
                <a:gd name="T101" fmla="*/ 2147483646 h 900"/>
                <a:gd name="T102" fmla="*/ 2147483646 w 2422"/>
                <a:gd name="T103" fmla="*/ 2147483646 h 900"/>
                <a:gd name="T104" fmla="*/ 2147483646 w 2422"/>
                <a:gd name="T105" fmla="*/ 2147483646 h 900"/>
                <a:gd name="T106" fmla="*/ 2147483646 w 2422"/>
                <a:gd name="T107" fmla="*/ 2147483646 h 900"/>
                <a:gd name="T108" fmla="*/ 2147483646 w 2422"/>
                <a:gd name="T109" fmla="*/ 2147483646 h 900"/>
                <a:gd name="T110" fmla="*/ 2147483646 w 2422"/>
                <a:gd name="T111" fmla="*/ 2147483646 h 900"/>
                <a:gd name="T112" fmla="*/ 2147483646 w 2422"/>
                <a:gd name="T113" fmla="*/ 2147483646 h 900"/>
                <a:gd name="T114" fmla="*/ 2147483646 w 2422"/>
                <a:gd name="T115" fmla="*/ 2147483646 h 900"/>
                <a:gd name="T116" fmla="*/ 2147483646 w 2422"/>
                <a:gd name="T117" fmla="*/ 2147483646 h 900"/>
                <a:gd name="T118" fmla="*/ 2147483646 w 2422"/>
                <a:gd name="T119" fmla="*/ 2147483646 h 900"/>
                <a:gd name="T120" fmla="*/ 2147483646 w 2422"/>
                <a:gd name="T121" fmla="*/ 2147483646 h 900"/>
                <a:gd name="T122" fmla="*/ 2147483646 w 2422"/>
                <a:gd name="T123" fmla="*/ 2147483646 h 900"/>
                <a:gd name="T124" fmla="*/ 2147483646 w 2422"/>
                <a:gd name="T125" fmla="*/ 2147483646 h 90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422" h="900">
                  <a:moveTo>
                    <a:pt x="1" y="862"/>
                  </a:moveTo>
                  <a:lnTo>
                    <a:pt x="1" y="862"/>
                  </a:lnTo>
                  <a:lnTo>
                    <a:pt x="0" y="856"/>
                  </a:lnTo>
                  <a:lnTo>
                    <a:pt x="1" y="836"/>
                  </a:lnTo>
                  <a:lnTo>
                    <a:pt x="4" y="821"/>
                  </a:lnTo>
                  <a:lnTo>
                    <a:pt x="8" y="802"/>
                  </a:lnTo>
                  <a:lnTo>
                    <a:pt x="14" y="782"/>
                  </a:lnTo>
                  <a:lnTo>
                    <a:pt x="22" y="758"/>
                  </a:lnTo>
                  <a:lnTo>
                    <a:pt x="25" y="753"/>
                  </a:lnTo>
                  <a:lnTo>
                    <a:pt x="29" y="747"/>
                  </a:lnTo>
                  <a:lnTo>
                    <a:pt x="37" y="738"/>
                  </a:lnTo>
                  <a:lnTo>
                    <a:pt x="47" y="731"/>
                  </a:lnTo>
                  <a:lnTo>
                    <a:pt x="57" y="727"/>
                  </a:lnTo>
                  <a:lnTo>
                    <a:pt x="71" y="725"/>
                  </a:lnTo>
                  <a:lnTo>
                    <a:pt x="84" y="722"/>
                  </a:lnTo>
                  <a:lnTo>
                    <a:pt x="111" y="721"/>
                  </a:lnTo>
                  <a:lnTo>
                    <a:pt x="139" y="722"/>
                  </a:lnTo>
                  <a:lnTo>
                    <a:pt x="164" y="721"/>
                  </a:lnTo>
                  <a:lnTo>
                    <a:pt x="175" y="719"/>
                  </a:lnTo>
                  <a:lnTo>
                    <a:pt x="183" y="717"/>
                  </a:lnTo>
                  <a:lnTo>
                    <a:pt x="191" y="712"/>
                  </a:lnTo>
                  <a:lnTo>
                    <a:pt x="195" y="706"/>
                  </a:lnTo>
                  <a:lnTo>
                    <a:pt x="199" y="698"/>
                  </a:lnTo>
                  <a:lnTo>
                    <a:pt x="200" y="688"/>
                  </a:lnTo>
                  <a:lnTo>
                    <a:pt x="200" y="676"/>
                  </a:lnTo>
                  <a:lnTo>
                    <a:pt x="200" y="664"/>
                  </a:lnTo>
                  <a:lnTo>
                    <a:pt x="199" y="635"/>
                  </a:lnTo>
                  <a:lnTo>
                    <a:pt x="196" y="604"/>
                  </a:lnTo>
                  <a:lnTo>
                    <a:pt x="196" y="588"/>
                  </a:lnTo>
                  <a:lnTo>
                    <a:pt x="198" y="572"/>
                  </a:lnTo>
                  <a:lnTo>
                    <a:pt x="199" y="557"/>
                  </a:lnTo>
                  <a:lnTo>
                    <a:pt x="203" y="541"/>
                  </a:lnTo>
                  <a:lnTo>
                    <a:pt x="209" y="526"/>
                  </a:lnTo>
                  <a:lnTo>
                    <a:pt x="217" y="513"/>
                  </a:lnTo>
                  <a:lnTo>
                    <a:pt x="226" y="501"/>
                  </a:lnTo>
                  <a:lnTo>
                    <a:pt x="238" y="490"/>
                  </a:lnTo>
                  <a:lnTo>
                    <a:pt x="246" y="485"/>
                  </a:lnTo>
                  <a:lnTo>
                    <a:pt x="253" y="481"/>
                  </a:lnTo>
                  <a:lnTo>
                    <a:pt x="269" y="476"/>
                  </a:lnTo>
                  <a:lnTo>
                    <a:pt x="286" y="471"/>
                  </a:lnTo>
                  <a:lnTo>
                    <a:pt x="305" y="469"/>
                  </a:lnTo>
                  <a:lnTo>
                    <a:pt x="324" y="469"/>
                  </a:lnTo>
                  <a:lnTo>
                    <a:pt x="342" y="470"/>
                  </a:lnTo>
                  <a:lnTo>
                    <a:pt x="381" y="474"/>
                  </a:lnTo>
                  <a:lnTo>
                    <a:pt x="419" y="480"/>
                  </a:lnTo>
                  <a:lnTo>
                    <a:pt x="437" y="481"/>
                  </a:lnTo>
                  <a:lnTo>
                    <a:pt x="454" y="482"/>
                  </a:lnTo>
                  <a:lnTo>
                    <a:pt x="468" y="482"/>
                  </a:lnTo>
                  <a:lnTo>
                    <a:pt x="483" y="481"/>
                  </a:lnTo>
                  <a:lnTo>
                    <a:pt x="494" y="477"/>
                  </a:lnTo>
                  <a:lnTo>
                    <a:pt x="499" y="474"/>
                  </a:lnTo>
                  <a:lnTo>
                    <a:pt x="504" y="471"/>
                  </a:lnTo>
                  <a:lnTo>
                    <a:pt x="512" y="462"/>
                  </a:lnTo>
                  <a:lnTo>
                    <a:pt x="521" y="453"/>
                  </a:lnTo>
                  <a:lnTo>
                    <a:pt x="529" y="442"/>
                  </a:lnTo>
                  <a:lnTo>
                    <a:pt x="537" y="430"/>
                  </a:lnTo>
                  <a:lnTo>
                    <a:pt x="570" y="372"/>
                  </a:lnTo>
                  <a:lnTo>
                    <a:pt x="590" y="343"/>
                  </a:lnTo>
                  <a:lnTo>
                    <a:pt x="601" y="328"/>
                  </a:lnTo>
                  <a:lnTo>
                    <a:pt x="613" y="315"/>
                  </a:lnTo>
                  <a:lnTo>
                    <a:pt x="626" y="303"/>
                  </a:lnTo>
                  <a:lnTo>
                    <a:pt x="641" y="291"/>
                  </a:lnTo>
                  <a:lnTo>
                    <a:pt x="657" y="280"/>
                  </a:lnTo>
                  <a:lnTo>
                    <a:pt x="674" y="272"/>
                  </a:lnTo>
                  <a:lnTo>
                    <a:pt x="684" y="268"/>
                  </a:lnTo>
                  <a:lnTo>
                    <a:pt x="693" y="265"/>
                  </a:lnTo>
                  <a:lnTo>
                    <a:pt x="713" y="263"/>
                  </a:lnTo>
                  <a:lnTo>
                    <a:pt x="733" y="263"/>
                  </a:lnTo>
                  <a:lnTo>
                    <a:pt x="755" y="264"/>
                  </a:lnTo>
                  <a:lnTo>
                    <a:pt x="776" y="268"/>
                  </a:lnTo>
                  <a:lnTo>
                    <a:pt x="799" y="273"/>
                  </a:lnTo>
                  <a:lnTo>
                    <a:pt x="845" y="285"/>
                  </a:lnTo>
                  <a:lnTo>
                    <a:pt x="891" y="299"/>
                  </a:lnTo>
                  <a:lnTo>
                    <a:pt x="916" y="305"/>
                  </a:lnTo>
                  <a:lnTo>
                    <a:pt x="938" y="311"/>
                  </a:lnTo>
                  <a:lnTo>
                    <a:pt x="962" y="313"/>
                  </a:lnTo>
                  <a:lnTo>
                    <a:pt x="985" y="315"/>
                  </a:lnTo>
                  <a:lnTo>
                    <a:pt x="1008" y="315"/>
                  </a:lnTo>
                  <a:lnTo>
                    <a:pt x="1031" y="311"/>
                  </a:lnTo>
                  <a:lnTo>
                    <a:pt x="1051" y="305"/>
                  </a:lnTo>
                  <a:lnTo>
                    <a:pt x="1069" y="297"/>
                  </a:lnTo>
                  <a:lnTo>
                    <a:pt x="1087" y="288"/>
                  </a:lnTo>
                  <a:lnTo>
                    <a:pt x="1102" y="277"/>
                  </a:lnTo>
                  <a:lnTo>
                    <a:pt x="1116" y="265"/>
                  </a:lnTo>
                  <a:lnTo>
                    <a:pt x="1128" y="253"/>
                  </a:lnTo>
                  <a:lnTo>
                    <a:pt x="1153" y="226"/>
                  </a:lnTo>
                  <a:lnTo>
                    <a:pt x="1174" y="200"/>
                  </a:lnTo>
                  <a:lnTo>
                    <a:pt x="1185" y="186"/>
                  </a:lnTo>
                  <a:lnTo>
                    <a:pt x="1197" y="174"/>
                  </a:lnTo>
                  <a:lnTo>
                    <a:pt x="1209" y="164"/>
                  </a:lnTo>
                  <a:lnTo>
                    <a:pt x="1221" y="154"/>
                  </a:lnTo>
                  <a:lnTo>
                    <a:pt x="1236" y="146"/>
                  </a:lnTo>
                  <a:lnTo>
                    <a:pt x="1252" y="139"/>
                  </a:lnTo>
                  <a:lnTo>
                    <a:pt x="1266" y="135"/>
                  </a:lnTo>
                  <a:lnTo>
                    <a:pt x="1282" y="134"/>
                  </a:lnTo>
                  <a:lnTo>
                    <a:pt x="1296" y="135"/>
                  </a:lnTo>
                  <a:lnTo>
                    <a:pt x="1309" y="138"/>
                  </a:lnTo>
                  <a:lnTo>
                    <a:pt x="1321" y="141"/>
                  </a:lnTo>
                  <a:lnTo>
                    <a:pt x="1335" y="146"/>
                  </a:lnTo>
                  <a:lnTo>
                    <a:pt x="1359" y="158"/>
                  </a:lnTo>
                  <a:lnTo>
                    <a:pt x="1383" y="170"/>
                  </a:lnTo>
                  <a:lnTo>
                    <a:pt x="1395" y="176"/>
                  </a:lnTo>
                  <a:lnTo>
                    <a:pt x="1408" y="181"/>
                  </a:lnTo>
                  <a:lnTo>
                    <a:pt x="1422" y="185"/>
                  </a:lnTo>
                  <a:lnTo>
                    <a:pt x="1436" y="188"/>
                  </a:lnTo>
                  <a:lnTo>
                    <a:pt x="1451" y="188"/>
                  </a:lnTo>
                  <a:lnTo>
                    <a:pt x="1467" y="186"/>
                  </a:lnTo>
                  <a:lnTo>
                    <a:pt x="1485" y="182"/>
                  </a:lnTo>
                  <a:lnTo>
                    <a:pt x="1499" y="178"/>
                  </a:lnTo>
                  <a:lnTo>
                    <a:pt x="1514" y="172"/>
                  </a:lnTo>
                  <a:lnTo>
                    <a:pt x="1527" y="165"/>
                  </a:lnTo>
                  <a:lnTo>
                    <a:pt x="1541" y="157"/>
                  </a:lnTo>
                  <a:lnTo>
                    <a:pt x="1553" y="149"/>
                  </a:lnTo>
                  <a:lnTo>
                    <a:pt x="1576" y="133"/>
                  </a:lnTo>
                  <a:lnTo>
                    <a:pt x="1597" y="117"/>
                  </a:lnTo>
                  <a:lnTo>
                    <a:pt x="1618" y="102"/>
                  </a:lnTo>
                  <a:lnTo>
                    <a:pt x="1629" y="97"/>
                  </a:lnTo>
                  <a:lnTo>
                    <a:pt x="1640" y="91"/>
                  </a:lnTo>
                  <a:lnTo>
                    <a:pt x="1651" y="89"/>
                  </a:lnTo>
                  <a:lnTo>
                    <a:pt x="1661" y="86"/>
                  </a:lnTo>
                  <a:lnTo>
                    <a:pt x="1673" y="86"/>
                  </a:lnTo>
                  <a:lnTo>
                    <a:pt x="1685" y="86"/>
                  </a:lnTo>
                  <a:lnTo>
                    <a:pt x="1697" y="89"/>
                  </a:lnTo>
                  <a:lnTo>
                    <a:pt x="1710" y="91"/>
                  </a:lnTo>
                  <a:lnTo>
                    <a:pt x="1735" y="98"/>
                  </a:lnTo>
                  <a:lnTo>
                    <a:pt x="1760" y="106"/>
                  </a:lnTo>
                  <a:lnTo>
                    <a:pt x="1785" y="115"/>
                  </a:lnTo>
                  <a:lnTo>
                    <a:pt x="1807" y="122"/>
                  </a:lnTo>
                  <a:lnTo>
                    <a:pt x="1818" y="123"/>
                  </a:lnTo>
                  <a:lnTo>
                    <a:pt x="1829" y="125"/>
                  </a:lnTo>
                  <a:lnTo>
                    <a:pt x="1838" y="126"/>
                  </a:lnTo>
                  <a:lnTo>
                    <a:pt x="1847" y="125"/>
                  </a:lnTo>
                  <a:lnTo>
                    <a:pt x="1857" y="122"/>
                  </a:lnTo>
                  <a:lnTo>
                    <a:pt x="1866" y="118"/>
                  </a:lnTo>
                  <a:lnTo>
                    <a:pt x="1884" y="109"/>
                  </a:lnTo>
                  <a:lnTo>
                    <a:pt x="1904" y="95"/>
                  </a:lnTo>
                  <a:lnTo>
                    <a:pt x="1925" y="82"/>
                  </a:lnTo>
                  <a:lnTo>
                    <a:pt x="1947" y="67"/>
                  </a:lnTo>
                  <a:lnTo>
                    <a:pt x="1971" y="54"/>
                  </a:lnTo>
                  <a:lnTo>
                    <a:pt x="1984" y="48"/>
                  </a:lnTo>
                  <a:lnTo>
                    <a:pt x="1997" y="43"/>
                  </a:lnTo>
                  <a:lnTo>
                    <a:pt x="2011" y="39"/>
                  </a:lnTo>
                  <a:lnTo>
                    <a:pt x="2026" y="36"/>
                  </a:lnTo>
                  <a:lnTo>
                    <a:pt x="2040" y="35"/>
                  </a:lnTo>
                  <a:lnTo>
                    <a:pt x="2054" y="35"/>
                  </a:lnTo>
                  <a:lnTo>
                    <a:pt x="2066" y="36"/>
                  </a:lnTo>
                  <a:lnTo>
                    <a:pt x="2076" y="39"/>
                  </a:lnTo>
                  <a:lnTo>
                    <a:pt x="2087" y="43"/>
                  </a:lnTo>
                  <a:lnTo>
                    <a:pt x="2096" y="47"/>
                  </a:lnTo>
                  <a:lnTo>
                    <a:pt x="2115" y="58"/>
                  </a:lnTo>
                  <a:lnTo>
                    <a:pt x="2131" y="67"/>
                  </a:lnTo>
                  <a:lnTo>
                    <a:pt x="2149" y="75"/>
                  </a:lnTo>
                  <a:lnTo>
                    <a:pt x="2157" y="78"/>
                  </a:lnTo>
                  <a:lnTo>
                    <a:pt x="2166" y="79"/>
                  </a:lnTo>
                  <a:lnTo>
                    <a:pt x="2177" y="81"/>
                  </a:lnTo>
                  <a:lnTo>
                    <a:pt x="2186" y="79"/>
                  </a:lnTo>
                  <a:lnTo>
                    <a:pt x="2197" y="77"/>
                  </a:lnTo>
                  <a:lnTo>
                    <a:pt x="2206" y="72"/>
                  </a:lnTo>
                  <a:lnTo>
                    <a:pt x="2225" y="64"/>
                  </a:lnTo>
                  <a:lnTo>
                    <a:pt x="2242" y="52"/>
                  </a:lnTo>
                  <a:lnTo>
                    <a:pt x="2260" y="40"/>
                  </a:lnTo>
                  <a:lnTo>
                    <a:pt x="2277" y="28"/>
                  </a:lnTo>
                  <a:lnTo>
                    <a:pt x="2295" y="16"/>
                  </a:lnTo>
                  <a:lnTo>
                    <a:pt x="2313" y="7"/>
                  </a:lnTo>
                  <a:lnTo>
                    <a:pt x="2324" y="4"/>
                  </a:lnTo>
                  <a:lnTo>
                    <a:pt x="2335" y="2"/>
                  </a:lnTo>
                  <a:lnTo>
                    <a:pt x="2346" y="0"/>
                  </a:lnTo>
                  <a:lnTo>
                    <a:pt x="2359" y="0"/>
                  </a:lnTo>
                  <a:lnTo>
                    <a:pt x="2371" y="3"/>
                  </a:lnTo>
                  <a:lnTo>
                    <a:pt x="2383" y="7"/>
                  </a:lnTo>
                  <a:lnTo>
                    <a:pt x="2395" y="12"/>
                  </a:lnTo>
                  <a:lnTo>
                    <a:pt x="2404" y="19"/>
                  </a:lnTo>
                  <a:lnTo>
                    <a:pt x="2414" y="28"/>
                  </a:lnTo>
                  <a:lnTo>
                    <a:pt x="2417" y="32"/>
                  </a:lnTo>
                  <a:lnTo>
                    <a:pt x="2419" y="38"/>
                  </a:lnTo>
                  <a:lnTo>
                    <a:pt x="2421" y="43"/>
                  </a:lnTo>
                  <a:lnTo>
                    <a:pt x="2422" y="50"/>
                  </a:lnTo>
                  <a:lnTo>
                    <a:pt x="2422" y="56"/>
                  </a:lnTo>
                  <a:lnTo>
                    <a:pt x="2421" y="62"/>
                  </a:lnTo>
                  <a:lnTo>
                    <a:pt x="2418" y="70"/>
                  </a:lnTo>
                  <a:lnTo>
                    <a:pt x="2415" y="77"/>
                  </a:lnTo>
                  <a:lnTo>
                    <a:pt x="2410" y="85"/>
                  </a:lnTo>
                  <a:lnTo>
                    <a:pt x="2404" y="93"/>
                  </a:lnTo>
                  <a:lnTo>
                    <a:pt x="2398" y="101"/>
                  </a:lnTo>
                  <a:lnTo>
                    <a:pt x="2390" y="109"/>
                  </a:lnTo>
                  <a:lnTo>
                    <a:pt x="2368" y="126"/>
                  </a:lnTo>
                  <a:lnTo>
                    <a:pt x="2340" y="145"/>
                  </a:lnTo>
                  <a:lnTo>
                    <a:pt x="2305" y="165"/>
                  </a:lnTo>
                  <a:lnTo>
                    <a:pt x="2269" y="182"/>
                  </a:lnTo>
                  <a:lnTo>
                    <a:pt x="2253" y="189"/>
                  </a:lnTo>
                  <a:lnTo>
                    <a:pt x="2237" y="194"/>
                  </a:lnTo>
                  <a:lnTo>
                    <a:pt x="2224" y="198"/>
                  </a:lnTo>
                  <a:lnTo>
                    <a:pt x="2210" y="202"/>
                  </a:lnTo>
                  <a:lnTo>
                    <a:pt x="2198" y="204"/>
                  </a:lnTo>
                  <a:lnTo>
                    <a:pt x="2188" y="205"/>
                  </a:lnTo>
                  <a:lnTo>
                    <a:pt x="2167" y="205"/>
                  </a:lnTo>
                  <a:lnTo>
                    <a:pt x="2151" y="202"/>
                  </a:lnTo>
                  <a:lnTo>
                    <a:pt x="2137" y="198"/>
                  </a:lnTo>
                  <a:lnTo>
                    <a:pt x="2125" y="192"/>
                  </a:lnTo>
                  <a:lnTo>
                    <a:pt x="2106" y="181"/>
                  </a:lnTo>
                  <a:lnTo>
                    <a:pt x="2098" y="176"/>
                  </a:lnTo>
                  <a:lnTo>
                    <a:pt x="2090" y="173"/>
                  </a:lnTo>
                  <a:lnTo>
                    <a:pt x="2083" y="173"/>
                  </a:lnTo>
                  <a:lnTo>
                    <a:pt x="2079" y="174"/>
                  </a:lnTo>
                  <a:lnTo>
                    <a:pt x="2075" y="176"/>
                  </a:lnTo>
                  <a:lnTo>
                    <a:pt x="2066" y="184"/>
                  </a:lnTo>
                  <a:lnTo>
                    <a:pt x="2055" y="194"/>
                  </a:lnTo>
                  <a:lnTo>
                    <a:pt x="2046" y="209"/>
                  </a:lnTo>
                  <a:lnTo>
                    <a:pt x="2038" y="225"/>
                  </a:lnTo>
                  <a:lnTo>
                    <a:pt x="2031" y="241"/>
                  </a:lnTo>
                  <a:lnTo>
                    <a:pt x="2026" y="259"/>
                  </a:lnTo>
                  <a:lnTo>
                    <a:pt x="2022" y="276"/>
                  </a:lnTo>
                  <a:lnTo>
                    <a:pt x="2019" y="293"/>
                  </a:lnTo>
                  <a:lnTo>
                    <a:pt x="2013" y="328"/>
                  </a:lnTo>
                  <a:lnTo>
                    <a:pt x="2008" y="362"/>
                  </a:lnTo>
                  <a:lnTo>
                    <a:pt x="2004" y="378"/>
                  </a:lnTo>
                  <a:lnTo>
                    <a:pt x="1999" y="394"/>
                  </a:lnTo>
                  <a:lnTo>
                    <a:pt x="1992" y="409"/>
                  </a:lnTo>
                  <a:lnTo>
                    <a:pt x="1984" y="422"/>
                  </a:lnTo>
                  <a:lnTo>
                    <a:pt x="1975" y="434"/>
                  </a:lnTo>
                  <a:lnTo>
                    <a:pt x="1963" y="445"/>
                  </a:lnTo>
                  <a:lnTo>
                    <a:pt x="1949" y="453"/>
                  </a:lnTo>
                  <a:lnTo>
                    <a:pt x="1936" y="458"/>
                  </a:lnTo>
                  <a:lnTo>
                    <a:pt x="1922" y="461"/>
                  </a:lnTo>
                  <a:lnTo>
                    <a:pt x="1909" y="462"/>
                  </a:lnTo>
                  <a:lnTo>
                    <a:pt x="1896" y="461"/>
                  </a:lnTo>
                  <a:lnTo>
                    <a:pt x="1884" y="458"/>
                  </a:lnTo>
                  <a:lnTo>
                    <a:pt x="1858" y="450"/>
                  </a:lnTo>
                  <a:lnTo>
                    <a:pt x="1834" y="442"/>
                  </a:lnTo>
                  <a:lnTo>
                    <a:pt x="1822" y="438"/>
                  </a:lnTo>
                  <a:lnTo>
                    <a:pt x="1811" y="435"/>
                  </a:lnTo>
                  <a:lnTo>
                    <a:pt x="1801" y="434"/>
                  </a:lnTo>
                  <a:lnTo>
                    <a:pt x="1790" y="434"/>
                  </a:lnTo>
                  <a:lnTo>
                    <a:pt x="1780" y="437"/>
                  </a:lnTo>
                  <a:lnTo>
                    <a:pt x="1770" y="442"/>
                  </a:lnTo>
                  <a:lnTo>
                    <a:pt x="1762" y="449"/>
                  </a:lnTo>
                  <a:lnTo>
                    <a:pt x="1755" y="457"/>
                  </a:lnTo>
                  <a:lnTo>
                    <a:pt x="1750" y="466"/>
                  </a:lnTo>
                  <a:lnTo>
                    <a:pt x="1746" y="477"/>
                  </a:lnTo>
                  <a:lnTo>
                    <a:pt x="1743" y="489"/>
                  </a:lnTo>
                  <a:lnTo>
                    <a:pt x="1739" y="501"/>
                  </a:lnTo>
                  <a:lnTo>
                    <a:pt x="1735" y="528"/>
                  </a:lnTo>
                  <a:lnTo>
                    <a:pt x="1728" y="555"/>
                  </a:lnTo>
                  <a:lnTo>
                    <a:pt x="1723" y="568"/>
                  </a:lnTo>
                  <a:lnTo>
                    <a:pt x="1718" y="580"/>
                  </a:lnTo>
                  <a:lnTo>
                    <a:pt x="1710" y="592"/>
                  </a:lnTo>
                  <a:lnTo>
                    <a:pt x="1701" y="603"/>
                  </a:lnTo>
                  <a:lnTo>
                    <a:pt x="1689" y="612"/>
                  </a:lnTo>
                  <a:lnTo>
                    <a:pt x="1676" y="620"/>
                  </a:lnTo>
                  <a:lnTo>
                    <a:pt x="1661" y="627"/>
                  </a:lnTo>
                  <a:lnTo>
                    <a:pt x="1647" y="632"/>
                  </a:lnTo>
                  <a:lnTo>
                    <a:pt x="1632" y="633"/>
                  </a:lnTo>
                  <a:lnTo>
                    <a:pt x="1617" y="635"/>
                  </a:lnTo>
                  <a:lnTo>
                    <a:pt x="1601" y="635"/>
                  </a:lnTo>
                  <a:lnTo>
                    <a:pt x="1586" y="633"/>
                  </a:lnTo>
                  <a:lnTo>
                    <a:pt x="1557" y="631"/>
                  </a:lnTo>
                  <a:lnTo>
                    <a:pt x="1527" y="628"/>
                  </a:lnTo>
                  <a:lnTo>
                    <a:pt x="1513" y="627"/>
                  </a:lnTo>
                  <a:lnTo>
                    <a:pt x="1499" y="628"/>
                  </a:lnTo>
                  <a:lnTo>
                    <a:pt x="1485" y="629"/>
                  </a:lnTo>
                  <a:lnTo>
                    <a:pt x="1471" y="633"/>
                  </a:lnTo>
                  <a:lnTo>
                    <a:pt x="1458" y="639"/>
                  </a:lnTo>
                  <a:lnTo>
                    <a:pt x="1444" y="647"/>
                  </a:lnTo>
                  <a:lnTo>
                    <a:pt x="1432" y="658"/>
                  </a:lnTo>
                  <a:lnTo>
                    <a:pt x="1422" y="670"/>
                  </a:lnTo>
                  <a:lnTo>
                    <a:pt x="1412" y="683"/>
                  </a:lnTo>
                  <a:lnTo>
                    <a:pt x="1403" y="699"/>
                  </a:lnTo>
                  <a:lnTo>
                    <a:pt x="1387" y="731"/>
                  </a:lnTo>
                  <a:lnTo>
                    <a:pt x="1369" y="765"/>
                  </a:lnTo>
                  <a:lnTo>
                    <a:pt x="1360" y="781"/>
                  </a:lnTo>
                  <a:lnTo>
                    <a:pt x="1348" y="797"/>
                  </a:lnTo>
                  <a:lnTo>
                    <a:pt x="1335" y="812"/>
                  </a:lnTo>
                  <a:lnTo>
                    <a:pt x="1319" y="826"/>
                  </a:lnTo>
                  <a:lnTo>
                    <a:pt x="1301" y="838"/>
                  </a:lnTo>
                  <a:lnTo>
                    <a:pt x="1290" y="844"/>
                  </a:lnTo>
                  <a:lnTo>
                    <a:pt x="1280" y="849"/>
                  </a:lnTo>
                  <a:lnTo>
                    <a:pt x="1268" y="853"/>
                  </a:lnTo>
                  <a:lnTo>
                    <a:pt x="1254" y="857"/>
                  </a:lnTo>
                  <a:lnTo>
                    <a:pt x="1241" y="860"/>
                  </a:lnTo>
                  <a:lnTo>
                    <a:pt x="1225" y="862"/>
                  </a:lnTo>
                  <a:lnTo>
                    <a:pt x="1195" y="866"/>
                  </a:lnTo>
                  <a:lnTo>
                    <a:pt x="1111" y="875"/>
                  </a:lnTo>
                  <a:lnTo>
                    <a:pt x="982" y="885"/>
                  </a:lnTo>
                  <a:lnTo>
                    <a:pt x="905" y="889"/>
                  </a:lnTo>
                  <a:lnTo>
                    <a:pt x="819" y="895"/>
                  </a:lnTo>
                  <a:lnTo>
                    <a:pt x="727" y="897"/>
                  </a:lnTo>
                  <a:lnTo>
                    <a:pt x="630" y="900"/>
                  </a:lnTo>
                  <a:lnTo>
                    <a:pt x="529" y="900"/>
                  </a:lnTo>
                  <a:lnTo>
                    <a:pt x="424" y="897"/>
                  </a:lnTo>
                  <a:lnTo>
                    <a:pt x="318" y="893"/>
                  </a:lnTo>
                  <a:lnTo>
                    <a:pt x="211" y="887"/>
                  </a:lnTo>
                  <a:lnTo>
                    <a:pt x="158" y="883"/>
                  </a:lnTo>
                  <a:lnTo>
                    <a:pt x="105" y="876"/>
                  </a:lnTo>
                  <a:lnTo>
                    <a:pt x="52" y="870"/>
                  </a:lnTo>
                  <a:lnTo>
                    <a:pt x="1" y="862"/>
                  </a:lnTo>
                  <a:close/>
                </a:path>
              </a:pathLst>
            </a:custGeom>
            <a:solidFill>
              <a:srgbClr val="DCE0D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39" name="Freeform 486">
              <a:extLst>
                <a:ext uri="{FF2B5EF4-FFF2-40B4-BE49-F238E27FC236}">
                  <a16:creationId xmlns:a16="http://schemas.microsoft.com/office/drawing/2014/main" id="{39E5E74F-F944-6C36-AD08-9BD4D4D60118}"/>
                </a:ext>
              </a:extLst>
            </p:cNvPr>
            <p:cNvSpPr>
              <a:spLocks/>
            </p:cNvSpPr>
            <p:nvPr/>
          </p:nvSpPr>
          <p:spPr bwMode="auto">
            <a:xfrm>
              <a:off x="10537825" y="2986088"/>
              <a:ext cx="979488" cy="363538"/>
            </a:xfrm>
            <a:custGeom>
              <a:avLst/>
              <a:gdLst>
                <a:gd name="T0" fmla="*/ 2147483646 w 1849"/>
                <a:gd name="T1" fmla="*/ 2147483646 h 688"/>
                <a:gd name="T2" fmla="*/ 2147483646 w 1849"/>
                <a:gd name="T3" fmla="*/ 2147483646 h 688"/>
                <a:gd name="T4" fmla="*/ 2147483646 w 1849"/>
                <a:gd name="T5" fmla="*/ 2147483646 h 688"/>
                <a:gd name="T6" fmla="*/ 2147483646 w 1849"/>
                <a:gd name="T7" fmla="*/ 2147483646 h 688"/>
                <a:gd name="T8" fmla="*/ 2147483646 w 1849"/>
                <a:gd name="T9" fmla="*/ 2147483646 h 688"/>
                <a:gd name="T10" fmla="*/ 2147483646 w 1849"/>
                <a:gd name="T11" fmla="*/ 2147483646 h 688"/>
                <a:gd name="T12" fmla="*/ 2147483646 w 1849"/>
                <a:gd name="T13" fmla="*/ 2147483646 h 688"/>
                <a:gd name="T14" fmla="*/ 2147483646 w 1849"/>
                <a:gd name="T15" fmla="*/ 2147483646 h 688"/>
                <a:gd name="T16" fmla="*/ 2147483646 w 1849"/>
                <a:gd name="T17" fmla="*/ 2147483646 h 688"/>
                <a:gd name="T18" fmla="*/ 2147483646 w 1849"/>
                <a:gd name="T19" fmla="*/ 2147483646 h 688"/>
                <a:gd name="T20" fmla="*/ 2147483646 w 1849"/>
                <a:gd name="T21" fmla="*/ 2147483646 h 688"/>
                <a:gd name="T22" fmla="*/ 2147483646 w 1849"/>
                <a:gd name="T23" fmla="*/ 2147483646 h 688"/>
                <a:gd name="T24" fmla="*/ 2147483646 w 1849"/>
                <a:gd name="T25" fmla="*/ 2147483646 h 688"/>
                <a:gd name="T26" fmla="*/ 2147483646 w 1849"/>
                <a:gd name="T27" fmla="*/ 2147483646 h 688"/>
                <a:gd name="T28" fmla="*/ 2147483646 w 1849"/>
                <a:gd name="T29" fmla="*/ 2147483646 h 688"/>
                <a:gd name="T30" fmla="*/ 2147483646 w 1849"/>
                <a:gd name="T31" fmla="*/ 2147483646 h 688"/>
                <a:gd name="T32" fmla="*/ 2147483646 w 1849"/>
                <a:gd name="T33" fmla="*/ 2147483646 h 688"/>
                <a:gd name="T34" fmla="*/ 2147483646 w 1849"/>
                <a:gd name="T35" fmla="*/ 2147483646 h 688"/>
                <a:gd name="T36" fmla="*/ 2147483646 w 1849"/>
                <a:gd name="T37" fmla="*/ 2147483646 h 688"/>
                <a:gd name="T38" fmla="*/ 2147483646 w 1849"/>
                <a:gd name="T39" fmla="*/ 2147483646 h 688"/>
                <a:gd name="T40" fmla="*/ 2147483646 w 1849"/>
                <a:gd name="T41" fmla="*/ 2147483646 h 688"/>
                <a:gd name="T42" fmla="*/ 2147483646 w 1849"/>
                <a:gd name="T43" fmla="*/ 2147483646 h 688"/>
                <a:gd name="T44" fmla="*/ 2147483646 w 1849"/>
                <a:gd name="T45" fmla="*/ 2147483646 h 688"/>
                <a:gd name="T46" fmla="*/ 2147483646 w 1849"/>
                <a:gd name="T47" fmla="*/ 2147483646 h 688"/>
                <a:gd name="T48" fmla="*/ 2147483646 w 1849"/>
                <a:gd name="T49" fmla="*/ 2147483646 h 688"/>
                <a:gd name="T50" fmla="*/ 2147483646 w 1849"/>
                <a:gd name="T51" fmla="*/ 2147483646 h 688"/>
                <a:gd name="T52" fmla="*/ 2147483646 w 1849"/>
                <a:gd name="T53" fmla="*/ 2147483646 h 688"/>
                <a:gd name="T54" fmla="*/ 2147483646 w 1849"/>
                <a:gd name="T55" fmla="*/ 2147483646 h 688"/>
                <a:gd name="T56" fmla="*/ 2147483646 w 1849"/>
                <a:gd name="T57" fmla="*/ 2147483646 h 688"/>
                <a:gd name="T58" fmla="*/ 2147483646 w 1849"/>
                <a:gd name="T59" fmla="*/ 2147483646 h 688"/>
                <a:gd name="T60" fmla="*/ 2147483646 w 1849"/>
                <a:gd name="T61" fmla="*/ 2147483646 h 688"/>
                <a:gd name="T62" fmla="*/ 2147483646 w 1849"/>
                <a:gd name="T63" fmla="*/ 2147483646 h 688"/>
                <a:gd name="T64" fmla="*/ 2147483646 w 1849"/>
                <a:gd name="T65" fmla="*/ 0 h 688"/>
                <a:gd name="T66" fmla="*/ 2147483646 w 1849"/>
                <a:gd name="T67" fmla="*/ 2147483646 h 688"/>
                <a:gd name="T68" fmla="*/ 2147483646 w 1849"/>
                <a:gd name="T69" fmla="*/ 2147483646 h 688"/>
                <a:gd name="T70" fmla="*/ 2147483646 w 1849"/>
                <a:gd name="T71" fmla="*/ 2147483646 h 688"/>
                <a:gd name="T72" fmla="*/ 2147483646 w 1849"/>
                <a:gd name="T73" fmla="*/ 2147483646 h 688"/>
                <a:gd name="T74" fmla="*/ 2147483646 w 1849"/>
                <a:gd name="T75" fmla="*/ 2147483646 h 688"/>
                <a:gd name="T76" fmla="*/ 2147483646 w 1849"/>
                <a:gd name="T77" fmla="*/ 2147483646 h 688"/>
                <a:gd name="T78" fmla="*/ 2147483646 w 1849"/>
                <a:gd name="T79" fmla="*/ 2147483646 h 688"/>
                <a:gd name="T80" fmla="*/ 2147483646 w 1849"/>
                <a:gd name="T81" fmla="*/ 2147483646 h 688"/>
                <a:gd name="T82" fmla="*/ 2147483646 w 1849"/>
                <a:gd name="T83" fmla="*/ 2147483646 h 688"/>
                <a:gd name="T84" fmla="*/ 2147483646 w 1849"/>
                <a:gd name="T85" fmla="*/ 2147483646 h 688"/>
                <a:gd name="T86" fmla="*/ 2147483646 w 1849"/>
                <a:gd name="T87" fmla="*/ 2147483646 h 688"/>
                <a:gd name="T88" fmla="*/ 2147483646 w 1849"/>
                <a:gd name="T89" fmla="*/ 2147483646 h 688"/>
                <a:gd name="T90" fmla="*/ 2147483646 w 1849"/>
                <a:gd name="T91" fmla="*/ 2147483646 h 688"/>
                <a:gd name="T92" fmla="*/ 2147483646 w 1849"/>
                <a:gd name="T93" fmla="*/ 2147483646 h 688"/>
                <a:gd name="T94" fmla="*/ 2147483646 w 1849"/>
                <a:gd name="T95" fmla="*/ 2147483646 h 688"/>
                <a:gd name="T96" fmla="*/ 2147483646 w 1849"/>
                <a:gd name="T97" fmla="*/ 2147483646 h 688"/>
                <a:gd name="T98" fmla="*/ 2147483646 w 1849"/>
                <a:gd name="T99" fmla="*/ 2147483646 h 688"/>
                <a:gd name="T100" fmla="*/ 2147483646 w 1849"/>
                <a:gd name="T101" fmla="*/ 2147483646 h 688"/>
                <a:gd name="T102" fmla="*/ 2147483646 w 1849"/>
                <a:gd name="T103" fmla="*/ 2147483646 h 688"/>
                <a:gd name="T104" fmla="*/ 2147483646 w 1849"/>
                <a:gd name="T105" fmla="*/ 2147483646 h 688"/>
                <a:gd name="T106" fmla="*/ 2147483646 w 1849"/>
                <a:gd name="T107" fmla="*/ 2147483646 h 688"/>
                <a:gd name="T108" fmla="*/ 2147483646 w 1849"/>
                <a:gd name="T109" fmla="*/ 2147483646 h 688"/>
                <a:gd name="T110" fmla="*/ 2147483646 w 1849"/>
                <a:gd name="T111" fmla="*/ 2147483646 h 6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849" h="688">
                  <a:moveTo>
                    <a:pt x="0" y="660"/>
                  </a:moveTo>
                  <a:lnTo>
                    <a:pt x="0" y="660"/>
                  </a:lnTo>
                  <a:lnTo>
                    <a:pt x="0" y="655"/>
                  </a:lnTo>
                  <a:lnTo>
                    <a:pt x="0" y="638"/>
                  </a:lnTo>
                  <a:lnTo>
                    <a:pt x="2" y="628"/>
                  </a:lnTo>
                  <a:lnTo>
                    <a:pt x="5" y="614"/>
                  </a:lnTo>
                  <a:lnTo>
                    <a:pt x="9" y="598"/>
                  </a:lnTo>
                  <a:lnTo>
                    <a:pt x="16" y="580"/>
                  </a:lnTo>
                  <a:lnTo>
                    <a:pt x="21" y="572"/>
                  </a:lnTo>
                  <a:lnTo>
                    <a:pt x="27" y="565"/>
                  </a:lnTo>
                  <a:lnTo>
                    <a:pt x="35" y="560"/>
                  </a:lnTo>
                  <a:lnTo>
                    <a:pt x="43" y="555"/>
                  </a:lnTo>
                  <a:lnTo>
                    <a:pt x="53" y="554"/>
                  </a:lnTo>
                  <a:lnTo>
                    <a:pt x="63" y="553"/>
                  </a:lnTo>
                  <a:lnTo>
                    <a:pt x="84" y="551"/>
                  </a:lnTo>
                  <a:lnTo>
                    <a:pt x="106" y="551"/>
                  </a:lnTo>
                  <a:lnTo>
                    <a:pt x="124" y="551"/>
                  </a:lnTo>
                  <a:lnTo>
                    <a:pt x="132" y="550"/>
                  </a:lnTo>
                  <a:lnTo>
                    <a:pt x="139" y="547"/>
                  </a:lnTo>
                  <a:lnTo>
                    <a:pt x="144" y="545"/>
                  </a:lnTo>
                  <a:lnTo>
                    <a:pt x="148" y="539"/>
                  </a:lnTo>
                  <a:lnTo>
                    <a:pt x="151" y="534"/>
                  </a:lnTo>
                  <a:lnTo>
                    <a:pt x="152" y="526"/>
                  </a:lnTo>
                  <a:lnTo>
                    <a:pt x="152" y="507"/>
                  </a:lnTo>
                  <a:lnTo>
                    <a:pt x="151" y="486"/>
                  </a:lnTo>
                  <a:lnTo>
                    <a:pt x="150" y="462"/>
                  </a:lnTo>
                  <a:lnTo>
                    <a:pt x="150" y="438"/>
                  </a:lnTo>
                  <a:lnTo>
                    <a:pt x="151" y="426"/>
                  </a:lnTo>
                  <a:lnTo>
                    <a:pt x="154" y="414"/>
                  </a:lnTo>
                  <a:lnTo>
                    <a:pt x="158" y="403"/>
                  </a:lnTo>
                  <a:lnTo>
                    <a:pt x="164" y="392"/>
                  </a:lnTo>
                  <a:lnTo>
                    <a:pt x="171" y="383"/>
                  </a:lnTo>
                  <a:lnTo>
                    <a:pt x="182" y="375"/>
                  </a:lnTo>
                  <a:lnTo>
                    <a:pt x="193" y="368"/>
                  </a:lnTo>
                  <a:lnTo>
                    <a:pt x="205" y="364"/>
                  </a:lnTo>
                  <a:lnTo>
                    <a:pt x="218" y="360"/>
                  </a:lnTo>
                  <a:lnTo>
                    <a:pt x="231" y="359"/>
                  </a:lnTo>
                  <a:lnTo>
                    <a:pt x="246" y="359"/>
                  </a:lnTo>
                  <a:lnTo>
                    <a:pt x="261" y="360"/>
                  </a:lnTo>
                  <a:lnTo>
                    <a:pt x="290" y="363"/>
                  </a:lnTo>
                  <a:lnTo>
                    <a:pt x="320" y="367"/>
                  </a:lnTo>
                  <a:lnTo>
                    <a:pt x="345" y="369"/>
                  </a:lnTo>
                  <a:lnTo>
                    <a:pt x="357" y="369"/>
                  </a:lnTo>
                  <a:lnTo>
                    <a:pt x="368" y="368"/>
                  </a:lnTo>
                  <a:lnTo>
                    <a:pt x="377" y="364"/>
                  </a:lnTo>
                  <a:lnTo>
                    <a:pt x="384" y="360"/>
                  </a:lnTo>
                  <a:lnTo>
                    <a:pt x="391" y="355"/>
                  </a:lnTo>
                  <a:lnTo>
                    <a:pt x="397" y="347"/>
                  </a:lnTo>
                  <a:lnTo>
                    <a:pt x="410" y="329"/>
                  </a:lnTo>
                  <a:lnTo>
                    <a:pt x="435" y="285"/>
                  </a:lnTo>
                  <a:lnTo>
                    <a:pt x="450" y="262"/>
                  </a:lnTo>
                  <a:lnTo>
                    <a:pt x="459" y="252"/>
                  </a:lnTo>
                  <a:lnTo>
                    <a:pt x="467" y="241"/>
                  </a:lnTo>
                  <a:lnTo>
                    <a:pt x="478" y="231"/>
                  </a:lnTo>
                  <a:lnTo>
                    <a:pt x="489" y="222"/>
                  </a:lnTo>
                  <a:lnTo>
                    <a:pt x="501" y="214"/>
                  </a:lnTo>
                  <a:lnTo>
                    <a:pt x="514" y="207"/>
                  </a:lnTo>
                  <a:lnTo>
                    <a:pt x="529" y="203"/>
                  </a:lnTo>
                  <a:lnTo>
                    <a:pt x="543" y="201"/>
                  </a:lnTo>
                  <a:lnTo>
                    <a:pt x="559" y="201"/>
                  </a:lnTo>
                  <a:lnTo>
                    <a:pt x="576" y="202"/>
                  </a:lnTo>
                  <a:lnTo>
                    <a:pt x="592" y="205"/>
                  </a:lnTo>
                  <a:lnTo>
                    <a:pt x="609" y="209"/>
                  </a:lnTo>
                  <a:lnTo>
                    <a:pt x="645" y="218"/>
                  </a:lnTo>
                  <a:lnTo>
                    <a:pt x="680" y="229"/>
                  </a:lnTo>
                  <a:lnTo>
                    <a:pt x="699" y="234"/>
                  </a:lnTo>
                  <a:lnTo>
                    <a:pt x="716" y="237"/>
                  </a:lnTo>
                  <a:lnTo>
                    <a:pt x="735" y="239"/>
                  </a:lnTo>
                  <a:lnTo>
                    <a:pt x="752" y="241"/>
                  </a:lnTo>
                  <a:lnTo>
                    <a:pt x="770" y="241"/>
                  </a:lnTo>
                  <a:lnTo>
                    <a:pt x="786" y="238"/>
                  </a:lnTo>
                  <a:lnTo>
                    <a:pt x="802" y="234"/>
                  </a:lnTo>
                  <a:lnTo>
                    <a:pt x="817" y="227"/>
                  </a:lnTo>
                  <a:lnTo>
                    <a:pt x="830" y="221"/>
                  </a:lnTo>
                  <a:lnTo>
                    <a:pt x="841" y="213"/>
                  </a:lnTo>
                  <a:lnTo>
                    <a:pt x="851" y="203"/>
                  </a:lnTo>
                  <a:lnTo>
                    <a:pt x="862" y="194"/>
                  </a:lnTo>
                  <a:lnTo>
                    <a:pt x="880" y="173"/>
                  </a:lnTo>
                  <a:lnTo>
                    <a:pt x="896" y="152"/>
                  </a:lnTo>
                  <a:lnTo>
                    <a:pt x="913" y="134"/>
                  </a:lnTo>
                  <a:lnTo>
                    <a:pt x="922" y="126"/>
                  </a:lnTo>
                  <a:lnTo>
                    <a:pt x="932" y="118"/>
                  </a:lnTo>
                  <a:lnTo>
                    <a:pt x="942" y="112"/>
                  </a:lnTo>
                  <a:lnTo>
                    <a:pt x="954" y="107"/>
                  </a:lnTo>
                  <a:lnTo>
                    <a:pt x="967" y="104"/>
                  </a:lnTo>
                  <a:lnTo>
                    <a:pt x="979" y="103"/>
                  </a:lnTo>
                  <a:lnTo>
                    <a:pt x="989" y="103"/>
                  </a:lnTo>
                  <a:lnTo>
                    <a:pt x="999" y="106"/>
                  </a:lnTo>
                  <a:lnTo>
                    <a:pt x="1009" y="108"/>
                  </a:lnTo>
                  <a:lnTo>
                    <a:pt x="1019" y="112"/>
                  </a:lnTo>
                  <a:lnTo>
                    <a:pt x="1036" y="122"/>
                  </a:lnTo>
                  <a:lnTo>
                    <a:pt x="1055" y="131"/>
                  </a:lnTo>
                  <a:lnTo>
                    <a:pt x="1064" y="135"/>
                  </a:lnTo>
                  <a:lnTo>
                    <a:pt x="1075" y="139"/>
                  </a:lnTo>
                  <a:lnTo>
                    <a:pt x="1086" y="142"/>
                  </a:lnTo>
                  <a:lnTo>
                    <a:pt x="1096" y="143"/>
                  </a:lnTo>
                  <a:lnTo>
                    <a:pt x="1108" y="143"/>
                  </a:lnTo>
                  <a:lnTo>
                    <a:pt x="1121" y="143"/>
                  </a:lnTo>
                  <a:lnTo>
                    <a:pt x="1133" y="140"/>
                  </a:lnTo>
                  <a:lnTo>
                    <a:pt x="1145" y="136"/>
                  </a:lnTo>
                  <a:lnTo>
                    <a:pt x="1157" y="131"/>
                  </a:lnTo>
                  <a:lnTo>
                    <a:pt x="1166" y="127"/>
                  </a:lnTo>
                  <a:lnTo>
                    <a:pt x="1186" y="115"/>
                  </a:lnTo>
                  <a:lnTo>
                    <a:pt x="1204" y="102"/>
                  </a:lnTo>
                  <a:lnTo>
                    <a:pt x="1220" y="90"/>
                  </a:lnTo>
                  <a:lnTo>
                    <a:pt x="1236" y="79"/>
                  </a:lnTo>
                  <a:lnTo>
                    <a:pt x="1244" y="73"/>
                  </a:lnTo>
                  <a:lnTo>
                    <a:pt x="1252" y="71"/>
                  </a:lnTo>
                  <a:lnTo>
                    <a:pt x="1260" y="68"/>
                  </a:lnTo>
                  <a:lnTo>
                    <a:pt x="1269" y="67"/>
                  </a:lnTo>
                  <a:lnTo>
                    <a:pt x="1277" y="65"/>
                  </a:lnTo>
                  <a:lnTo>
                    <a:pt x="1287" y="67"/>
                  </a:lnTo>
                  <a:lnTo>
                    <a:pt x="1305" y="69"/>
                  </a:lnTo>
                  <a:lnTo>
                    <a:pt x="1325" y="75"/>
                  </a:lnTo>
                  <a:lnTo>
                    <a:pt x="1344" y="82"/>
                  </a:lnTo>
                  <a:lnTo>
                    <a:pt x="1363" y="88"/>
                  </a:lnTo>
                  <a:lnTo>
                    <a:pt x="1380" y="94"/>
                  </a:lnTo>
                  <a:lnTo>
                    <a:pt x="1396" y="96"/>
                  </a:lnTo>
                  <a:lnTo>
                    <a:pt x="1404" y="96"/>
                  </a:lnTo>
                  <a:lnTo>
                    <a:pt x="1411" y="96"/>
                  </a:lnTo>
                  <a:lnTo>
                    <a:pt x="1418" y="94"/>
                  </a:lnTo>
                  <a:lnTo>
                    <a:pt x="1424" y="91"/>
                  </a:lnTo>
                  <a:lnTo>
                    <a:pt x="1439" y="83"/>
                  </a:lnTo>
                  <a:lnTo>
                    <a:pt x="1470" y="63"/>
                  </a:lnTo>
                  <a:lnTo>
                    <a:pt x="1487" y="52"/>
                  </a:lnTo>
                  <a:lnTo>
                    <a:pt x="1505" y="41"/>
                  </a:lnTo>
                  <a:lnTo>
                    <a:pt x="1525" y="33"/>
                  </a:lnTo>
                  <a:lnTo>
                    <a:pt x="1536" y="31"/>
                  </a:lnTo>
                  <a:lnTo>
                    <a:pt x="1548" y="28"/>
                  </a:lnTo>
                  <a:lnTo>
                    <a:pt x="1558" y="27"/>
                  </a:lnTo>
                  <a:lnTo>
                    <a:pt x="1568" y="27"/>
                  </a:lnTo>
                  <a:lnTo>
                    <a:pt x="1577" y="28"/>
                  </a:lnTo>
                  <a:lnTo>
                    <a:pt x="1585" y="31"/>
                  </a:lnTo>
                  <a:lnTo>
                    <a:pt x="1601" y="36"/>
                  </a:lnTo>
                  <a:lnTo>
                    <a:pt x="1615" y="44"/>
                  </a:lnTo>
                  <a:lnTo>
                    <a:pt x="1628" y="52"/>
                  </a:lnTo>
                  <a:lnTo>
                    <a:pt x="1641" y="57"/>
                  </a:lnTo>
                  <a:lnTo>
                    <a:pt x="1648" y="60"/>
                  </a:lnTo>
                  <a:lnTo>
                    <a:pt x="1655" y="61"/>
                  </a:lnTo>
                  <a:lnTo>
                    <a:pt x="1661" y="61"/>
                  </a:lnTo>
                  <a:lnTo>
                    <a:pt x="1670" y="61"/>
                  </a:lnTo>
                  <a:lnTo>
                    <a:pt x="1678" y="59"/>
                  </a:lnTo>
                  <a:lnTo>
                    <a:pt x="1686" y="56"/>
                  </a:lnTo>
                  <a:lnTo>
                    <a:pt x="1699" y="49"/>
                  </a:lnTo>
                  <a:lnTo>
                    <a:pt x="1712" y="41"/>
                  </a:lnTo>
                  <a:lnTo>
                    <a:pt x="1726" y="31"/>
                  </a:lnTo>
                  <a:lnTo>
                    <a:pt x="1739" y="21"/>
                  </a:lnTo>
                  <a:lnTo>
                    <a:pt x="1753" y="13"/>
                  </a:lnTo>
                  <a:lnTo>
                    <a:pt x="1767" y="7"/>
                  </a:lnTo>
                  <a:lnTo>
                    <a:pt x="1774" y="3"/>
                  </a:lnTo>
                  <a:lnTo>
                    <a:pt x="1783" y="1"/>
                  </a:lnTo>
                  <a:lnTo>
                    <a:pt x="1791" y="0"/>
                  </a:lnTo>
                  <a:lnTo>
                    <a:pt x="1801" y="0"/>
                  </a:lnTo>
                  <a:lnTo>
                    <a:pt x="1811" y="3"/>
                  </a:lnTo>
                  <a:lnTo>
                    <a:pt x="1821" y="5"/>
                  </a:lnTo>
                  <a:lnTo>
                    <a:pt x="1829" y="9"/>
                  </a:lnTo>
                  <a:lnTo>
                    <a:pt x="1837" y="15"/>
                  </a:lnTo>
                  <a:lnTo>
                    <a:pt x="1844" y="21"/>
                  </a:lnTo>
                  <a:lnTo>
                    <a:pt x="1848" y="29"/>
                  </a:lnTo>
                  <a:lnTo>
                    <a:pt x="1849" y="39"/>
                  </a:lnTo>
                  <a:lnTo>
                    <a:pt x="1849" y="48"/>
                  </a:lnTo>
                  <a:lnTo>
                    <a:pt x="1844" y="59"/>
                  </a:lnTo>
                  <a:lnTo>
                    <a:pt x="1837" y="71"/>
                  </a:lnTo>
                  <a:lnTo>
                    <a:pt x="1825" y="84"/>
                  </a:lnTo>
                  <a:lnTo>
                    <a:pt x="1809" y="98"/>
                  </a:lnTo>
                  <a:lnTo>
                    <a:pt x="1787" y="111"/>
                  </a:lnTo>
                  <a:lnTo>
                    <a:pt x="1761" y="127"/>
                  </a:lnTo>
                  <a:lnTo>
                    <a:pt x="1732" y="140"/>
                  </a:lnTo>
                  <a:lnTo>
                    <a:pt x="1708" y="150"/>
                  </a:lnTo>
                  <a:lnTo>
                    <a:pt x="1688" y="155"/>
                  </a:lnTo>
                  <a:lnTo>
                    <a:pt x="1671" y="156"/>
                  </a:lnTo>
                  <a:lnTo>
                    <a:pt x="1656" y="156"/>
                  </a:lnTo>
                  <a:lnTo>
                    <a:pt x="1643" y="155"/>
                  </a:lnTo>
                  <a:lnTo>
                    <a:pt x="1632" y="151"/>
                  </a:lnTo>
                  <a:lnTo>
                    <a:pt x="1623" y="147"/>
                  </a:lnTo>
                  <a:lnTo>
                    <a:pt x="1608" y="138"/>
                  </a:lnTo>
                  <a:lnTo>
                    <a:pt x="1603" y="135"/>
                  </a:lnTo>
                  <a:lnTo>
                    <a:pt x="1596" y="132"/>
                  </a:lnTo>
                  <a:lnTo>
                    <a:pt x="1591" y="132"/>
                  </a:lnTo>
                  <a:lnTo>
                    <a:pt x="1584" y="135"/>
                  </a:lnTo>
                  <a:lnTo>
                    <a:pt x="1577" y="140"/>
                  </a:lnTo>
                  <a:lnTo>
                    <a:pt x="1569" y="150"/>
                  </a:lnTo>
                  <a:lnTo>
                    <a:pt x="1562" y="161"/>
                  </a:lnTo>
                  <a:lnTo>
                    <a:pt x="1556" y="173"/>
                  </a:lnTo>
                  <a:lnTo>
                    <a:pt x="1550" y="185"/>
                  </a:lnTo>
                  <a:lnTo>
                    <a:pt x="1548" y="198"/>
                  </a:lnTo>
                  <a:lnTo>
                    <a:pt x="1542" y="225"/>
                  </a:lnTo>
                  <a:lnTo>
                    <a:pt x="1537" y="252"/>
                  </a:lnTo>
                  <a:lnTo>
                    <a:pt x="1533" y="277"/>
                  </a:lnTo>
                  <a:lnTo>
                    <a:pt x="1530" y="289"/>
                  </a:lnTo>
                  <a:lnTo>
                    <a:pt x="1526" y="301"/>
                  </a:lnTo>
                  <a:lnTo>
                    <a:pt x="1521" y="312"/>
                  </a:lnTo>
                  <a:lnTo>
                    <a:pt x="1516" y="323"/>
                  </a:lnTo>
                  <a:lnTo>
                    <a:pt x="1508" y="332"/>
                  </a:lnTo>
                  <a:lnTo>
                    <a:pt x="1498" y="340"/>
                  </a:lnTo>
                  <a:lnTo>
                    <a:pt x="1489" y="347"/>
                  </a:lnTo>
                  <a:lnTo>
                    <a:pt x="1478" y="351"/>
                  </a:lnTo>
                  <a:lnTo>
                    <a:pt x="1467" y="352"/>
                  </a:lnTo>
                  <a:lnTo>
                    <a:pt x="1458" y="353"/>
                  </a:lnTo>
                  <a:lnTo>
                    <a:pt x="1449" y="352"/>
                  </a:lnTo>
                  <a:lnTo>
                    <a:pt x="1438" y="351"/>
                  </a:lnTo>
                  <a:lnTo>
                    <a:pt x="1419" y="345"/>
                  </a:lnTo>
                  <a:lnTo>
                    <a:pt x="1400" y="339"/>
                  </a:lnTo>
                  <a:lnTo>
                    <a:pt x="1383" y="333"/>
                  </a:lnTo>
                  <a:lnTo>
                    <a:pt x="1375" y="332"/>
                  </a:lnTo>
                  <a:lnTo>
                    <a:pt x="1367" y="332"/>
                  </a:lnTo>
                  <a:lnTo>
                    <a:pt x="1359" y="335"/>
                  </a:lnTo>
                  <a:lnTo>
                    <a:pt x="1352" y="337"/>
                  </a:lnTo>
                  <a:lnTo>
                    <a:pt x="1345" y="343"/>
                  </a:lnTo>
                  <a:lnTo>
                    <a:pt x="1340" y="349"/>
                  </a:lnTo>
                  <a:lnTo>
                    <a:pt x="1336" y="357"/>
                  </a:lnTo>
                  <a:lnTo>
                    <a:pt x="1333" y="365"/>
                  </a:lnTo>
                  <a:lnTo>
                    <a:pt x="1328" y="384"/>
                  </a:lnTo>
                  <a:lnTo>
                    <a:pt x="1324" y="404"/>
                  </a:lnTo>
                  <a:lnTo>
                    <a:pt x="1319" y="424"/>
                  </a:lnTo>
                  <a:lnTo>
                    <a:pt x="1316" y="434"/>
                  </a:lnTo>
                  <a:lnTo>
                    <a:pt x="1312" y="443"/>
                  </a:lnTo>
                  <a:lnTo>
                    <a:pt x="1305" y="452"/>
                  </a:lnTo>
                  <a:lnTo>
                    <a:pt x="1299" y="460"/>
                  </a:lnTo>
                  <a:lnTo>
                    <a:pt x="1291" y="468"/>
                  </a:lnTo>
                  <a:lnTo>
                    <a:pt x="1280" y="475"/>
                  </a:lnTo>
                  <a:lnTo>
                    <a:pt x="1269" y="479"/>
                  </a:lnTo>
                  <a:lnTo>
                    <a:pt x="1257" y="483"/>
                  </a:lnTo>
                  <a:lnTo>
                    <a:pt x="1246" y="485"/>
                  </a:lnTo>
                  <a:lnTo>
                    <a:pt x="1234" y="486"/>
                  </a:lnTo>
                  <a:lnTo>
                    <a:pt x="1212" y="485"/>
                  </a:lnTo>
                  <a:lnTo>
                    <a:pt x="1189" y="482"/>
                  </a:lnTo>
                  <a:lnTo>
                    <a:pt x="1166" y="481"/>
                  </a:lnTo>
                  <a:lnTo>
                    <a:pt x="1155" y="479"/>
                  </a:lnTo>
                  <a:lnTo>
                    <a:pt x="1145" y="481"/>
                  </a:lnTo>
                  <a:lnTo>
                    <a:pt x="1134" y="482"/>
                  </a:lnTo>
                  <a:lnTo>
                    <a:pt x="1123" y="485"/>
                  </a:lnTo>
                  <a:lnTo>
                    <a:pt x="1112" y="489"/>
                  </a:lnTo>
                  <a:lnTo>
                    <a:pt x="1103" y="495"/>
                  </a:lnTo>
                  <a:lnTo>
                    <a:pt x="1094" y="503"/>
                  </a:lnTo>
                  <a:lnTo>
                    <a:pt x="1086" y="513"/>
                  </a:lnTo>
                  <a:lnTo>
                    <a:pt x="1078" y="522"/>
                  </a:lnTo>
                  <a:lnTo>
                    <a:pt x="1071" y="534"/>
                  </a:lnTo>
                  <a:lnTo>
                    <a:pt x="1059" y="560"/>
                  </a:lnTo>
                  <a:lnTo>
                    <a:pt x="1046" y="585"/>
                  </a:lnTo>
                  <a:lnTo>
                    <a:pt x="1038" y="597"/>
                  </a:lnTo>
                  <a:lnTo>
                    <a:pt x="1029" y="609"/>
                  </a:lnTo>
                  <a:lnTo>
                    <a:pt x="1019" y="621"/>
                  </a:lnTo>
                  <a:lnTo>
                    <a:pt x="1007" y="632"/>
                  </a:lnTo>
                  <a:lnTo>
                    <a:pt x="993" y="641"/>
                  </a:lnTo>
                  <a:lnTo>
                    <a:pt x="976" y="649"/>
                  </a:lnTo>
                  <a:lnTo>
                    <a:pt x="957" y="655"/>
                  </a:lnTo>
                  <a:lnTo>
                    <a:pt x="936" y="660"/>
                  </a:lnTo>
                  <a:lnTo>
                    <a:pt x="913" y="663"/>
                  </a:lnTo>
                  <a:lnTo>
                    <a:pt x="849" y="668"/>
                  </a:lnTo>
                  <a:lnTo>
                    <a:pt x="750" y="676"/>
                  </a:lnTo>
                  <a:lnTo>
                    <a:pt x="691" y="680"/>
                  </a:lnTo>
                  <a:lnTo>
                    <a:pt x="625" y="684"/>
                  </a:lnTo>
                  <a:lnTo>
                    <a:pt x="555" y="687"/>
                  </a:lnTo>
                  <a:lnTo>
                    <a:pt x="480" y="688"/>
                  </a:lnTo>
                  <a:lnTo>
                    <a:pt x="403" y="688"/>
                  </a:lnTo>
                  <a:lnTo>
                    <a:pt x="324" y="687"/>
                  </a:lnTo>
                  <a:lnTo>
                    <a:pt x="242" y="683"/>
                  </a:lnTo>
                  <a:lnTo>
                    <a:pt x="160" y="677"/>
                  </a:lnTo>
                  <a:lnTo>
                    <a:pt x="79" y="671"/>
                  </a:lnTo>
                  <a:lnTo>
                    <a:pt x="0" y="660"/>
                  </a:lnTo>
                  <a:close/>
                </a:path>
              </a:pathLst>
            </a:custGeom>
            <a:solidFill>
              <a:srgbClr val="DCE0D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40" name="Freeform 487">
              <a:extLst>
                <a:ext uri="{FF2B5EF4-FFF2-40B4-BE49-F238E27FC236}">
                  <a16:creationId xmlns:a16="http://schemas.microsoft.com/office/drawing/2014/main" id="{D7409DC9-B91C-63D6-116C-7A64E5CBC0AB}"/>
                </a:ext>
              </a:extLst>
            </p:cNvPr>
            <p:cNvSpPr>
              <a:spLocks/>
            </p:cNvSpPr>
            <p:nvPr/>
          </p:nvSpPr>
          <p:spPr bwMode="auto">
            <a:xfrm>
              <a:off x="9534525" y="3989388"/>
              <a:ext cx="258763" cy="265113"/>
            </a:xfrm>
            <a:custGeom>
              <a:avLst/>
              <a:gdLst>
                <a:gd name="T0" fmla="*/ 2147483646 w 489"/>
                <a:gd name="T1" fmla="*/ 0 h 501"/>
                <a:gd name="T2" fmla="*/ 0 w 489"/>
                <a:gd name="T3" fmla="*/ 0 h 501"/>
                <a:gd name="T4" fmla="*/ 0 w 489"/>
                <a:gd name="T5" fmla="*/ 2147483646 h 501"/>
                <a:gd name="T6" fmla="*/ 2147483646 w 489"/>
                <a:gd name="T7" fmla="*/ 2147483646 h 501"/>
                <a:gd name="T8" fmla="*/ 2147483646 w 489"/>
                <a:gd name="T9" fmla="*/ 0 h 50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89" h="501">
                  <a:moveTo>
                    <a:pt x="476" y="0"/>
                  </a:moveTo>
                  <a:lnTo>
                    <a:pt x="0" y="0"/>
                  </a:lnTo>
                  <a:lnTo>
                    <a:pt x="0" y="501"/>
                  </a:lnTo>
                  <a:lnTo>
                    <a:pt x="489" y="501"/>
                  </a:lnTo>
                  <a:lnTo>
                    <a:pt x="476" y="0"/>
                  </a:lnTo>
                  <a:close/>
                </a:path>
              </a:pathLst>
            </a:custGeom>
            <a:solidFill>
              <a:srgbClr val="92CCB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41" name="Rectangle 488">
              <a:extLst>
                <a:ext uri="{FF2B5EF4-FFF2-40B4-BE49-F238E27FC236}">
                  <a16:creationId xmlns:a16="http://schemas.microsoft.com/office/drawing/2014/main" id="{147762BB-DBB8-AEB7-503C-9C388DF487DC}"/>
                </a:ext>
              </a:extLst>
            </p:cNvPr>
            <p:cNvSpPr>
              <a:spLocks noChangeArrowheads="1"/>
            </p:cNvSpPr>
            <p:nvPr/>
          </p:nvSpPr>
          <p:spPr bwMode="auto">
            <a:xfrm>
              <a:off x="11757025" y="4087813"/>
              <a:ext cx="344488" cy="166688"/>
            </a:xfrm>
            <a:prstGeom prst="rect">
              <a:avLst/>
            </a:prstGeom>
            <a:solidFill>
              <a:srgbClr val="92CCB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p>
          </p:txBody>
        </p:sp>
        <p:sp>
          <p:nvSpPr>
            <p:cNvPr id="26642" name="Freeform 489">
              <a:extLst>
                <a:ext uri="{FF2B5EF4-FFF2-40B4-BE49-F238E27FC236}">
                  <a16:creationId xmlns:a16="http://schemas.microsoft.com/office/drawing/2014/main" id="{75BCB28A-335B-BFA3-08D7-04C6E9572856}"/>
                </a:ext>
              </a:extLst>
            </p:cNvPr>
            <p:cNvSpPr>
              <a:spLocks/>
            </p:cNvSpPr>
            <p:nvPr/>
          </p:nvSpPr>
          <p:spPr bwMode="auto">
            <a:xfrm>
              <a:off x="10999788" y="3775076"/>
              <a:ext cx="476250" cy="476250"/>
            </a:xfrm>
            <a:custGeom>
              <a:avLst/>
              <a:gdLst>
                <a:gd name="T0" fmla="*/ 2147483646 w 900"/>
                <a:gd name="T1" fmla="*/ 2147483646 h 898"/>
                <a:gd name="T2" fmla="*/ 2147483646 w 900"/>
                <a:gd name="T3" fmla="*/ 2147483646 h 898"/>
                <a:gd name="T4" fmla="*/ 2147483646 w 900"/>
                <a:gd name="T5" fmla="*/ 2147483646 h 898"/>
                <a:gd name="T6" fmla="*/ 2147483646 w 900"/>
                <a:gd name="T7" fmla="*/ 2147483646 h 898"/>
                <a:gd name="T8" fmla="*/ 2147483646 w 900"/>
                <a:gd name="T9" fmla="*/ 2147483646 h 898"/>
                <a:gd name="T10" fmla="*/ 2147483646 w 900"/>
                <a:gd name="T11" fmla="*/ 2147483646 h 898"/>
                <a:gd name="T12" fmla="*/ 2147483646 w 900"/>
                <a:gd name="T13" fmla="*/ 2147483646 h 898"/>
                <a:gd name="T14" fmla="*/ 2147483646 w 900"/>
                <a:gd name="T15" fmla="*/ 2147483646 h 898"/>
                <a:gd name="T16" fmla="*/ 2147483646 w 900"/>
                <a:gd name="T17" fmla="*/ 2147483646 h 898"/>
                <a:gd name="T18" fmla="*/ 2147483646 w 900"/>
                <a:gd name="T19" fmla="*/ 2147483646 h 898"/>
                <a:gd name="T20" fmla="*/ 2147483646 w 900"/>
                <a:gd name="T21" fmla="*/ 2147483646 h 898"/>
                <a:gd name="T22" fmla="*/ 2147483646 w 900"/>
                <a:gd name="T23" fmla="*/ 2147483646 h 898"/>
                <a:gd name="T24" fmla="*/ 2147483646 w 900"/>
                <a:gd name="T25" fmla="*/ 2147483646 h 898"/>
                <a:gd name="T26" fmla="*/ 2147483646 w 900"/>
                <a:gd name="T27" fmla="*/ 2147483646 h 898"/>
                <a:gd name="T28" fmla="*/ 2147483646 w 900"/>
                <a:gd name="T29" fmla="*/ 2147483646 h 898"/>
                <a:gd name="T30" fmla="*/ 2147483646 w 900"/>
                <a:gd name="T31" fmla="*/ 2147483646 h 898"/>
                <a:gd name="T32" fmla="*/ 2147483646 w 900"/>
                <a:gd name="T33" fmla="*/ 2147483646 h 898"/>
                <a:gd name="T34" fmla="*/ 2147483646 w 900"/>
                <a:gd name="T35" fmla="*/ 2147483646 h 898"/>
                <a:gd name="T36" fmla="*/ 2147483646 w 900"/>
                <a:gd name="T37" fmla="*/ 2147483646 h 898"/>
                <a:gd name="T38" fmla="*/ 2147483646 w 900"/>
                <a:gd name="T39" fmla="*/ 2147483646 h 898"/>
                <a:gd name="T40" fmla="*/ 2147483646 w 900"/>
                <a:gd name="T41" fmla="*/ 2147483646 h 898"/>
                <a:gd name="T42" fmla="*/ 2147483646 w 900"/>
                <a:gd name="T43" fmla="*/ 2147483646 h 898"/>
                <a:gd name="T44" fmla="*/ 2147483646 w 900"/>
                <a:gd name="T45" fmla="*/ 2147483646 h 898"/>
                <a:gd name="T46" fmla="*/ 2147483646 w 900"/>
                <a:gd name="T47" fmla="*/ 2147483646 h 898"/>
                <a:gd name="T48" fmla="*/ 2147483646 w 900"/>
                <a:gd name="T49" fmla="*/ 2147483646 h 898"/>
                <a:gd name="T50" fmla="*/ 2147483646 w 900"/>
                <a:gd name="T51" fmla="*/ 2147483646 h 898"/>
                <a:gd name="T52" fmla="*/ 2147483646 w 900"/>
                <a:gd name="T53" fmla="*/ 2147483646 h 898"/>
                <a:gd name="T54" fmla="*/ 2147483646 w 900"/>
                <a:gd name="T55" fmla="*/ 2147483646 h 898"/>
                <a:gd name="T56" fmla="*/ 2147483646 w 900"/>
                <a:gd name="T57" fmla="*/ 2147483646 h 898"/>
                <a:gd name="T58" fmla="*/ 2147483646 w 900"/>
                <a:gd name="T59" fmla="*/ 2147483646 h 898"/>
                <a:gd name="T60" fmla="*/ 2147483646 w 900"/>
                <a:gd name="T61" fmla="*/ 2147483646 h 898"/>
                <a:gd name="T62" fmla="*/ 2147483646 w 900"/>
                <a:gd name="T63" fmla="*/ 2147483646 h 898"/>
                <a:gd name="T64" fmla="*/ 2147483646 w 900"/>
                <a:gd name="T65" fmla="*/ 0 h 898"/>
                <a:gd name="T66" fmla="*/ 2147483646 w 900"/>
                <a:gd name="T67" fmla="*/ 0 h 898"/>
                <a:gd name="T68" fmla="*/ 2147483646 w 900"/>
                <a:gd name="T69" fmla="*/ 2147483646 h 898"/>
                <a:gd name="T70" fmla="*/ 2147483646 w 900"/>
                <a:gd name="T71" fmla="*/ 2147483646 h 898"/>
                <a:gd name="T72" fmla="*/ 2147483646 w 900"/>
                <a:gd name="T73" fmla="*/ 2147483646 h 898"/>
                <a:gd name="T74" fmla="*/ 2147483646 w 900"/>
                <a:gd name="T75" fmla="*/ 2147483646 h 898"/>
                <a:gd name="T76" fmla="*/ 2147483646 w 900"/>
                <a:gd name="T77" fmla="*/ 2147483646 h 898"/>
                <a:gd name="T78" fmla="*/ 2147483646 w 900"/>
                <a:gd name="T79" fmla="*/ 2147483646 h 898"/>
                <a:gd name="T80" fmla="*/ 2147483646 w 900"/>
                <a:gd name="T81" fmla="*/ 2147483646 h 898"/>
                <a:gd name="T82" fmla="*/ 2147483646 w 900"/>
                <a:gd name="T83" fmla="*/ 2147483646 h 898"/>
                <a:gd name="T84" fmla="*/ 2147483646 w 900"/>
                <a:gd name="T85" fmla="*/ 2147483646 h 898"/>
                <a:gd name="T86" fmla="*/ 2147483646 w 900"/>
                <a:gd name="T87" fmla="*/ 2147483646 h 89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00" h="898">
                  <a:moveTo>
                    <a:pt x="900" y="450"/>
                  </a:moveTo>
                  <a:lnTo>
                    <a:pt x="900" y="450"/>
                  </a:lnTo>
                  <a:lnTo>
                    <a:pt x="898" y="472"/>
                  </a:lnTo>
                  <a:lnTo>
                    <a:pt x="897" y="495"/>
                  </a:lnTo>
                  <a:lnTo>
                    <a:pt x="894" y="518"/>
                  </a:lnTo>
                  <a:lnTo>
                    <a:pt x="890" y="539"/>
                  </a:lnTo>
                  <a:lnTo>
                    <a:pt x="885" y="561"/>
                  </a:lnTo>
                  <a:lnTo>
                    <a:pt x="880" y="582"/>
                  </a:lnTo>
                  <a:lnTo>
                    <a:pt x="872" y="604"/>
                  </a:lnTo>
                  <a:lnTo>
                    <a:pt x="863" y="624"/>
                  </a:lnTo>
                  <a:lnTo>
                    <a:pt x="855" y="644"/>
                  </a:lnTo>
                  <a:lnTo>
                    <a:pt x="845" y="664"/>
                  </a:lnTo>
                  <a:lnTo>
                    <a:pt x="834" y="683"/>
                  </a:lnTo>
                  <a:lnTo>
                    <a:pt x="822" y="700"/>
                  </a:lnTo>
                  <a:lnTo>
                    <a:pt x="810" y="717"/>
                  </a:lnTo>
                  <a:lnTo>
                    <a:pt x="797" y="735"/>
                  </a:lnTo>
                  <a:lnTo>
                    <a:pt x="783" y="751"/>
                  </a:lnTo>
                  <a:lnTo>
                    <a:pt x="767" y="767"/>
                  </a:lnTo>
                  <a:lnTo>
                    <a:pt x="752" y="782"/>
                  </a:lnTo>
                  <a:lnTo>
                    <a:pt x="736" y="796"/>
                  </a:lnTo>
                  <a:lnTo>
                    <a:pt x="719" y="810"/>
                  </a:lnTo>
                  <a:lnTo>
                    <a:pt x="701" y="822"/>
                  </a:lnTo>
                  <a:lnTo>
                    <a:pt x="683" y="834"/>
                  </a:lnTo>
                  <a:lnTo>
                    <a:pt x="664" y="845"/>
                  </a:lnTo>
                  <a:lnTo>
                    <a:pt x="645" y="854"/>
                  </a:lnTo>
                  <a:lnTo>
                    <a:pt x="625" y="863"/>
                  </a:lnTo>
                  <a:lnTo>
                    <a:pt x="605" y="871"/>
                  </a:lnTo>
                  <a:lnTo>
                    <a:pt x="584" y="878"/>
                  </a:lnTo>
                  <a:lnTo>
                    <a:pt x="562" y="885"/>
                  </a:lnTo>
                  <a:lnTo>
                    <a:pt x="541" y="889"/>
                  </a:lnTo>
                  <a:lnTo>
                    <a:pt x="518" y="893"/>
                  </a:lnTo>
                  <a:lnTo>
                    <a:pt x="495" y="895"/>
                  </a:lnTo>
                  <a:lnTo>
                    <a:pt x="472" y="898"/>
                  </a:lnTo>
                  <a:lnTo>
                    <a:pt x="450" y="898"/>
                  </a:lnTo>
                  <a:lnTo>
                    <a:pt x="427" y="898"/>
                  </a:lnTo>
                  <a:lnTo>
                    <a:pt x="404" y="895"/>
                  </a:lnTo>
                  <a:lnTo>
                    <a:pt x="381" y="893"/>
                  </a:lnTo>
                  <a:lnTo>
                    <a:pt x="359" y="889"/>
                  </a:lnTo>
                  <a:lnTo>
                    <a:pt x="337" y="885"/>
                  </a:lnTo>
                  <a:lnTo>
                    <a:pt x="316" y="878"/>
                  </a:lnTo>
                  <a:lnTo>
                    <a:pt x="296" y="871"/>
                  </a:lnTo>
                  <a:lnTo>
                    <a:pt x="274" y="863"/>
                  </a:lnTo>
                  <a:lnTo>
                    <a:pt x="256" y="854"/>
                  </a:lnTo>
                  <a:lnTo>
                    <a:pt x="235" y="845"/>
                  </a:lnTo>
                  <a:lnTo>
                    <a:pt x="217" y="834"/>
                  </a:lnTo>
                  <a:lnTo>
                    <a:pt x="198" y="822"/>
                  </a:lnTo>
                  <a:lnTo>
                    <a:pt x="181" y="810"/>
                  </a:lnTo>
                  <a:lnTo>
                    <a:pt x="165" y="796"/>
                  </a:lnTo>
                  <a:lnTo>
                    <a:pt x="147" y="782"/>
                  </a:lnTo>
                  <a:lnTo>
                    <a:pt x="132" y="767"/>
                  </a:lnTo>
                  <a:lnTo>
                    <a:pt x="118" y="751"/>
                  </a:lnTo>
                  <a:lnTo>
                    <a:pt x="103" y="735"/>
                  </a:lnTo>
                  <a:lnTo>
                    <a:pt x="90" y="717"/>
                  </a:lnTo>
                  <a:lnTo>
                    <a:pt x="77" y="700"/>
                  </a:lnTo>
                  <a:lnTo>
                    <a:pt x="65" y="683"/>
                  </a:lnTo>
                  <a:lnTo>
                    <a:pt x="55" y="664"/>
                  </a:lnTo>
                  <a:lnTo>
                    <a:pt x="45" y="644"/>
                  </a:lnTo>
                  <a:lnTo>
                    <a:pt x="36" y="624"/>
                  </a:lnTo>
                  <a:lnTo>
                    <a:pt x="28" y="604"/>
                  </a:lnTo>
                  <a:lnTo>
                    <a:pt x="21" y="582"/>
                  </a:lnTo>
                  <a:lnTo>
                    <a:pt x="15" y="561"/>
                  </a:lnTo>
                  <a:lnTo>
                    <a:pt x="9" y="539"/>
                  </a:lnTo>
                  <a:lnTo>
                    <a:pt x="5" y="518"/>
                  </a:lnTo>
                  <a:lnTo>
                    <a:pt x="2" y="495"/>
                  </a:lnTo>
                  <a:lnTo>
                    <a:pt x="1" y="472"/>
                  </a:lnTo>
                  <a:lnTo>
                    <a:pt x="0" y="450"/>
                  </a:lnTo>
                  <a:lnTo>
                    <a:pt x="1" y="426"/>
                  </a:lnTo>
                  <a:lnTo>
                    <a:pt x="2" y="403"/>
                  </a:lnTo>
                  <a:lnTo>
                    <a:pt x="5" y="380"/>
                  </a:lnTo>
                  <a:lnTo>
                    <a:pt x="9" y="359"/>
                  </a:lnTo>
                  <a:lnTo>
                    <a:pt x="15" y="337"/>
                  </a:lnTo>
                  <a:lnTo>
                    <a:pt x="21" y="316"/>
                  </a:lnTo>
                  <a:lnTo>
                    <a:pt x="28" y="294"/>
                  </a:lnTo>
                  <a:lnTo>
                    <a:pt x="36" y="274"/>
                  </a:lnTo>
                  <a:lnTo>
                    <a:pt x="45" y="254"/>
                  </a:lnTo>
                  <a:lnTo>
                    <a:pt x="55" y="235"/>
                  </a:lnTo>
                  <a:lnTo>
                    <a:pt x="65" y="215"/>
                  </a:lnTo>
                  <a:lnTo>
                    <a:pt x="77" y="198"/>
                  </a:lnTo>
                  <a:lnTo>
                    <a:pt x="90" y="180"/>
                  </a:lnTo>
                  <a:lnTo>
                    <a:pt x="103" y="163"/>
                  </a:lnTo>
                  <a:lnTo>
                    <a:pt x="118" y="147"/>
                  </a:lnTo>
                  <a:lnTo>
                    <a:pt x="132" y="131"/>
                  </a:lnTo>
                  <a:lnTo>
                    <a:pt x="147" y="116"/>
                  </a:lnTo>
                  <a:lnTo>
                    <a:pt x="165" y="103"/>
                  </a:lnTo>
                  <a:lnTo>
                    <a:pt x="181" y="89"/>
                  </a:lnTo>
                  <a:lnTo>
                    <a:pt x="198" y="76"/>
                  </a:lnTo>
                  <a:lnTo>
                    <a:pt x="217" y="64"/>
                  </a:lnTo>
                  <a:lnTo>
                    <a:pt x="235" y="53"/>
                  </a:lnTo>
                  <a:lnTo>
                    <a:pt x="256" y="44"/>
                  </a:lnTo>
                  <a:lnTo>
                    <a:pt x="274" y="35"/>
                  </a:lnTo>
                  <a:lnTo>
                    <a:pt x="296" y="27"/>
                  </a:lnTo>
                  <a:lnTo>
                    <a:pt x="316" y="20"/>
                  </a:lnTo>
                  <a:lnTo>
                    <a:pt x="337" y="13"/>
                  </a:lnTo>
                  <a:lnTo>
                    <a:pt x="359" y="9"/>
                  </a:lnTo>
                  <a:lnTo>
                    <a:pt x="381" y="5"/>
                  </a:lnTo>
                  <a:lnTo>
                    <a:pt x="404" y="2"/>
                  </a:lnTo>
                  <a:lnTo>
                    <a:pt x="427" y="0"/>
                  </a:lnTo>
                  <a:lnTo>
                    <a:pt x="450" y="0"/>
                  </a:lnTo>
                  <a:lnTo>
                    <a:pt x="472" y="0"/>
                  </a:lnTo>
                  <a:lnTo>
                    <a:pt x="495" y="2"/>
                  </a:lnTo>
                  <a:lnTo>
                    <a:pt x="518" y="5"/>
                  </a:lnTo>
                  <a:lnTo>
                    <a:pt x="541" y="9"/>
                  </a:lnTo>
                  <a:lnTo>
                    <a:pt x="562" y="13"/>
                  </a:lnTo>
                  <a:lnTo>
                    <a:pt x="584" y="20"/>
                  </a:lnTo>
                  <a:lnTo>
                    <a:pt x="605" y="27"/>
                  </a:lnTo>
                  <a:lnTo>
                    <a:pt x="625" y="35"/>
                  </a:lnTo>
                  <a:lnTo>
                    <a:pt x="645" y="44"/>
                  </a:lnTo>
                  <a:lnTo>
                    <a:pt x="664" y="53"/>
                  </a:lnTo>
                  <a:lnTo>
                    <a:pt x="683" y="64"/>
                  </a:lnTo>
                  <a:lnTo>
                    <a:pt x="701" y="76"/>
                  </a:lnTo>
                  <a:lnTo>
                    <a:pt x="719" y="89"/>
                  </a:lnTo>
                  <a:lnTo>
                    <a:pt x="736" y="103"/>
                  </a:lnTo>
                  <a:lnTo>
                    <a:pt x="752" y="116"/>
                  </a:lnTo>
                  <a:lnTo>
                    <a:pt x="767" y="131"/>
                  </a:lnTo>
                  <a:lnTo>
                    <a:pt x="783" y="147"/>
                  </a:lnTo>
                  <a:lnTo>
                    <a:pt x="797" y="163"/>
                  </a:lnTo>
                  <a:lnTo>
                    <a:pt x="810" y="180"/>
                  </a:lnTo>
                  <a:lnTo>
                    <a:pt x="822" y="198"/>
                  </a:lnTo>
                  <a:lnTo>
                    <a:pt x="834" y="215"/>
                  </a:lnTo>
                  <a:lnTo>
                    <a:pt x="845" y="235"/>
                  </a:lnTo>
                  <a:lnTo>
                    <a:pt x="855" y="254"/>
                  </a:lnTo>
                  <a:lnTo>
                    <a:pt x="863" y="274"/>
                  </a:lnTo>
                  <a:lnTo>
                    <a:pt x="872" y="294"/>
                  </a:lnTo>
                  <a:lnTo>
                    <a:pt x="880" y="316"/>
                  </a:lnTo>
                  <a:lnTo>
                    <a:pt x="885" y="337"/>
                  </a:lnTo>
                  <a:lnTo>
                    <a:pt x="890" y="359"/>
                  </a:lnTo>
                  <a:lnTo>
                    <a:pt x="894" y="380"/>
                  </a:lnTo>
                  <a:lnTo>
                    <a:pt x="897" y="403"/>
                  </a:lnTo>
                  <a:lnTo>
                    <a:pt x="898" y="426"/>
                  </a:lnTo>
                  <a:lnTo>
                    <a:pt x="900" y="450"/>
                  </a:lnTo>
                  <a:close/>
                </a:path>
              </a:pathLst>
            </a:custGeom>
            <a:solidFill>
              <a:srgbClr val="6DB7A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43" name="Freeform 490">
              <a:extLst>
                <a:ext uri="{FF2B5EF4-FFF2-40B4-BE49-F238E27FC236}">
                  <a16:creationId xmlns:a16="http://schemas.microsoft.com/office/drawing/2014/main" id="{ABDE1D80-4465-8087-AB73-0943EFDD384F}"/>
                </a:ext>
              </a:extLst>
            </p:cNvPr>
            <p:cNvSpPr>
              <a:spLocks/>
            </p:cNvSpPr>
            <p:nvPr/>
          </p:nvSpPr>
          <p:spPr bwMode="auto">
            <a:xfrm>
              <a:off x="11514138" y="3768726"/>
              <a:ext cx="76200" cy="449263"/>
            </a:xfrm>
            <a:custGeom>
              <a:avLst/>
              <a:gdLst>
                <a:gd name="T0" fmla="*/ 2147483646 w 143"/>
                <a:gd name="T1" fmla="*/ 2147483646 h 849"/>
                <a:gd name="T2" fmla="*/ 2147483646 w 143"/>
                <a:gd name="T3" fmla="*/ 0 h 849"/>
                <a:gd name="T4" fmla="*/ 2147483646 w 143"/>
                <a:gd name="T5" fmla="*/ 2147483646 h 849"/>
                <a:gd name="T6" fmla="*/ 0 w 143"/>
                <a:gd name="T7" fmla="*/ 2147483646 h 849"/>
                <a:gd name="T8" fmla="*/ 2147483646 w 143"/>
                <a:gd name="T9" fmla="*/ 2147483646 h 84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3" h="849">
                  <a:moveTo>
                    <a:pt x="143" y="849"/>
                  </a:moveTo>
                  <a:lnTo>
                    <a:pt x="115" y="0"/>
                  </a:lnTo>
                  <a:lnTo>
                    <a:pt x="24" y="1"/>
                  </a:lnTo>
                  <a:lnTo>
                    <a:pt x="0" y="827"/>
                  </a:lnTo>
                  <a:lnTo>
                    <a:pt x="143" y="849"/>
                  </a:lnTo>
                  <a:close/>
                </a:path>
              </a:pathLst>
            </a:custGeom>
            <a:solidFill>
              <a:srgbClr val="92CCB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44" name="Freeform 491">
              <a:extLst>
                <a:ext uri="{FF2B5EF4-FFF2-40B4-BE49-F238E27FC236}">
                  <a16:creationId xmlns:a16="http://schemas.microsoft.com/office/drawing/2014/main" id="{4CCFB03B-7EC7-A442-1401-3586BEB721FD}"/>
                </a:ext>
              </a:extLst>
            </p:cNvPr>
            <p:cNvSpPr>
              <a:spLocks/>
            </p:cNvSpPr>
            <p:nvPr/>
          </p:nvSpPr>
          <p:spPr bwMode="auto">
            <a:xfrm>
              <a:off x="11522075" y="4200526"/>
              <a:ext cx="293688" cy="53975"/>
            </a:xfrm>
            <a:custGeom>
              <a:avLst/>
              <a:gdLst>
                <a:gd name="T0" fmla="*/ 0 w 555"/>
                <a:gd name="T1" fmla="*/ 0 h 102"/>
                <a:gd name="T2" fmla="*/ 2147483646 w 555"/>
                <a:gd name="T3" fmla="*/ 0 h 102"/>
                <a:gd name="T4" fmla="*/ 2147483646 w 555"/>
                <a:gd name="T5" fmla="*/ 2147483646 h 102"/>
                <a:gd name="T6" fmla="*/ 2147483646 w 555"/>
                <a:gd name="T7" fmla="*/ 2147483646 h 102"/>
                <a:gd name="T8" fmla="*/ 0 w 555"/>
                <a:gd name="T9" fmla="*/ 0 h 10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55" h="102">
                  <a:moveTo>
                    <a:pt x="0" y="0"/>
                  </a:moveTo>
                  <a:lnTo>
                    <a:pt x="555" y="0"/>
                  </a:lnTo>
                  <a:lnTo>
                    <a:pt x="555" y="102"/>
                  </a:lnTo>
                  <a:lnTo>
                    <a:pt x="1" y="102"/>
                  </a:lnTo>
                  <a:lnTo>
                    <a:pt x="0" y="0"/>
                  </a:lnTo>
                  <a:close/>
                </a:path>
              </a:pathLst>
            </a:custGeom>
            <a:solidFill>
              <a:srgbClr val="6DB7A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45" name="Freeform 492">
              <a:extLst>
                <a:ext uri="{FF2B5EF4-FFF2-40B4-BE49-F238E27FC236}">
                  <a16:creationId xmlns:a16="http://schemas.microsoft.com/office/drawing/2014/main" id="{D0B5B36C-EC3F-FF1B-B472-15056FB5AE99}"/>
                </a:ext>
              </a:extLst>
            </p:cNvPr>
            <p:cNvSpPr>
              <a:spLocks/>
            </p:cNvSpPr>
            <p:nvPr/>
          </p:nvSpPr>
          <p:spPr bwMode="auto">
            <a:xfrm>
              <a:off x="10429875" y="3330576"/>
              <a:ext cx="712788" cy="830263"/>
            </a:xfrm>
            <a:custGeom>
              <a:avLst/>
              <a:gdLst>
                <a:gd name="T0" fmla="*/ 2147483646 w 1346"/>
                <a:gd name="T1" fmla="*/ 2147483646 h 1570"/>
                <a:gd name="T2" fmla="*/ 0 w 1346"/>
                <a:gd name="T3" fmla="*/ 2147483646 h 1570"/>
                <a:gd name="T4" fmla="*/ 0 w 1346"/>
                <a:gd name="T5" fmla="*/ 2147483646 h 1570"/>
                <a:gd name="T6" fmla="*/ 2147483646 w 1346"/>
                <a:gd name="T7" fmla="*/ 2147483646 h 1570"/>
                <a:gd name="T8" fmla="*/ 2147483646 w 1346"/>
                <a:gd name="T9" fmla="*/ 2147483646 h 1570"/>
                <a:gd name="T10" fmla="*/ 2147483646 w 1346"/>
                <a:gd name="T11" fmla="*/ 2147483646 h 1570"/>
                <a:gd name="T12" fmla="*/ 2147483646 w 1346"/>
                <a:gd name="T13" fmla="*/ 2147483646 h 1570"/>
                <a:gd name="T14" fmla="*/ 2147483646 w 1346"/>
                <a:gd name="T15" fmla="*/ 2147483646 h 1570"/>
                <a:gd name="T16" fmla="*/ 2147483646 w 1346"/>
                <a:gd name="T17" fmla="*/ 2147483646 h 1570"/>
                <a:gd name="T18" fmla="*/ 2147483646 w 1346"/>
                <a:gd name="T19" fmla="*/ 2147483646 h 1570"/>
                <a:gd name="T20" fmla="*/ 2147483646 w 1346"/>
                <a:gd name="T21" fmla="*/ 2147483646 h 1570"/>
                <a:gd name="T22" fmla="*/ 2147483646 w 1346"/>
                <a:gd name="T23" fmla="*/ 2147483646 h 1570"/>
                <a:gd name="T24" fmla="*/ 2147483646 w 1346"/>
                <a:gd name="T25" fmla="*/ 2147483646 h 1570"/>
                <a:gd name="T26" fmla="*/ 2147483646 w 1346"/>
                <a:gd name="T27" fmla="*/ 2147483646 h 1570"/>
                <a:gd name="T28" fmla="*/ 2147483646 w 1346"/>
                <a:gd name="T29" fmla="*/ 2147483646 h 1570"/>
                <a:gd name="T30" fmla="*/ 2147483646 w 1346"/>
                <a:gd name="T31" fmla="*/ 2147483646 h 1570"/>
                <a:gd name="T32" fmla="*/ 2147483646 w 1346"/>
                <a:gd name="T33" fmla="*/ 2147483646 h 1570"/>
                <a:gd name="T34" fmla="*/ 2147483646 w 1346"/>
                <a:gd name="T35" fmla="*/ 2147483646 h 1570"/>
                <a:gd name="T36" fmla="*/ 2147483646 w 1346"/>
                <a:gd name="T37" fmla="*/ 2147483646 h 1570"/>
                <a:gd name="T38" fmla="*/ 2147483646 w 1346"/>
                <a:gd name="T39" fmla="*/ 2147483646 h 1570"/>
                <a:gd name="T40" fmla="*/ 2147483646 w 1346"/>
                <a:gd name="T41" fmla="*/ 2147483646 h 1570"/>
                <a:gd name="T42" fmla="*/ 2147483646 w 1346"/>
                <a:gd name="T43" fmla="*/ 2147483646 h 1570"/>
                <a:gd name="T44" fmla="*/ 2147483646 w 1346"/>
                <a:gd name="T45" fmla="*/ 0 h 1570"/>
                <a:gd name="T46" fmla="*/ 2147483646 w 1346"/>
                <a:gd name="T47" fmla="*/ 0 h 1570"/>
                <a:gd name="T48" fmla="*/ 2147483646 w 1346"/>
                <a:gd name="T49" fmla="*/ 0 h 1570"/>
                <a:gd name="T50" fmla="*/ 2147483646 w 1346"/>
                <a:gd name="T51" fmla="*/ 2147483646 h 1570"/>
                <a:gd name="T52" fmla="*/ 2147483646 w 1346"/>
                <a:gd name="T53" fmla="*/ 2147483646 h 1570"/>
                <a:gd name="T54" fmla="*/ 2147483646 w 1346"/>
                <a:gd name="T55" fmla="*/ 2147483646 h 1570"/>
                <a:gd name="T56" fmla="*/ 2147483646 w 1346"/>
                <a:gd name="T57" fmla="*/ 2147483646 h 1570"/>
                <a:gd name="T58" fmla="*/ 2147483646 w 1346"/>
                <a:gd name="T59" fmla="*/ 2147483646 h 1570"/>
                <a:gd name="T60" fmla="*/ 2147483646 w 1346"/>
                <a:gd name="T61" fmla="*/ 2147483646 h 1570"/>
                <a:gd name="T62" fmla="*/ 2147483646 w 1346"/>
                <a:gd name="T63" fmla="*/ 2147483646 h 1570"/>
                <a:gd name="T64" fmla="*/ 2147483646 w 1346"/>
                <a:gd name="T65" fmla="*/ 2147483646 h 1570"/>
                <a:gd name="T66" fmla="*/ 2147483646 w 1346"/>
                <a:gd name="T67" fmla="*/ 2147483646 h 1570"/>
                <a:gd name="T68" fmla="*/ 2147483646 w 1346"/>
                <a:gd name="T69" fmla="*/ 2147483646 h 1570"/>
                <a:gd name="T70" fmla="*/ 2147483646 w 1346"/>
                <a:gd name="T71" fmla="*/ 2147483646 h 1570"/>
                <a:gd name="T72" fmla="*/ 2147483646 w 1346"/>
                <a:gd name="T73" fmla="*/ 2147483646 h 1570"/>
                <a:gd name="T74" fmla="*/ 2147483646 w 1346"/>
                <a:gd name="T75" fmla="*/ 2147483646 h 1570"/>
                <a:gd name="T76" fmla="*/ 2147483646 w 1346"/>
                <a:gd name="T77" fmla="*/ 2147483646 h 1570"/>
                <a:gd name="T78" fmla="*/ 2147483646 w 1346"/>
                <a:gd name="T79" fmla="*/ 2147483646 h 1570"/>
                <a:gd name="T80" fmla="*/ 2147483646 w 1346"/>
                <a:gd name="T81" fmla="*/ 2147483646 h 1570"/>
                <a:gd name="T82" fmla="*/ 2147483646 w 1346"/>
                <a:gd name="T83" fmla="*/ 2147483646 h 1570"/>
                <a:gd name="T84" fmla="*/ 2147483646 w 1346"/>
                <a:gd name="T85" fmla="*/ 2147483646 h 1570"/>
                <a:gd name="T86" fmla="*/ 2147483646 w 1346"/>
                <a:gd name="T87" fmla="*/ 2147483646 h 1570"/>
                <a:gd name="T88" fmla="*/ 2147483646 w 1346"/>
                <a:gd name="T89" fmla="*/ 2147483646 h 1570"/>
                <a:gd name="T90" fmla="*/ 2147483646 w 1346"/>
                <a:gd name="T91" fmla="*/ 2147483646 h 1570"/>
                <a:gd name="T92" fmla="*/ 2147483646 w 1346"/>
                <a:gd name="T93" fmla="*/ 2147483646 h 157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346" h="1570">
                  <a:moveTo>
                    <a:pt x="1346" y="1570"/>
                  </a:moveTo>
                  <a:lnTo>
                    <a:pt x="0" y="1570"/>
                  </a:lnTo>
                  <a:lnTo>
                    <a:pt x="46" y="1407"/>
                  </a:lnTo>
                  <a:lnTo>
                    <a:pt x="91" y="1238"/>
                  </a:lnTo>
                  <a:lnTo>
                    <a:pt x="144" y="1040"/>
                  </a:lnTo>
                  <a:lnTo>
                    <a:pt x="196" y="837"/>
                  </a:lnTo>
                  <a:lnTo>
                    <a:pt x="241" y="651"/>
                  </a:lnTo>
                  <a:lnTo>
                    <a:pt x="260" y="572"/>
                  </a:lnTo>
                  <a:lnTo>
                    <a:pt x="275" y="505"/>
                  </a:lnTo>
                  <a:lnTo>
                    <a:pt x="283" y="454"/>
                  </a:lnTo>
                  <a:lnTo>
                    <a:pt x="285" y="435"/>
                  </a:lnTo>
                  <a:lnTo>
                    <a:pt x="287" y="422"/>
                  </a:lnTo>
                  <a:lnTo>
                    <a:pt x="285" y="398"/>
                  </a:lnTo>
                  <a:lnTo>
                    <a:pt x="283" y="369"/>
                  </a:lnTo>
                  <a:lnTo>
                    <a:pt x="277" y="340"/>
                  </a:lnTo>
                  <a:lnTo>
                    <a:pt x="271" y="307"/>
                  </a:lnTo>
                  <a:lnTo>
                    <a:pt x="256" y="237"/>
                  </a:lnTo>
                  <a:lnTo>
                    <a:pt x="237" y="167"/>
                  </a:lnTo>
                  <a:lnTo>
                    <a:pt x="220" y="103"/>
                  </a:lnTo>
                  <a:lnTo>
                    <a:pt x="204" y="49"/>
                  </a:lnTo>
                  <a:lnTo>
                    <a:pt x="189" y="0"/>
                  </a:lnTo>
                  <a:lnTo>
                    <a:pt x="1157" y="0"/>
                  </a:lnTo>
                  <a:lnTo>
                    <a:pt x="1142" y="48"/>
                  </a:lnTo>
                  <a:lnTo>
                    <a:pt x="1128" y="100"/>
                  </a:lnTo>
                  <a:lnTo>
                    <a:pt x="1112" y="165"/>
                  </a:lnTo>
                  <a:lnTo>
                    <a:pt x="1094" y="234"/>
                  </a:lnTo>
                  <a:lnTo>
                    <a:pt x="1079" y="305"/>
                  </a:lnTo>
                  <a:lnTo>
                    <a:pt x="1074" y="340"/>
                  </a:lnTo>
                  <a:lnTo>
                    <a:pt x="1069" y="372"/>
                  </a:lnTo>
                  <a:lnTo>
                    <a:pt x="1066" y="403"/>
                  </a:lnTo>
                  <a:lnTo>
                    <a:pt x="1065" y="430"/>
                  </a:lnTo>
                  <a:lnTo>
                    <a:pt x="1066" y="444"/>
                  </a:lnTo>
                  <a:lnTo>
                    <a:pt x="1069" y="464"/>
                  </a:lnTo>
                  <a:lnTo>
                    <a:pt x="1077" y="517"/>
                  </a:lnTo>
                  <a:lnTo>
                    <a:pt x="1090" y="585"/>
                  </a:lnTo>
                  <a:lnTo>
                    <a:pt x="1109" y="665"/>
                  </a:lnTo>
                  <a:lnTo>
                    <a:pt x="1130" y="754"/>
                  </a:lnTo>
                  <a:lnTo>
                    <a:pt x="1153" y="850"/>
                  </a:lnTo>
                  <a:lnTo>
                    <a:pt x="1205" y="1051"/>
                  </a:lnTo>
                  <a:lnTo>
                    <a:pt x="1256" y="1245"/>
                  </a:lnTo>
                  <a:lnTo>
                    <a:pt x="1302" y="1411"/>
                  </a:lnTo>
                  <a:lnTo>
                    <a:pt x="1346" y="1570"/>
                  </a:lnTo>
                  <a:close/>
                </a:path>
              </a:pathLst>
            </a:custGeom>
            <a:solidFill>
              <a:srgbClr val="EAC7A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46" name="Freeform 493">
              <a:extLst>
                <a:ext uri="{FF2B5EF4-FFF2-40B4-BE49-F238E27FC236}">
                  <a16:creationId xmlns:a16="http://schemas.microsoft.com/office/drawing/2014/main" id="{09E6B565-26BA-514E-3B85-8200A88582E1}"/>
                </a:ext>
              </a:extLst>
            </p:cNvPr>
            <p:cNvSpPr>
              <a:spLocks/>
            </p:cNvSpPr>
            <p:nvPr/>
          </p:nvSpPr>
          <p:spPr bwMode="auto">
            <a:xfrm>
              <a:off x="10744200" y="3330576"/>
              <a:ext cx="298450" cy="828675"/>
            </a:xfrm>
            <a:custGeom>
              <a:avLst/>
              <a:gdLst>
                <a:gd name="T0" fmla="*/ 2147483646 w 564"/>
                <a:gd name="T1" fmla="*/ 0 h 1566"/>
                <a:gd name="T2" fmla="*/ 0 w 564"/>
                <a:gd name="T3" fmla="*/ 2147483646 h 1566"/>
                <a:gd name="T4" fmla="*/ 2147483646 w 564"/>
                <a:gd name="T5" fmla="*/ 2147483646 h 1566"/>
                <a:gd name="T6" fmla="*/ 2147483646 w 564"/>
                <a:gd name="T7" fmla="*/ 0 h 1566"/>
                <a:gd name="T8" fmla="*/ 2147483646 w 564"/>
                <a:gd name="T9" fmla="*/ 0 h 15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64" h="1566">
                  <a:moveTo>
                    <a:pt x="84" y="0"/>
                  </a:moveTo>
                  <a:lnTo>
                    <a:pt x="0" y="1554"/>
                  </a:lnTo>
                  <a:lnTo>
                    <a:pt x="564" y="1566"/>
                  </a:lnTo>
                  <a:lnTo>
                    <a:pt x="352" y="0"/>
                  </a:lnTo>
                  <a:lnTo>
                    <a:pt x="84" y="0"/>
                  </a:lnTo>
                  <a:close/>
                </a:path>
              </a:pathLst>
            </a:custGeom>
            <a:solidFill>
              <a:srgbClr val="D6B08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47" name="Freeform 494">
              <a:extLst>
                <a:ext uri="{FF2B5EF4-FFF2-40B4-BE49-F238E27FC236}">
                  <a16:creationId xmlns:a16="http://schemas.microsoft.com/office/drawing/2014/main" id="{C98BA05C-C440-DE45-7403-3FD55941F9C6}"/>
                </a:ext>
              </a:extLst>
            </p:cNvPr>
            <p:cNvSpPr>
              <a:spLocks/>
            </p:cNvSpPr>
            <p:nvPr/>
          </p:nvSpPr>
          <p:spPr bwMode="auto">
            <a:xfrm>
              <a:off x="10929938" y="3330576"/>
              <a:ext cx="212725" cy="830263"/>
            </a:xfrm>
            <a:custGeom>
              <a:avLst/>
              <a:gdLst>
                <a:gd name="T0" fmla="*/ 2147483646 w 402"/>
                <a:gd name="T1" fmla="*/ 2147483646 h 1570"/>
                <a:gd name="T2" fmla="*/ 2147483646 w 402"/>
                <a:gd name="T3" fmla="*/ 2147483646 h 1570"/>
                <a:gd name="T4" fmla="*/ 2147483646 w 402"/>
                <a:gd name="T5" fmla="*/ 2147483646 h 1570"/>
                <a:gd name="T6" fmla="*/ 2147483646 w 402"/>
                <a:gd name="T7" fmla="*/ 2147483646 h 1570"/>
                <a:gd name="T8" fmla="*/ 2147483646 w 402"/>
                <a:gd name="T9" fmla="*/ 2147483646 h 1570"/>
                <a:gd name="T10" fmla="*/ 2147483646 w 402"/>
                <a:gd name="T11" fmla="*/ 2147483646 h 1570"/>
                <a:gd name="T12" fmla="*/ 2147483646 w 402"/>
                <a:gd name="T13" fmla="*/ 2147483646 h 1570"/>
                <a:gd name="T14" fmla="*/ 2147483646 w 402"/>
                <a:gd name="T15" fmla="*/ 2147483646 h 1570"/>
                <a:gd name="T16" fmla="*/ 2147483646 w 402"/>
                <a:gd name="T17" fmla="*/ 2147483646 h 1570"/>
                <a:gd name="T18" fmla="*/ 2147483646 w 402"/>
                <a:gd name="T19" fmla="*/ 2147483646 h 1570"/>
                <a:gd name="T20" fmla="*/ 2147483646 w 402"/>
                <a:gd name="T21" fmla="*/ 0 h 1570"/>
                <a:gd name="T22" fmla="*/ 0 w 402"/>
                <a:gd name="T23" fmla="*/ 0 h 1570"/>
                <a:gd name="T24" fmla="*/ 2147483646 w 402"/>
                <a:gd name="T25" fmla="*/ 2147483646 h 1570"/>
                <a:gd name="T26" fmla="*/ 2147483646 w 402"/>
                <a:gd name="T27" fmla="*/ 2147483646 h 1570"/>
                <a:gd name="T28" fmla="*/ 2147483646 w 402"/>
                <a:gd name="T29" fmla="*/ 2147483646 h 1570"/>
                <a:gd name="T30" fmla="*/ 2147483646 w 402"/>
                <a:gd name="T31" fmla="*/ 2147483646 h 1570"/>
                <a:gd name="T32" fmla="*/ 2147483646 w 402"/>
                <a:gd name="T33" fmla="*/ 2147483646 h 1570"/>
                <a:gd name="T34" fmla="*/ 2147483646 w 402"/>
                <a:gd name="T35" fmla="*/ 2147483646 h 1570"/>
                <a:gd name="T36" fmla="*/ 2147483646 w 402"/>
                <a:gd name="T37" fmla="*/ 2147483646 h 1570"/>
                <a:gd name="T38" fmla="*/ 2147483646 w 402"/>
                <a:gd name="T39" fmla="*/ 2147483646 h 1570"/>
                <a:gd name="T40" fmla="*/ 2147483646 w 402"/>
                <a:gd name="T41" fmla="*/ 2147483646 h 1570"/>
                <a:gd name="T42" fmla="*/ 2147483646 w 402"/>
                <a:gd name="T43" fmla="*/ 2147483646 h 1570"/>
                <a:gd name="T44" fmla="*/ 2147483646 w 402"/>
                <a:gd name="T45" fmla="*/ 2147483646 h 1570"/>
                <a:gd name="T46" fmla="*/ 2147483646 w 402"/>
                <a:gd name="T47" fmla="*/ 2147483646 h 1570"/>
                <a:gd name="T48" fmla="*/ 2147483646 w 402"/>
                <a:gd name="T49" fmla="*/ 2147483646 h 1570"/>
                <a:gd name="T50" fmla="*/ 2147483646 w 402"/>
                <a:gd name="T51" fmla="*/ 2147483646 h 1570"/>
                <a:gd name="T52" fmla="*/ 2147483646 w 402"/>
                <a:gd name="T53" fmla="*/ 2147483646 h 157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2" h="1570">
                  <a:moveTo>
                    <a:pt x="121" y="430"/>
                  </a:moveTo>
                  <a:lnTo>
                    <a:pt x="121" y="430"/>
                  </a:lnTo>
                  <a:lnTo>
                    <a:pt x="122" y="403"/>
                  </a:lnTo>
                  <a:lnTo>
                    <a:pt x="125" y="372"/>
                  </a:lnTo>
                  <a:lnTo>
                    <a:pt x="130" y="340"/>
                  </a:lnTo>
                  <a:lnTo>
                    <a:pt x="135" y="305"/>
                  </a:lnTo>
                  <a:lnTo>
                    <a:pt x="150" y="234"/>
                  </a:lnTo>
                  <a:lnTo>
                    <a:pt x="168" y="165"/>
                  </a:lnTo>
                  <a:lnTo>
                    <a:pt x="184" y="100"/>
                  </a:lnTo>
                  <a:lnTo>
                    <a:pt x="198" y="48"/>
                  </a:lnTo>
                  <a:lnTo>
                    <a:pt x="213" y="0"/>
                  </a:lnTo>
                  <a:lnTo>
                    <a:pt x="0" y="0"/>
                  </a:lnTo>
                  <a:lnTo>
                    <a:pt x="212" y="1566"/>
                  </a:lnTo>
                  <a:lnTo>
                    <a:pt x="402" y="1570"/>
                  </a:lnTo>
                  <a:lnTo>
                    <a:pt x="358" y="1411"/>
                  </a:lnTo>
                  <a:lnTo>
                    <a:pt x="312" y="1245"/>
                  </a:lnTo>
                  <a:lnTo>
                    <a:pt x="261" y="1051"/>
                  </a:lnTo>
                  <a:lnTo>
                    <a:pt x="209" y="850"/>
                  </a:lnTo>
                  <a:lnTo>
                    <a:pt x="186" y="754"/>
                  </a:lnTo>
                  <a:lnTo>
                    <a:pt x="165" y="665"/>
                  </a:lnTo>
                  <a:lnTo>
                    <a:pt x="146" y="585"/>
                  </a:lnTo>
                  <a:lnTo>
                    <a:pt x="133" y="517"/>
                  </a:lnTo>
                  <a:lnTo>
                    <a:pt x="125" y="464"/>
                  </a:lnTo>
                  <a:lnTo>
                    <a:pt x="122" y="444"/>
                  </a:lnTo>
                  <a:lnTo>
                    <a:pt x="121" y="430"/>
                  </a:lnTo>
                  <a:close/>
                </a:path>
              </a:pathLst>
            </a:custGeom>
            <a:solidFill>
              <a:srgbClr val="F3D1A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48" name="Freeform 495">
              <a:extLst>
                <a:ext uri="{FF2B5EF4-FFF2-40B4-BE49-F238E27FC236}">
                  <a16:creationId xmlns:a16="http://schemas.microsoft.com/office/drawing/2014/main" id="{91EB6AD1-A6C5-294B-9FD5-86139F26AAB7}"/>
                </a:ext>
              </a:extLst>
            </p:cNvPr>
            <p:cNvSpPr>
              <a:spLocks/>
            </p:cNvSpPr>
            <p:nvPr/>
          </p:nvSpPr>
          <p:spPr bwMode="auto">
            <a:xfrm>
              <a:off x="10529888" y="3305176"/>
              <a:ext cx="512763" cy="73025"/>
            </a:xfrm>
            <a:custGeom>
              <a:avLst/>
              <a:gdLst>
                <a:gd name="T0" fmla="*/ 0 w 968"/>
                <a:gd name="T1" fmla="*/ 2147483646 h 138"/>
                <a:gd name="T2" fmla="*/ 0 w 968"/>
                <a:gd name="T3" fmla="*/ 2147483646 h 138"/>
                <a:gd name="T4" fmla="*/ 2147483646 w 968"/>
                <a:gd name="T5" fmla="*/ 2147483646 h 138"/>
                <a:gd name="T6" fmla="*/ 2147483646 w 968"/>
                <a:gd name="T7" fmla="*/ 2147483646 h 138"/>
                <a:gd name="T8" fmla="*/ 2147483646 w 968"/>
                <a:gd name="T9" fmla="*/ 2147483646 h 138"/>
                <a:gd name="T10" fmla="*/ 2147483646 w 968"/>
                <a:gd name="T11" fmla="*/ 2147483646 h 138"/>
                <a:gd name="T12" fmla="*/ 2147483646 w 968"/>
                <a:gd name="T13" fmla="*/ 2147483646 h 138"/>
                <a:gd name="T14" fmla="*/ 2147483646 w 968"/>
                <a:gd name="T15" fmla="*/ 2147483646 h 138"/>
                <a:gd name="T16" fmla="*/ 2147483646 w 968"/>
                <a:gd name="T17" fmla="*/ 2147483646 h 138"/>
                <a:gd name="T18" fmla="*/ 2147483646 w 968"/>
                <a:gd name="T19" fmla="*/ 2147483646 h 138"/>
                <a:gd name="T20" fmla="*/ 2147483646 w 968"/>
                <a:gd name="T21" fmla="*/ 2147483646 h 138"/>
                <a:gd name="T22" fmla="*/ 2147483646 w 968"/>
                <a:gd name="T23" fmla="*/ 2147483646 h 138"/>
                <a:gd name="T24" fmla="*/ 2147483646 w 968"/>
                <a:gd name="T25" fmla="*/ 2147483646 h 138"/>
                <a:gd name="T26" fmla="*/ 2147483646 w 968"/>
                <a:gd name="T27" fmla="*/ 2147483646 h 138"/>
                <a:gd name="T28" fmla="*/ 2147483646 w 968"/>
                <a:gd name="T29" fmla="*/ 2147483646 h 138"/>
                <a:gd name="T30" fmla="*/ 2147483646 w 968"/>
                <a:gd name="T31" fmla="*/ 2147483646 h 138"/>
                <a:gd name="T32" fmla="*/ 2147483646 w 968"/>
                <a:gd name="T33" fmla="*/ 2147483646 h 138"/>
                <a:gd name="T34" fmla="*/ 2147483646 w 968"/>
                <a:gd name="T35" fmla="*/ 2147483646 h 138"/>
                <a:gd name="T36" fmla="*/ 2147483646 w 968"/>
                <a:gd name="T37" fmla="*/ 2147483646 h 138"/>
                <a:gd name="T38" fmla="*/ 2147483646 w 968"/>
                <a:gd name="T39" fmla="*/ 2147483646 h 138"/>
                <a:gd name="T40" fmla="*/ 2147483646 w 968"/>
                <a:gd name="T41" fmla="*/ 2147483646 h 138"/>
                <a:gd name="T42" fmla="*/ 2147483646 w 968"/>
                <a:gd name="T43" fmla="*/ 2147483646 h 138"/>
                <a:gd name="T44" fmla="*/ 2147483646 w 968"/>
                <a:gd name="T45" fmla="*/ 2147483646 h 138"/>
                <a:gd name="T46" fmla="*/ 2147483646 w 968"/>
                <a:gd name="T47" fmla="*/ 2147483646 h 138"/>
                <a:gd name="T48" fmla="*/ 2147483646 w 968"/>
                <a:gd name="T49" fmla="*/ 2147483646 h 138"/>
                <a:gd name="T50" fmla="*/ 2147483646 w 968"/>
                <a:gd name="T51" fmla="*/ 2147483646 h 138"/>
                <a:gd name="T52" fmla="*/ 2147483646 w 968"/>
                <a:gd name="T53" fmla="*/ 2147483646 h 138"/>
                <a:gd name="T54" fmla="*/ 2147483646 w 968"/>
                <a:gd name="T55" fmla="*/ 2147483646 h 138"/>
                <a:gd name="T56" fmla="*/ 2147483646 w 968"/>
                <a:gd name="T57" fmla="*/ 2147483646 h 138"/>
                <a:gd name="T58" fmla="*/ 2147483646 w 968"/>
                <a:gd name="T59" fmla="*/ 2147483646 h 138"/>
                <a:gd name="T60" fmla="*/ 2147483646 w 968"/>
                <a:gd name="T61" fmla="*/ 2147483646 h 138"/>
                <a:gd name="T62" fmla="*/ 2147483646 w 968"/>
                <a:gd name="T63" fmla="*/ 2147483646 h 138"/>
                <a:gd name="T64" fmla="*/ 2147483646 w 968"/>
                <a:gd name="T65" fmla="*/ 2147483646 h 138"/>
                <a:gd name="T66" fmla="*/ 2147483646 w 968"/>
                <a:gd name="T67" fmla="*/ 2147483646 h 138"/>
                <a:gd name="T68" fmla="*/ 2147483646 w 968"/>
                <a:gd name="T69" fmla="*/ 2147483646 h 138"/>
                <a:gd name="T70" fmla="*/ 2147483646 w 968"/>
                <a:gd name="T71" fmla="*/ 0 h 138"/>
                <a:gd name="T72" fmla="*/ 2147483646 w 968"/>
                <a:gd name="T73" fmla="*/ 2147483646 h 138"/>
                <a:gd name="T74" fmla="*/ 2147483646 w 968"/>
                <a:gd name="T75" fmla="*/ 2147483646 h 138"/>
                <a:gd name="T76" fmla="*/ 2147483646 w 968"/>
                <a:gd name="T77" fmla="*/ 2147483646 h 138"/>
                <a:gd name="T78" fmla="*/ 2147483646 w 968"/>
                <a:gd name="T79" fmla="*/ 2147483646 h 138"/>
                <a:gd name="T80" fmla="*/ 2147483646 w 968"/>
                <a:gd name="T81" fmla="*/ 2147483646 h 138"/>
                <a:gd name="T82" fmla="*/ 2147483646 w 968"/>
                <a:gd name="T83" fmla="*/ 2147483646 h 138"/>
                <a:gd name="T84" fmla="*/ 2147483646 w 968"/>
                <a:gd name="T85" fmla="*/ 2147483646 h 138"/>
                <a:gd name="T86" fmla="*/ 0 w 968"/>
                <a:gd name="T87" fmla="*/ 2147483646 h 138"/>
                <a:gd name="T88" fmla="*/ 0 w 968"/>
                <a:gd name="T89" fmla="*/ 2147483646 h 13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968" h="138">
                  <a:moveTo>
                    <a:pt x="0" y="46"/>
                  </a:moveTo>
                  <a:lnTo>
                    <a:pt x="0" y="46"/>
                  </a:lnTo>
                  <a:lnTo>
                    <a:pt x="17" y="54"/>
                  </a:lnTo>
                  <a:lnTo>
                    <a:pt x="39" y="63"/>
                  </a:lnTo>
                  <a:lnTo>
                    <a:pt x="68" y="75"/>
                  </a:lnTo>
                  <a:lnTo>
                    <a:pt x="105" y="87"/>
                  </a:lnTo>
                  <a:lnTo>
                    <a:pt x="150" y="100"/>
                  </a:lnTo>
                  <a:lnTo>
                    <a:pt x="202" y="112"/>
                  </a:lnTo>
                  <a:lnTo>
                    <a:pt x="232" y="118"/>
                  </a:lnTo>
                  <a:lnTo>
                    <a:pt x="261" y="123"/>
                  </a:lnTo>
                  <a:lnTo>
                    <a:pt x="295" y="129"/>
                  </a:lnTo>
                  <a:lnTo>
                    <a:pt x="328" y="133"/>
                  </a:lnTo>
                  <a:lnTo>
                    <a:pt x="364" y="135"/>
                  </a:lnTo>
                  <a:lnTo>
                    <a:pt x="402" y="137"/>
                  </a:lnTo>
                  <a:lnTo>
                    <a:pt x="441" y="138"/>
                  </a:lnTo>
                  <a:lnTo>
                    <a:pt x="481" y="138"/>
                  </a:lnTo>
                  <a:lnTo>
                    <a:pt x="524" y="137"/>
                  </a:lnTo>
                  <a:lnTo>
                    <a:pt x="566" y="134"/>
                  </a:lnTo>
                  <a:lnTo>
                    <a:pt x="612" y="129"/>
                  </a:lnTo>
                  <a:lnTo>
                    <a:pt x="659" y="123"/>
                  </a:lnTo>
                  <a:lnTo>
                    <a:pt x="707" y="115"/>
                  </a:lnTo>
                  <a:lnTo>
                    <a:pt x="757" y="106"/>
                  </a:lnTo>
                  <a:lnTo>
                    <a:pt x="807" y="94"/>
                  </a:lnTo>
                  <a:lnTo>
                    <a:pt x="860" y="80"/>
                  </a:lnTo>
                  <a:lnTo>
                    <a:pt x="913" y="64"/>
                  </a:lnTo>
                  <a:lnTo>
                    <a:pt x="968" y="46"/>
                  </a:lnTo>
                  <a:lnTo>
                    <a:pt x="949" y="42"/>
                  </a:lnTo>
                  <a:lnTo>
                    <a:pt x="893" y="31"/>
                  </a:lnTo>
                  <a:lnTo>
                    <a:pt x="853" y="25"/>
                  </a:lnTo>
                  <a:lnTo>
                    <a:pt x="806" y="19"/>
                  </a:lnTo>
                  <a:lnTo>
                    <a:pt x="751" y="12"/>
                  </a:lnTo>
                  <a:lnTo>
                    <a:pt x="688" y="8"/>
                  </a:lnTo>
                  <a:lnTo>
                    <a:pt x="620" y="4"/>
                  </a:lnTo>
                  <a:lnTo>
                    <a:pt x="546" y="1"/>
                  </a:lnTo>
                  <a:lnTo>
                    <a:pt x="466" y="0"/>
                  </a:lnTo>
                  <a:lnTo>
                    <a:pt x="382" y="3"/>
                  </a:lnTo>
                  <a:lnTo>
                    <a:pt x="292" y="8"/>
                  </a:lnTo>
                  <a:lnTo>
                    <a:pt x="245" y="12"/>
                  </a:lnTo>
                  <a:lnTo>
                    <a:pt x="198" y="16"/>
                  </a:lnTo>
                  <a:lnTo>
                    <a:pt x="150" y="21"/>
                  </a:lnTo>
                  <a:lnTo>
                    <a:pt x="100" y="28"/>
                  </a:lnTo>
                  <a:lnTo>
                    <a:pt x="51" y="36"/>
                  </a:lnTo>
                  <a:lnTo>
                    <a:pt x="0" y="46"/>
                  </a:lnTo>
                  <a:close/>
                </a:path>
              </a:pathLst>
            </a:custGeom>
            <a:solidFill>
              <a:srgbClr val="AE674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49" name="Freeform 496">
              <a:extLst>
                <a:ext uri="{FF2B5EF4-FFF2-40B4-BE49-F238E27FC236}">
                  <a16:creationId xmlns:a16="http://schemas.microsoft.com/office/drawing/2014/main" id="{5715AFDE-1A79-C624-F71F-30CF18E174C0}"/>
                </a:ext>
              </a:extLst>
            </p:cNvPr>
            <p:cNvSpPr>
              <a:spLocks/>
            </p:cNvSpPr>
            <p:nvPr/>
          </p:nvSpPr>
          <p:spPr bwMode="auto">
            <a:xfrm>
              <a:off x="10712450" y="3305176"/>
              <a:ext cx="330200" cy="73025"/>
            </a:xfrm>
            <a:custGeom>
              <a:avLst/>
              <a:gdLst>
                <a:gd name="T0" fmla="*/ 2147483646 w 625"/>
                <a:gd name="T1" fmla="*/ 2147483646 h 138"/>
                <a:gd name="T2" fmla="*/ 2147483646 w 625"/>
                <a:gd name="T3" fmla="*/ 2147483646 h 138"/>
                <a:gd name="T4" fmla="*/ 2147483646 w 625"/>
                <a:gd name="T5" fmla="*/ 2147483646 h 138"/>
                <a:gd name="T6" fmla="*/ 2147483646 w 625"/>
                <a:gd name="T7" fmla="*/ 2147483646 h 138"/>
                <a:gd name="T8" fmla="*/ 2147483646 w 625"/>
                <a:gd name="T9" fmla="*/ 2147483646 h 138"/>
                <a:gd name="T10" fmla="*/ 2147483646 w 625"/>
                <a:gd name="T11" fmla="*/ 2147483646 h 138"/>
                <a:gd name="T12" fmla="*/ 2147483646 w 625"/>
                <a:gd name="T13" fmla="*/ 2147483646 h 138"/>
                <a:gd name="T14" fmla="*/ 2147483646 w 625"/>
                <a:gd name="T15" fmla="*/ 2147483646 h 138"/>
                <a:gd name="T16" fmla="*/ 2147483646 w 625"/>
                <a:gd name="T17" fmla="*/ 2147483646 h 138"/>
                <a:gd name="T18" fmla="*/ 2147483646 w 625"/>
                <a:gd name="T19" fmla="*/ 2147483646 h 138"/>
                <a:gd name="T20" fmla="*/ 2147483646 w 625"/>
                <a:gd name="T21" fmla="*/ 2147483646 h 138"/>
                <a:gd name="T22" fmla="*/ 2147483646 w 625"/>
                <a:gd name="T23" fmla="*/ 0 h 138"/>
                <a:gd name="T24" fmla="*/ 2147483646 w 625"/>
                <a:gd name="T25" fmla="*/ 2147483646 h 138"/>
                <a:gd name="T26" fmla="*/ 0 w 625"/>
                <a:gd name="T27" fmla="*/ 2147483646 h 138"/>
                <a:gd name="T28" fmla="*/ 2147483646 w 625"/>
                <a:gd name="T29" fmla="*/ 2147483646 h 138"/>
                <a:gd name="T30" fmla="*/ 2147483646 w 625"/>
                <a:gd name="T31" fmla="*/ 2147483646 h 138"/>
                <a:gd name="T32" fmla="*/ 2147483646 w 625"/>
                <a:gd name="T33" fmla="*/ 2147483646 h 138"/>
                <a:gd name="T34" fmla="*/ 2147483646 w 625"/>
                <a:gd name="T35" fmla="*/ 2147483646 h 138"/>
                <a:gd name="T36" fmla="*/ 2147483646 w 625"/>
                <a:gd name="T37" fmla="*/ 2147483646 h 138"/>
                <a:gd name="T38" fmla="*/ 2147483646 w 625"/>
                <a:gd name="T39" fmla="*/ 2147483646 h 138"/>
                <a:gd name="T40" fmla="*/ 2147483646 w 625"/>
                <a:gd name="T41" fmla="*/ 2147483646 h 138"/>
                <a:gd name="T42" fmla="*/ 2147483646 w 625"/>
                <a:gd name="T43" fmla="*/ 2147483646 h 138"/>
                <a:gd name="T44" fmla="*/ 2147483646 w 625"/>
                <a:gd name="T45" fmla="*/ 2147483646 h 138"/>
                <a:gd name="T46" fmla="*/ 2147483646 w 625"/>
                <a:gd name="T47" fmla="*/ 2147483646 h 138"/>
                <a:gd name="T48" fmla="*/ 2147483646 w 625"/>
                <a:gd name="T49" fmla="*/ 2147483646 h 138"/>
                <a:gd name="T50" fmla="*/ 2147483646 w 625"/>
                <a:gd name="T51" fmla="*/ 2147483646 h 138"/>
                <a:gd name="T52" fmla="*/ 2147483646 w 625"/>
                <a:gd name="T53" fmla="*/ 2147483646 h 138"/>
                <a:gd name="T54" fmla="*/ 2147483646 w 625"/>
                <a:gd name="T55" fmla="*/ 2147483646 h 138"/>
                <a:gd name="T56" fmla="*/ 2147483646 w 625"/>
                <a:gd name="T57" fmla="*/ 2147483646 h 138"/>
                <a:gd name="T58" fmla="*/ 2147483646 w 625"/>
                <a:gd name="T59" fmla="*/ 2147483646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625" h="138">
                  <a:moveTo>
                    <a:pt x="625" y="46"/>
                  </a:moveTo>
                  <a:lnTo>
                    <a:pt x="625" y="46"/>
                  </a:lnTo>
                  <a:lnTo>
                    <a:pt x="613" y="43"/>
                  </a:lnTo>
                  <a:lnTo>
                    <a:pt x="580" y="36"/>
                  </a:lnTo>
                  <a:lnTo>
                    <a:pt x="525" y="27"/>
                  </a:lnTo>
                  <a:lnTo>
                    <a:pt x="451" y="17"/>
                  </a:lnTo>
                  <a:lnTo>
                    <a:pt x="408" y="13"/>
                  </a:lnTo>
                  <a:lnTo>
                    <a:pt x="360" y="8"/>
                  </a:lnTo>
                  <a:lnTo>
                    <a:pt x="309" y="5"/>
                  </a:lnTo>
                  <a:lnTo>
                    <a:pt x="254" y="3"/>
                  </a:lnTo>
                  <a:lnTo>
                    <a:pt x="195" y="1"/>
                  </a:lnTo>
                  <a:lnTo>
                    <a:pt x="134" y="0"/>
                  </a:lnTo>
                  <a:lnTo>
                    <a:pt x="68" y="1"/>
                  </a:lnTo>
                  <a:lnTo>
                    <a:pt x="0" y="4"/>
                  </a:lnTo>
                  <a:lnTo>
                    <a:pt x="65" y="138"/>
                  </a:lnTo>
                  <a:lnTo>
                    <a:pt x="123" y="138"/>
                  </a:lnTo>
                  <a:lnTo>
                    <a:pt x="186" y="137"/>
                  </a:lnTo>
                  <a:lnTo>
                    <a:pt x="252" y="131"/>
                  </a:lnTo>
                  <a:lnTo>
                    <a:pt x="285" y="127"/>
                  </a:lnTo>
                  <a:lnTo>
                    <a:pt x="320" y="122"/>
                  </a:lnTo>
                  <a:lnTo>
                    <a:pt x="356" y="117"/>
                  </a:lnTo>
                  <a:lnTo>
                    <a:pt x="392" y="110"/>
                  </a:lnTo>
                  <a:lnTo>
                    <a:pt x="428" y="102"/>
                  </a:lnTo>
                  <a:lnTo>
                    <a:pt x="467" y="92"/>
                  </a:lnTo>
                  <a:lnTo>
                    <a:pt x="505" y="83"/>
                  </a:lnTo>
                  <a:lnTo>
                    <a:pt x="545" y="72"/>
                  </a:lnTo>
                  <a:lnTo>
                    <a:pt x="585" y="59"/>
                  </a:lnTo>
                  <a:lnTo>
                    <a:pt x="625" y="46"/>
                  </a:lnTo>
                  <a:close/>
                </a:path>
              </a:pathLst>
            </a:custGeom>
            <a:solidFill>
              <a:srgbClr val="AE674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50" name="Freeform 497">
              <a:extLst>
                <a:ext uri="{FF2B5EF4-FFF2-40B4-BE49-F238E27FC236}">
                  <a16:creationId xmlns:a16="http://schemas.microsoft.com/office/drawing/2014/main" id="{B16BA842-4C59-523D-68EC-927D111D86C7}"/>
                </a:ext>
              </a:extLst>
            </p:cNvPr>
            <p:cNvSpPr>
              <a:spLocks/>
            </p:cNvSpPr>
            <p:nvPr/>
          </p:nvSpPr>
          <p:spPr bwMode="auto">
            <a:xfrm>
              <a:off x="10529888" y="3308351"/>
              <a:ext cx="215900" cy="69850"/>
            </a:xfrm>
            <a:custGeom>
              <a:avLst/>
              <a:gdLst>
                <a:gd name="T0" fmla="*/ 0 w 408"/>
                <a:gd name="T1" fmla="*/ 2147483646 h 134"/>
                <a:gd name="T2" fmla="*/ 0 w 408"/>
                <a:gd name="T3" fmla="*/ 2147483646 h 134"/>
                <a:gd name="T4" fmla="*/ 2147483646 w 408"/>
                <a:gd name="T5" fmla="*/ 2147483646 h 134"/>
                <a:gd name="T6" fmla="*/ 2147483646 w 408"/>
                <a:gd name="T7" fmla="*/ 2147483646 h 134"/>
                <a:gd name="T8" fmla="*/ 2147483646 w 408"/>
                <a:gd name="T9" fmla="*/ 2147483646 h 134"/>
                <a:gd name="T10" fmla="*/ 2147483646 w 408"/>
                <a:gd name="T11" fmla="*/ 2147483646 h 134"/>
                <a:gd name="T12" fmla="*/ 2147483646 w 408"/>
                <a:gd name="T13" fmla="*/ 2147483646 h 134"/>
                <a:gd name="T14" fmla="*/ 2147483646 w 408"/>
                <a:gd name="T15" fmla="*/ 2147483646 h 134"/>
                <a:gd name="T16" fmla="*/ 2147483646 w 408"/>
                <a:gd name="T17" fmla="*/ 2147483646 h 134"/>
                <a:gd name="T18" fmla="*/ 2147483646 w 408"/>
                <a:gd name="T19" fmla="*/ 2147483646 h 134"/>
                <a:gd name="T20" fmla="*/ 2147483646 w 408"/>
                <a:gd name="T21" fmla="*/ 2147483646 h 134"/>
                <a:gd name="T22" fmla="*/ 2147483646 w 408"/>
                <a:gd name="T23" fmla="*/ 2147483646 h 134"/>
                <a:gd name="T24" fmla="*/ 2147483646 w 408"/>
                <a:gd name="T25" fmla="*/ 2147483646 h 134"/>
                <a:gd name="T26" fmla="*/ 2147483646 w 408"/>
                <a:gd name="T27" fmla="*/ 2147483646 h 134"/>
                <a:gd name="T28" fmla="*/ 2147483646 w 408"/>
                <a:gd name="T29" fmla="*/ 0 h 134"/>
                <a:gd name="T30" fmla="*/ 2147483646 w 408"/>
                <a:gd name="T31" fmla="*/ 0 h 134"/>
                <a:gd name="T32" fmla="*/ 2147483646 w 408"/>
                <a:gd name="T33" fmla="*/ 2147483646 h 134"/>
                <a:gd name="T34" fmla="*/ 2147483646 w 408"/>
                <a:gd name="T35" fmla="*/ 2147483646 h 134"/>
                <a:gd name="T36" fmla="*/ 2147483646 w 408"/>
                <a:gd name="T37" fmla="*/ 2147483646 h 134"/>
                <a:gd name="T38" fmla="*/ 2147483646 w 408"/>
                <a:gd name="T39" fmla="*/ 2147483646 h 134"/>
                <a:gd name="T40" fmla="*/ 0 w 408"/>
                <a:gd name="T41" fmla="*/ 2147483646 h 134"/>
                <a:gd name="T42" fmla="*/ 0 w 408"/>
                <a:gd name="T43" fmla="*/ 2147483646 h 13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8" h="134">
                  <a:moveTo>
                    <a:pt x="0" y="42"/>
                  </a:moveTo>
                  <a:lnTo>
                    <a:pt x="0" y="42"/>
                  </a:lnTo>
                  <a:lnTo>
                    <a:pt x="7" y="46"/>
                  </a:lnTo>
                  <a:lnTo>
                    <a:pt x="27" y="55"/>
                  </a:lnTo>
                  <a:lnTo>
                    <a:pt x="60" y="68"/>
                  </a:lnTo>
                  <a:lnTo>
                    <a:pt x="107" y="84"/>
                  </a:lnTo>
                  <a:lnTo>
                    <a:pt x="134" y="92"/>
                  </a:lnTo>
                  <a:lnTo>
                    <a:pt x="165" y="100"/>
                  </a:lnTo>
                  <a:lnTo>
                    <a:pt x="198" y="108"/>
                  </a:lnTo>
                  <a:lnTo>
                    <a:pt x="234" y="115"/>
                  </a:lnTo>
                  <a:lnTo>
                    <a:pt x="275" y="122"/>
                  </a:lnTo>
                  <a:lnTo>
                    <a:pt x="316" y="127"/>
                  </a:lnTo>
                  <a:lnTo>
                    <a:pt x="360" y="131"/>
                  </a:lnTo>
                  <a:lnTo>
                    <a:pt x="408" y="134"/>
                  </a:lnTo>
                  <a:lnTo>
                    <a:pt x="343" y="0"/>
                  </a:lnTo>
                  <a:lnTo>
                    <a:pt x="263" y="7"/>
                  </a:lnTo>
                  <a:lnTo>
                    <a:pt x="177" y="15"/>
                  </a:lnTo>
                  <a:lnTo>
                    <a:pt x="90" y="27"/>
                  </a:lnTo>
                  <a:lnTo>
                    <a:pt x="46" y="34"/>
                  </a:lnTo>
                  <a:lnTo>
                    <a:pt x="0" y="42"/>
                  </a:lnTo>
                  <a:close/>
                </a:path>
              </a:pathLst>
            </a:custGeom>
            <a:solidFill>
              <a:srgbClr val="9B503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51" name="Freeform 498">
              <a:extLst>
                <a:ext uri="{FF2B5EF4-FFF2-40B4-BE49-F238E27FC236}">
                  <a16:creationId xmlns:a16="http://schemas.microsoft.com/office/drawing/2014/main" id="{67104517-D25A-2973-6451-8CC0F4853FA7}"/>
                </a:ext>
              </a:extLst>
            </p:cNvPr>
            <p:cNvSpPr>
              <a:spLocks/>
            </p:cNvSpPr>
            <p:nvPr/>
          </p:nvSpPr>
          <p:spPr bwMode="auto">
            <a:xfrm>
              <a:off x="11622088" y="3338513"/>
              <a:ext cx="106363" cy="936625"/>
            </a:xfrm>
            <a:custGeom>
              <a:avLst/>
              <a:gdLst>
                <a:gd name="T0" fmla="*/ 2147483646 w 200"/>
                <a:gd name="T1" fmla="*/ 2147483646 h 1769"/>
                <a:gd name="T2" fmla="*/ 2147483646 w 200"/>
                <a:gd name="T3" fmla="*/ 2147483646 h 1769"/>
                <a:gd name="T4" fmla="*/ 2147483646 w 200"/>
                <a:gd name="T5" fmla="*/ 0 h 1769"/>
                <a:gd name="T6" fmla="*/ 0 w 200"/>
                <a:gd name="T7" fmla="*/ 2147483646 h 1769"/>
                <a:gd name="T8" fmla="*/ 2147483646 w 200"/>
                <a:gd name="T9" fmla="*/ 2147483646 h 176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0" h="1769">
                  <a:moveTo>
                    <a:pt x="200" y="1769"/>
                  </a:moveTo>
                  <a:lnTo>
                    <a:pt x="140" y="5"/>
                  </a:lnTo>
                  <a:lnTo>
                    <a:pt x="17" y="0"/>
                  </a:lnTo>
                  <a:lnTo>
                    <a:pt x="0" y="1769"/>
                  </a:lnTo>
                  <a:lnTo>
                    <a:pt x="200" y="1769"/>
                  </a:lnTo>
                  <a:close/>
                </a:path>
              </a:pathLst>
            </a:custGeom>
            <a:solidFill>
              <a:srgbClr val="DAAA7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52" name="Freeform 499">
              <a:extLst>
                <a:ext uri="{FF2B5EF4-FFF2-40B4-BE49-F238E27FC236}">
                  <a16:creationId xmlns:a16="http://schemas.microsoft.com/office/drawing/2014/main" id="{4A03ADC6-CA88-66DB-A647-F659BD796209}"/>
                </a:ext>
              </a:extLst>
            </p:cNvPr>
            <p:cNvSpPr>
              <a:spLocks/>
            </p:cNvSpPr>
            <p:nvPr/>
          </p:nvSpPr>
          <p:spPr bwMode="auto">
            <a:xfrm>
              <a:off x="11630025" y="3395663"/>
              <a:ext cx="69850" cy="60325"/>
            </a:xfrm>
            <a:custGeom>
              <a:avLst/>
              <a:gdLst>
                <a:gd name="T0" fmla="*/ 2147483646 w 132"/>
                <a:gd name="T1" fmla="*/ 0 h 115"/>
                <a:gd name="T2" fmla="*/ 2147483646 w 132"/>
                <a:gd name="T3" fmla="*/ 2147483646 h 115"/>
                <a:gd name="T4" fmla="*/ 0 w 132"/>
                <a:gd name="T5" fmla="*/ 2147483646 h 115"/>
                <a:gd name="T6" fmla="*/ 2147483646 w 132"/>
                <a:gd name="T7" fmla="*/ 2147483646 h 115"/>
                <a:gd name="T8" fmla="*/ 2147483646 w 132"/>
                <a:gd name="T9" fmla="*/ 0 h 1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2" h="115">
                  <a:moveTo>
                    <a:pt x="128" y="0"/>
                  </a:moveTo>
                  <a:lnTo>
                    <a:pt x="1" y="10"/>
                  </a:lnTo>
                  <a:lnTo>
                    <a:pt x="0" y="107"/>
                  </a:lnTo>
                  <a:lnTo>
                    <a:pt x="132" y="115"/>
                  </a:lnTo>
                  <a:lnTo>
                    <a:pt x="128" y="0"/>
                  </a:lnTo>
                  <a:close/>
                </a:path>
              </a:pathLst>
            </a:custGeom>
            <a:solidFill>
              <a:srgbClr val="9C250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53" name="Freeform 500">
              <a:extLst>
                <a:ext uri="{FF2B5EF4-FFF2-40B4-BE49-F238E27FC236}">
                  <a16:creationId xmlns:a16="http://schemas.microsoft.com/office/drawing/2014/main" id="{8D32B931-363F-1C5F-82FA-A23D920DB6C1}"/>
                </a:ext>
              </a:extLst>
            </p:cNvPr>
            <p:cNvSpPr>
              <a:spLocks/>
            </p:cNvSpPr>
            <p:nvPr/>
          </p:nvSpPr>
          <p:spPr bwMode="auto">
            <a:xfrm>
              <a:off x="11628438" y="3489326"/>
              <a:ext cx="74613" cy="66675"/>
            </a:xfrm>
            <a:custGeom>
              <a:avLst/>
              <a:gdLst>
                <a:gd name="T0" fmla="*/ 2147483646 w 140"/>
                <a:gd name="T1" fmla="*/ 0 h 126"/>
                <a:gd name="T2" fmla="*/ 2147483646 w 140"/>
                <a:gd name="T3" fmla="*/ 2147483646 h 126"/>
                <a:gd name="T4" fmla="*/ 0 w 140"/>
                <a:gd name="T5" fmla="*/ 2147483646 h 126"/>
                <a:gd name="T6" fmla="*/ 2147483646 w 140"/>
                <a:gd name="T7" fmla="*/ 2147483646 h 126"/>
                <a:gd name="T8" fmla="*/ 2147483646 w 140"/>
                <a:gd name="T9" fmla="*/ 0 h 1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0" h="126">
                  <a:moveTo>
                    <a:pt x="136" y="0"/>
                  </a:moveTo>
                  <a:lnTo>
                    <a:pt x="1" y="3"/>
                  </a:lnTo>
                  <a:lnTo>
                    <a:pt x="0" y="126"/>
                  </a:lnTo>
                  <a:lnTo>
                    <a:pt x="140" y="115"/>
                  </a:lnTo>
                  <a:lnTo>
                    <a:pt x="136" y="0"/>
                  </a:lnTo>
                  <a:close/>
                </a:path>
              </a:pathLst>
            </a:custGeom>
            <a:solidFill>
              <a:srgbClr val="9C250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54" name="Freeform 501">
              <a:extLst>
                <a:ext uri="{FF2B5EF4-FFF2-40B4-BE49-F238E27FC236}">
                  <a16:creationId xmlns:a16="http://schemas.microsoft.com/office/drawing/2014/main" id="{4F5365C4-4BD6-4485-BEAE-4F364BB19360}"/>
                </a:ext>
              </a:extLst>
            </p:cNvPr>
            <p:cNvSpPr>
              <a:spLocks/>
            </p:cNvSpPr>
            <p:nvPr/>
          </p:nvSpPr>
          <p:spPr bwMode="auto">
            <a:xfrm>
              <a:off x="11622088" y="3857626"/>
              <a:ext cx="106363" cy="417513"/>
            </a:xfrm>
            <a:custGeom>
              <a:avLst/>
              <a:gdLst>
                <a:gd name="T0" fmla="*/ 2147483646 w 200"/>
                <a:gd name="T1" fmla="*/ 2147483646 h 790"/>
                <a:gd name="T2" fmla="*/ 0 w 200"/>
                <a:gd name="T3" fmla="*/ 2147483646 h 790"/>
                <a:gd name="T4" fmla="*/ 2147483646 w 200"/>
                <a:gd name="T5" fmla="*/ 2147483646 h 790"/>
                <a:gd name="T6" fmla="*/ 2147483646 w 200"/>
                <a:gd name="T7" fmla="*/ 0 h 790"/>
                <a:gd name="T8" fmla="*/ 2147483646 w 200"/>
                <a:gd name="T9" fmla="*/ 0 h 790"/>
                <a:gd name="T10" fmla="*/ 2147483646 w 200"/>
                <a:gd name="T11" fmla="*/ 2147483646 h 790"/>
                <a:gd name="T12" fmla="*/ 2147483646 w 200"/>
                <a:gd name="T13" fmla="*/ 2147483646 h 790"/>
                <a:gd name="T14" fmla="*/ 2147483646 w 200"/>
                <a:gd name="T15" fmla="*/ 2147483646 h 790"/>
                <a:gd name="T16" fmla="*/ 2147483646 w 200"/>
                <a:gd name="T17" fmla="*/ 2147483646 h 790"/>
                <a:gd name="T18" fmla="*/ 2147483646 w 200"/>
                <a:gd name="T19" fmla="*/ 2147483646 h 79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0" h="790">
                  <a:moveTo>
                    <a:pt x="6" y="198"/>
                  </a:moveTo>
                  <a:lnTo>
                    <a:pt x="0" y="790"/>
                  </a:lnTo>
                  <a:lnTo>
                    <a:pt x="200" y="790"/>
                  </a:lnTo>
                  <a:lnTo>
                    <a:pt x="173" y="0"/>
                  </a:lnTo>
                  <a:lnTo>
                    <a:pt x="133" y="51"/>
                  </a:lnTo>
                  <a:lnTo>
                    <a:pt x="92" y="100"/>
                  </a:lnTo>
                  <a:lnTo>
                    <a:pt x="49" y="150"/>
                  </a:lnTo>
                  <a:lnTo>
                    <a:pt x="6" y="198"/>
                  </a:lnTo>
                  <a:close/>
                </a:path>
              </a:pathLst>
            </a:custGeom>
            <a:solidFill>
              <a:srgbClr val="B76E5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55" name="Freeform 502">
              <a:extLst>
                <a:ext uri="{FF2B5EF4-FFF2-40B4-BE49-F238E27FC236}">
                  <a16:creationId xmlns:a16="http://schemas.microsoft.com/office/drawing/2014/main" id="{F701F3FA-4E4B-670A-ACC1-ABBC9F70BFEB}"/>
                </a:ext>
              </a:extLst>
            </p:cNvPr>
            <p:cNvSpPr>
              <a:spLocks/>
            </p:cNvSpPr>
            <p:nvPr/>
          </p:nvSpPr>
          <p:spPr bwMode="auto">
            <a:xfrm>
              <a:off x="10455275" y="4035426"/>
              <a:ext cx="635000" cy="247650"/>
            </a:xfrm>
            <a:custGeom>
              <a:avLst/>
              <a:gdLst>
                <a:gd name="T0" fmla="*/ 2147483646 w 1200"/>
                <a:gd name="T1" fmla="*/ 2147483646 h 469"/>
                <a:gd name="T2" fmla="*/ 2147483646 w 1200"/>
                <a:gd name="T3" fmla="*/ 0 h 469"/>
                <a:gd name="T4" fmla="*/ 0 w 1200"/>
                <a:gd name="T5" fmla="*/ 2147483646 h 469"/>
                <a:gd name="T6" fmla="*/ 2147483646 w 1200"/>
                <a:gd name="T7" fmla="*/ 2147483646 h 469"/>
                <a:gd name="T8" fmla="*/ 2147483646 w 1200"/>
                <a:gd name="T9" fmla="*/ 2147483646 h 46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00" h="469">
                  <a:moveTo>
                    <a:pt x="1200" y="453"/>
                  </a:moveTo>
                  <a:lnTo>
                    <a:pt x="1006" y="0"/>
                  </a:lnTo>
                  <a:lnTo>
                    <a:pt x="0" y="147"/>
                  </a:lnTo>
                  <a:lnTo>
                    <a:pt x="12" y="469"/>
                  </a:lnTo>
                  <a:lnTo>
                    <a:pt x="1200" y="453"/>
                  </a:lnTo>
                  <a:close/>
                </a:path>
              </a:pathLst>
            </a:custGeom>
            <a:solidFill>
              <a:srgbClr val="B76E5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56" name="Freeform 503">
              <a:extLst>
                <a:ext uri="{FF2B5EF4-FFF2-40B4-BE49-F238E27FC236}">
                  <a16:creationId xmlns:a16="http://schemas.microsoft.com/office/drawing/2014/main" id="{2C5C1389-61D9-D8B7-4479-8931B56F5396}"/>
                </a:ext>
              </a:extLst>
            </p:cNvPr>
            <p:cNvSpPr>
              <a:spLocks/>
            </p:cNvSpPr>
            <p:nvPr/>
          </p:nvSpPr>
          <p:spPr bwMode="auto">
            <a:xfrm>
              <a:off x="10439400" y="4029076"/>
              <a:ext cx="431800" cy="90488"/>
            </a:xfrm>
            <a:custGeom>
              <a:avLst/>
              <a:gdLst>
                <a:gd name="T0" fmla="*/ 2147483646 w 814"/>
                <a:gd name="T1" fmla="*/ 2147483646 h 171"/>
                <a:gd name="T2" fmla="*/ 2147483646 w 814"/>
                <a:gd name="T3" fmla="*/ 2147483646 h 171"/>
                <a:gd name="T4" fmla="*/ 2147483646 w 814"/>
                <a:gd name="T5" fmla="*/ 0 h 171"/>
                <a:gd name="T6" fmla="*/ 0 w 814"/>
                <a:gd name="T7" fmla="*/ 2147483646 h 171"/>
                <a:gd name="T8" fmla="*/ 2147483646 w 814"/>
                <a:gd name="T9" fmla="*/ 2147483646 h 17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14" h="171">
                  <a:moveTo>
                    <a:pt x="14" y="171"/>
                  </a:moveTo>
                  <a:lnTo>
                    <a:pt x="814" y="48"/>
                  </a:lnTo>
                  <a:lnTo>
                    <a:pt x="810" y="0"/>
                  </a:lnTo>
                  <a:lnTo>
                    <a:pt x="0" y="136"/>
                  </a:lnTo>
                  <a:lnTo>
                    <a:pt x="14" y="171"/>
                  </a:lnTo>
                  <a:close/>
                </a:path>
              </a:pathLst>
            </a:custGeom>
            <a:solidFill>
              <a:srgbClr val="80263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57" name="Freeform 504">
              <a:extLst>
                <a:ext uri="{FF2B5EF4-FFF2-40B4-BE49-F238E27FC236}">
                  <a16:creationId xmlns:a16="http://schemas.microsoft.com/office/drawing/2014/main" id="{0C1B2DDB-F523-EECD-8172-48885E984834}"/>
                </a:ext>
              </a:extLst>
            </p:cNvPr>
            <p:cNvSpPr>
              <a:spLocks/>
            </p:cNvSpPr>
            <p:nvPr/>
          </p:nvSpPr>
          <p:spPr bwMode="auto">
            <a:xfrm>
              <a:off x="10621963" y="4132263"/>
              <a:ext cx="58738" cy="36513"/>
            </a:xfrm>
            <a:custGeom>
              <a:avLst/>
              <a:gdLst>
                <a:gd name="T0" fmla="*/ 2147483646 w 111"/>
                <a:gd name="T1" fmla="*/ 2147483646 h 67"/>
                <a:gd name="T2" fmla="*/ 2147483646 w 111"/>
                <a:gd name="T3" fmla="*/ 2147483646 h 67"/>
                <a:gd name="T4" fmla="*/ 0 w 111"/>
                <a:gd name="T5" fmla="*/ 0 h 67"/>
                <a:gd name="T6" fmla="*/ 2147483646 w 111"/>
                <a:gd name="T7" fmla="*/ 2147483646 h 67"/>
                <a:gd name="T8" fmla="*/ 2147483646 w 111"/>
                <a:gd name="T9" fmla="*/ 2147483646 h 6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1" h="67">
                  <a:moveTo>
                    <a:pt x="111" y="62"/>
                  </a:moveTo>
                  <a:lnTo>
                    <a:pt x="1" y="67"/>
                  </a:lnTo>
                  <a:lnTo>
                    <a:pt x="0" y="0"/>
                  </a:lnTo>
                  <a:lnTo>
                    <a:pt x="111" y="4"/>
                  </a:lnTo>
                  <a:lnTo>
                    <a:pt x="111" y="62"/>
                  </a:lnTo>
                  <a:close/>
                </a:path>
              </a:pathLst>
            </a:custGeom>
            <a:solidFill>
              <a:srgbClr val="2F5D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58" name="Freeform 505">
              <a:extLst>
                <a:ext uri="{FF2B5EF4-FFF2-40B4-BE49-F238E27FC236}">
                  <a16:creationId xmlns:a16="http://schemas.microsoft.com/office/drawing/2014/main" id="{C3C3D263-1999-4E81-753C-8D2F85C1C01B}"/>
                </a:ext>
              </a:extLst>
            </p:cNvPr>
            <p:cNvSpPr>
              <a:spLocks/>
            </p:cNvSpPr>
            <p:nvPr/>
          </p:nvSpPr>
          <p:spPr bwMode="auto">
            <a:xfrm>
              <a:off x="10553700" y="4132263"/>
              <a:ext cx="58738" cy="36513"/>
            </a:xfrm>
            <a:custGeom>
              <a:avLst/>
              <a:gdLst>
                <a:gd name="T0" fmla="*/ 0 w 111"/>
                <a:gd name="T1" fmla="*/ 2147483646 h 67"/>
                <a:gd name="T2" fmla="*/ 2147483646 w 111"/>
                <a:gd name="T3" fmla="*/ 0 h 67"/>
                <a:gd name="T4" fmla="*/ 2147483646 w 111"/>
                <a:gd name="T5" fmla="*/ 2147483646 h 67"/>
                <a:gd name="T6" fmla="*/ 2147483646 w 111"/>
                <a:gd name="T7" fmla="*/ 2147483646 h 67"/>
                <a:gd name="T8" fmla="*/ 0 w 111"/>
                <a:gd name="T9" fmla="*/ 2147483646 h 6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1" h="67">
                  <a:moveTo>
                    <a:pt x="0" y="4"/>
                  </a:moveTo>
                  <a:lnTo>
                    <a:pt x="109" y="0"/>
                  </a:lnTo>
                  <a:lnTo>
                    <a:pt x="111" y="67"/>
                  </a:lnTo>
                  <a:lnTo>
                    <a:pt x="2" y="61"/>
                  </a:lnTo>
                  <a:lnTo>
                    <a:pt x="0" y="4"/>
                  </a:lnTo>
                  <a:close/>
                </a:path>
              </a:pathLst>
            </a:custGeom>
            <a:solidFill>
              <a:srgbClr val="2F5D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59" name="Freeform 506">
              <a:extLst>
                <a:ext uri="{FF2B5EF4-FFF2-40B4-BE49-F238E27FC236}">
                  <a16:creationId xmlns:a16="http://schemas.microsoft.com/office/drawing/2014/main" id="{3BB243FF-B618-9E8C-C580-D5E18DDB94AE}"/>
                </a:ext>
              </a:extLst>
            </p:cNvPr>
            <p:cNvSpPr>
              <a:spLocks/>
            </p:cNvSpPr>
            <p:nvPr/>
          </p:nvSpPr>
          <p:spPr bwMode="auto">
            <a:xfrm>
              <a:off x="10691813" y="4132263"/>
              <a:ext cx="58738" cy="36513"/>
            </a:xfrm>
            <a:custGeom>
              <a:avLst/>
              <a:gdLst>
                <a:gd name="T0" fmla="*/ 0 w 111"/>
                <a:gd name="T1" fmla="*/ 2147483646 h 67"/>
                <a:gd name="T2" fmla="*/ 2147483646 w 111"/>
                <a:gd name="T3" fmla="*/ 0 h 67"/>
                <a:gd name="T4" fmla="*/ 2147483646 w 111"/>
                <a:gd name="T5" fmla="*/ 2147483646 h 67"/>
                <a:gd name="T6" fmla="*/ 2147483646 w 111"/>
                <a:gd name="T7" fmla="*/ 2147483646 h 67"/>
                <a:gd name="T8" fmla="*/ 0 w 111"/>
                <a:gd name="T9" fmla="*/ 2147483646 h 6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1" h="67">
                  <a:moveTo>
                    <a:pt x="0" y="4"/>
                  </a:moveTo>
                  <a:lnTo>
                    <a:pt x="109" y="0"/>
                  </a:lnTo>
                  <a:lnTo>
                    <a:pt x="111" y="67"/>
                  </a:lnTo>
                  <a:lnTo>
                    <a:pt x="2" y="61"/>
                  </a:lnTo>
                  <a:lnTo>
                    <a:pt x="0" y="4"/>
                  </a:lnTo>
                  <a:close/>
                </a:path>
              </a:pathLst>
            </a:custGeom>
            <a:solidFill>
              <a:srgbClr val="2F5D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60" name="Freeform 507">
              <a:extLst>
                <a:ext uri="{FF2B5EF4-FFF2-40B4-BE49-F238E27FC236}">
                  <a16:creationId xmlns:a16="http://schemas.microsoft.com/office/drawing/2014/main" id="{BC2B5DE6-FD08-FCF4-6EAD-90197985E488}"/>
                </a:ext>
              </a:extLst>
            </p:cNvPr>
            <p:cNvSpPr>
              <a:spLocks/>
            </p:cNvSpPr>
            <p:nvPr/>
          </p:nvSpPr>
          <p:spPr bwMode="auto">
            <a:xfrm>
              <a:off x="9640888" y="3233738"/>
              <a:ext cx="900113" cy="1052513"/>
            </a:xfrm>
            <a:custGeom>
              <a:avLst/>
              <a:gdLst>
                <a:gd name="T0" fmla="*/ 2147483646 w 1700"/>
                <a:gd name="T1" fmla="*/ 2147483646 h 1988"/>
                <a:gd name="T2" fmla="*/ 0 w 1700"/>
                <a:gd name="T3" fmla="*/ 2147483646 h 1988"/>
                <a:gd name="T4" fmla="*/ 0 w 1700"/>
                <a:gd name="T5" fmla="*/ 2147483646 h 1988"/>
                <a:gd name="T6" fmla="*/ 2147483646 w 1700"/>
                <a:gd name="T7" fmla="*/ 2147483646 h 1988"/>
                <a:gd name="T8" fmla="*/ 2147483646 w 1700"/>
                <a:gd name="T9" fmla="*/ 2147483646 h 1988"/>
                <a:gd name="T10" fmla="*/ 2147483646 w 1700"/>
                <a:gd name="T11" fmla="*/ 2147483646 h 1988"/>
                <a:gd name="T12" fmla="*/ 2147483646 w 1700"/>
                <a:gd name="T13" fmla="*/ 2147483646 h 1988"/>
                <a:gd name="T14" fmla="*/ 2147483646 w 1700"/>
                <a:gd name="T15" fmla="*/ 2147483646 h 1988"/>
                <a:gd name="T16" fmla="*/ 2147483646 w 1700"/>
                <a:gd name="T17" fmla="*/ 2147483646 h 1988"/>
                <a:gd name="T18" fmla="*/ 2147483646 w 1700"/>
                <a:gd name="T19" fmla="*/ 2147483646 h 1988"/>
                <a:gd name="T20" fmla="*/ 2147483646 w 1700"/>
                <a:gd name="T21" fmla="*/ 2147483646 h 1988"/>
                <a:gd name="T22" fmla="*/ 2147483646 w 1700"/>
                <a:gd name="T23" fmla="*/ 2147483646 h 1988"/>
                <a:gd name="T24" fmla="*/ 2147483646 w 1700"/>
                <a:gd name="T25" fmla="*/ 2147483646 h 1988"/>
                <a:gd name="T26" fmla="*/ 2147483646 w 1700"/>
                <a:gd name="T27" fmla="*/ 2147483646 h 1988"/>
                <a:gd name="T28" fmla="*/ 2147483646 w 1700"/>
                <a:gd name="T29" fmla="*/ 2147483646 h 1988"/>
                <a:gd name="T30" fmla="*/ 2147483646 w 1700"/>
                <a:gd name="T31" fmla="*/ 2147483646 h 1988"/>
                <a:gd name="T32" fmla="*/ 2147483646 w 1700"/>
                <a:gd name="T33" fmla="*/ 2147483646 h 1988"/>
                <a:gd name="T34" fmla="*/ 2147483646 w 1700"/>
                <a:gd name="T35" fmla="*/ 2147483646 h 1988"/>
                <a:gd name="T36" fmla="*/ 2147483646 w 1700"/>
                <a:gd name="T37" fmla="*/ 2147483646 h 1988"/>
                <a:gd name="T38" fmla="*/ 2147483646 w 1700"/>
                <a:gd name="T39" fmla="*/ 2147483646 h 1988"/>
                <a:gd name="T40" fmla="*/ 2147483646 w 1700"/>
                <a:gd name="T41" fmla="*/ 2147483646 h 1988"/>
                <a:gd name="T42" fmla="*/ 2147483646 w 1700"/>
                <a:gd name="T43" fmla="*/ 2147483646 h 1988"/>
                <a:gd name="T44" fmla="*/ 2147483646 w 1700"/>
                <a:gd name="T45" fmla="*/ 2147483646 h 1988"/>
                <a:gd name="T46" fmla="*/ 2147483646 w 1700"/>
                <a:gd name="T47" fmla="*/ 2147483646 h 1988"/>
                <a:gd name="T48" fmla="*/ 2147483646 w 1700"/>
                <a:gd name="T49" fmla="*/ 0 h 1988"/>
                <a:gd name="T50" fmla="*/ 2147483646 w 1700"/>
                <a:gd name="T51" fmla="*/ 0 h 1988"/>
                <a:gd name="T52" fmla="*/ 2147483646 w 1700"/>
                <a:gd name="T53" fmla="*/ 0 h 1988"/>
                <a:gd name="T54" fmla="*/ 2147483646 w 1700"/>
                <a:gd name="T55" fmla="*/ 2147483646 h 1988"/>
                <a:gd name="T56" fmla="*/ 2147483646 w 1700"/>
                <a:gd name="T57" fmla="*/ 2147483646 h 1988"/>
                <a:gd name="T58" fmla="*/ 2147483646 w 1700"/>
                <a:gd name="T59" fmla="*/ 2147483646 h 1988"/>
                <a:gd name="T60" fmla="*/ 2147483646 w 1700"/>
                <a:gd name="T61" fmla="*/ 2147483646 h 1988"/>
                <a:gd name="T62" fmla="*/ 2147483646 w 1700"/>
                <a:gd name="T63" fmla="*/ 2147483646 h 1988"/>
                <a:gd name="T64" fmla="*/ 2147483646 w 1700"/>
                <a:gd name="T65" fmla="*/ 2147483646 h 1988"/>
                <a:gd name="T66" fmla="*/ 2147483646 w 1700"/>
                <a:gd name="T67" fmla="*/ 2147483646 h 1988"/>
                <a:gd name="T68" fmla="*/ 2147483646 w 1700"/>
                <a:gd name="T69" fmla="*/ 2147483646 h 1988"/>
                <a:gd name="T70" fmla="*/ 2147483646 w 1700"/>
                <a:gd name="T71" fmla="*/ 2147483646 h 1988"/>
                <a:gd name="T72" fmla="*/ 2147483646 w 1700"/>
                <a:gd name="T73" fmla="*/ 2147483646 h 1988"/>
                <a:gd name="T74" fmla="*/ 2147483646 w 1700"/>
                <a:gd name="T75" fmla="*/ 2147483646 h 1988"/>
                <a:gd name="T76" fmla="*/ 2147483646 w 1700"/>
                <a:gd name="T77" fmla="*/ 2147483646 h 1988"/>
                <a:gd name="T78" fmla="*/ 2147483646 w 1700"/>
                <a:gd name="T79" fmla="*/ 2147483646 h 1988"/>
                <a:gd name="T80" fmla="*/ 2147483646 w 1700"/>
                <a:gd name="T81" fmla="*/ 2147483646 h 1988"/>
                <a:gd name="T82" fmla="*/ 2147483646 w 1700"/>
                <a:gd name="T83" fmla="*/ 2147483646 h 1988"/>
                <a:gd name="T84" fmla="*/ 2147483646 w 1700"/>
                <a:gd name="T85" fmla="*/ 2147483646 h 1988"/>
                <a:gd name="T86" fmla="*/ 2147483646 w 1700"/>
                <a:gd name="T87" fmla="*/ 2147483646 h 1988"/>
                <a:gd name="T88" fmla="*/ 2147483646 w 1700"/>
                <a:gd name="T89" fmla="*/ 2147483646 h 1988"/>
                <a:gd name="T90" fmla="*/ 2147483646 w 1700"/>
                <a:gd name="T91" fmla="*/ 2147483646 h 1988"/>
                <a:gd name="T92" fmla="*/ 2147483646 w 1700"/>
                <a:gd name="T93" fmla="*/ 2147483646 h 1988"/>
                <a:gd name="T94" fmla="*/ 2147483646 w 1700"/>
                <a:gd name="T95" fmla="*/ 2147483646 h 1988"/>
                <a:gd name="T96" fmla="*/ 2147483646 w 1700"/>
                <a:gd name="T97" fmla="*/ 2147483646 h 1988"/>
                <a:gd name="T98" fmla="*/ 2147483646 w 1700"/>
                <a:gd name="T99" fmla="*/ 2147483646 h 1988"/>
                <a:gd name="T100" fmla="*/ 2147483646 w 1700"/>
                <a:gd name="T101" fmla="*/ 2147483646 h 198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700" h="1988">
                  <a:moveTo>
                    <a:pt x="1700" y="1988"/>
                  </a:moveTo>
                  <a:lnTo>
                    <a:pt x="0" y="1988"/>
                  </a:lnTo>
                  <a:lnTo>
                    <a:pt x="56" y="1782"/>
                  </a:lnTo>
                  <a:lnTo>
                    <a:pt x="113" y="1566"/>
                  </a:lnTo>
                  <a:lnTo>
                    <a:pt x="180" y="1316"/>
                  </a:lnTo>
                  <a:lnTo>
                    <a:pt x="246" y="1059"/>
                  </a:lnTo>
                  <a:lnTo>
                    <a:pt x="277" y="937"/>
                  </a:lnTo>
                  <a:lnTo>
                    <a:pt x="305" y="823"/>
                  </a:lnTo>
                  <a:lnTo>
                    <a:pt x="328" y="723"/>
                  </a:lnTo>
                  <a:lnTo>
                    <a:pt x="345" y="638"/>
                  </a:lnTo>
                  <a:lnTo>
                    <a:pt x="357" y="574"/>
                  </a:lnTo>
                  <a:lnTo>
                    <a:pt x="360" y="551"/>
                  </a:lnTo>
                  <a:lnTo>
                    <a:pt x="361" y="534"/>
                  </a:lnTo>
                  <a:lnTo>
                    <a:pt x="360" y="503"/>
                  </a:lnTo>
                  <a:lnTo>
                    <a:pt x="356" y="468"/>
                  </a:lnTo>
                  <a:lnTo>
                    <a:pt x="349" y="430"/>
                  </a:lnTo>
                  <a:lnTo>
                    <a:pt x="341" y="388"/>
                  </a:lnTo>
                  <a:lnTo>
                    <a:pt x="332" y="345"/>
                  </a:lnTo>
                  <a:lnTo>
                    <a:pt x="322" y="300"/>
                  </a:lnTo>
                  <a:lnTo>
                    <a:pt x="300" y="211"/>
                  </a:lnTo>
                  <a:lnTo>
                    <a:pt x="277" y="130"/>
                  </a:lnTo>
                  <a:lnTo>
                    <a:pt x="257" y="63"/>
                  </a:lnTo>
                  <a:lnTo>
                    <a:pt x="238" y="0"/>
                  </a:lnTo>
                  <a:lnTo>
                    <a:pt x="1462" y="0"/>
                  </a:lnTo>
                  <a:lnTo>
                    <a:pt x="1444" y="61"/>
                  </a:lnTo>
                  <a:lnTo>
                    <a:pt x="1426" y="127"/>
                  </a:lnTo>
                  <a:lnTo>
                    <a:pt x="1404" y="209"/>
                  </a:lnTo>
                  <a:lnTo>
                    <a:pt x="1383" y="297"/>
                  </a:lnTo>
                  <a:lnTo>
                    <a:pt x="1372" y="343"/>
                  </a:lnTo>
                  <a:lnTo>
                    <a:pt x="1364" y="387"/>
                  </a:lnTo>
                  <a:lnTo>
                    <a:pt x="1356" y="431"/>
                  </a:lnTo>
                  <a:lnTo>
                    <a:pt x="1351" y="471"/>
                  </a:lnTo>
                  <a:lnTo>
                    <a:pt x="1347" y="510"/>
                  </a:lnTo>
                  <a:lnTo>
                    <a:pt x="1345" y="545"/>
                  </a:lnTo>
                  <a:lnTo>
                    <a:pt x="1347" y="563"/>
                  </a:lnTo>
                  <a:lnTo>
                    <a:pt x="1349" y="589"/>
                  </a:lnTo>
                  <a:lnTo>
                    <a:pt x="1355" y="620"/>
                  </a:lnTo>
                  <a:lnTo>
                    <a:pt x="1361" y="655"/>
                  </a:lnTo>
                  <a:lnTo>
                    <a:pt x="1379" y="740"/>
                  </a:lnTo>
                  <a:lnTo>
                    <a:pt x="1402" y="842"/>
                  </a:lnTo>
                  <a:lnTo>
                    <a:pt x="1428" y="954"/>
                  </a:lnTo>
                  <a:lnTo>
                    <a:pt x="1458" y="1076"/>
                  </a:lnTo>
                  <a:lnTo>
                    <a:pt x="1523" y="1329"/>
                  </a:lnTo>
                  <a:lnTo>
                    <a:pt x="1588" y="1576"/>
                  </a:lnTo>
                  <a:lnTo>
                    <a:pt x="1645" y="1786"/>
                  </a:lnTo>
                  <a:lnTo>
                    <a:pt x="1700" y="1988"/>
                  </a:lnTo>
                  <a:close/>
                </a:path>
              </a:pathLst>
            </a:custGeom>
            <a:solidFill>
              <a:srgbClr val="F3D1A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61" name="Freeform 508">
              <a:extLst>
                <a:ext uri="{FF2B5EF4-FFF2-40B4-BE49-F238E27FC236}">
                  <a16:creationId xmlns:a16="http://schemas.microsoft.com/office/drawing/2014/main" id="{C48324FC-DC76-EE53-081F-CDBD26843B7A}"/>
                </a:ext>
              </a:extLst>
            </p:cNvPr>
            <p:cNvSpPr>
              <a:spLocks/>
            </p:cNvSpPr>
            <p:nvPr/>
          </p:nvSpPr>
          <p:spPr bwMode="auto">
            <a:xfrm>
              <a:off x="10042525" y="3233738"/>
              <a:ext cx="350838" cy="1052513"/>
            </a:xfrm>
            <a:custGeom>
              <a:avLst/>
              <a:gdLst>
                <a:gd name="T0" fmla="*/ 2147483646 w 664"/>
                <a:gd name="T1" fmla="*/ 0 h 1988"/>
                <a:gd name="T2" fmla="*/ 0 w 664"/>
                <a:gd name="T3" fmla="*/ 2147483646 h 1988"/>
                <a:gd name="T4" fmla="*/ 2147483646 w 664"/>
                <a:gd name="T5" fmla="*/ 2147483646 h 1988"/>
                <a:gd name="T6" fmla="*/ 2147483646 w 664"/>
                <a:gd name="T7" fmla="*/ 0 h 1988"/>
                <a:gd name="T8" fmla="*/ 2147483646 w 664"/>
                <a:gd name="T9" fmla="*/ 0 h 19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64" h="1988">
                  <a:moveTo>
                    <a:pt x="105" y="0"/>
                  </a:moveTo>
                  <a:lnTo>
                    <a:pt x="0" y="1988"/>
                  </a:lnTo>
                  <a:lnTo>
                    <a:pt x="664" y="1988"/>
                  </a:lnTo>
                  <a:lnTo>
                    <a:pt x="424" y="0"/>
                  </a:lnTo>
                  <a:lnTo>
                    <a:pt x="105" y="0"/>
                  </a:lnTo>
                  <a:close/>
                </a:path>
              </a:pathLst>
            </a:custGeom>
            <a:solidFill>
              <a:srgbClr val="DFB89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62" name="Freeform 509">
              <a:extLst>
                <a:ext uri="{FF2B5EF4-FFF2-40B4-BE49-F238E27FC236}">
                  <a16:creationId xmlns:a16="http://schemas.microsoft.com/office/drawing/2014/main" id="{C0C4B0BA-329D-8981-EEFC-B450BAB4582C}"/>
                </a:ext>
              </a:extLst>
            </p:cNvPr>
            <p:cNvSpPr>
              <a:spLocks/>
            </p:cNvSpPr>
            <p:nvPr/>
          </p:nvSpPr>
          <p:spPr bwMode="auto">
            <a:xfrm>
              <a:off x="10266363" y="3233738"/>
              <a:ext cx="274638" cy="1052513"/>
            </a:xfrm>
            <a:custGeom>
              <a:avLst/>
              <a:gdLst>
                <a:gd name="T0" fmla="*/ 2147483646 w 518"/>
                <a:gd name="T1" fmla="*/ 2147483646 h 1988"/>
                <a:gd name="T2" fmla="*/ 2147483646 w 518"/>
                <a:gd name="T3" fmla="*/ 2147483646 h 1988"/>
                <a:gd name="T4" fmla="*/ 2147483646 w 518"/>
                <a:gd name="T5" fmla="*/ 2147483646 h 1988"/>
                <a:gd name="T6" fmla="*/ 2147483646 w 518"/>
                <a:gd name="T7" fmla="*/ 2147483646 h 1988"/>
                <a:gd name="T8" fmla="*/ 2147483646 w 518"/>
                <a:gd name="T9" fmla="*/ 2147483646 h 1988"/>
                <a:gd name="T10" fmla="*/ 2147483646 w 518"/>
                <a:gd name="T11" fmla="*/ 2147483646 h 1988"/>
                <a:gd name="T12" fmla="*/ 2147483646 w 518"/>
                <a:gd name="T13" fmla="*/ 2147483646 h 1988"/>
                <a:gd name="T14" fmla="*/ 2147483646 w 518"/>
                <a:gd name="T15" fmla="*/ 2147483646 h 1988"/>
                <a:gd name="T16" fmla="*/ 2147483646 w 518"/>
                <a:gd name="T17" fmla="*/ 2147483646 h 1988"/>
                <a:gd name="T18" fmla="*/ 2147483646 w 518"/>
                <a:gd name="T19" fmla="*/ 2147483646 h 1988"/>
                <a:gd name="T20" fmla="*/ 2147483646 w 518"/>
                <a:gd name="T21" fmla="*/ 2147483646 h 1988"/>
                <a:gd name="T22" fmla="*/ 2147483646 w 518"/>
                <a:gd name="T23" fmla="*/ 0 h 1988"/>
                <a:gd name="T24" fmla="*/ 0 w 518"/>
                <a:gd name="T25" fmla="*/ 0 h 1988"/>
                <a:gd name="T26" fmla="*/ 2147483646 w 518"/>
                <a:gd name="T27" fmla="*/ 2147483646 h 1988"/>
                <a:gd name="T28" fmla="*/ 2147483646 w 518"/>
                <a:gd name="T29" fmla="*/ 2147483646 h 1988"/>
                <a:gd name="T30" fmla="*/ 2147483646 w 518"/>
                <a:gd name="T31" fmla="*/ 2147483646 h 1988"/>
                <a:gd name="T32" fmla="*/ 2147483646 w 518"/>
                <a:gd name="T33" fmla="*/ 2147483646 h 1988"/>
                <a:gd name="T34" fmla="*/ 2147483646 w 518"/>
                <a:gd name="T35" fmla="*/ 2147483646 h 1988"/>
                <a:gd name="T36" fmla="*/ 2147483646 w 518"/>
                <a:gd name="T37" fmla="*/ 2147483646 h 1988"/>
                <a:gd name="T38" fmla="*/ 2147483646 w 518"/>
                <a:gd name="T39" fmla="*/ 2147483646 h 1988"/>
                <a:gd name="T40" fmla="*/ 2147483646 w 518"/>
                <a:gd name="T41" fmla="*/ 2147483646 h 1988"/>
                <a:gd name="T42" fmla="*/ 2147483646 w 518"/>
                <a:gd name="T43" fmla="*/ 2147483646 h 1988"/>
                <a:gd name="T44" fmla="*/ 2147483646 w 518"/>
                <a:gd name="T45" fmla="*/ 2147483646 h 1988"/>
                <a:gd name="T46" fmla="*/ 2147483646 w 518"/>
                <a:gd name="T47" fmla="*/ 2147483646 h 1988"/>
                <a:gd name="T48" fmla="*/ 2147483646 w 518"/>
                <a:gd name="T49" fmla="*/ 2147483646 h 1988"/>
                <a:gd name="T50" fmla="*/ 2147483646 w 518"/>
                <a:gd name="T51" fmla="*/ 2147483646 h 1988"/>
                <a:gd name="T52" fmla="*/ 2147483646 w 518"/>
                <a:gd name="T53" fmla="*/ 2147483646 h 1988"/>
                <a:gd name="T54" fmla="*/ 2147483646 w 518"/>
                <a:gd name="T55" fmla="*/ 2147483646 h 1988"/>
                <a:gd name="T56" fmla="*/ 2147483646 w 518"/>
                <a:gd name="T57" fmla="*/ 2147483646 h 198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18" h="1988">
                  <a:moveTo>
                    <a:pt x="163" y="545"/>
                  </a:moveTo>
                  <a:lnTo>
                    <a:pt x="163" y="545"/>
                  </a:lnTo>
                  <a:lnTo>
                    <a:pt x="165" y="510"/>
                  </a:lnTo>
                  <a:lnTo>
                    <a:pt x="169" y="471"/>
                  </a:lnTo>
                  <a:lnTo>
                    <a:pt x="174" y="431"/>
                  </a:lnTo>
                  <a:lnTo>
                    <a:pt x="182" y="387"/>
                  </a:lnTo>
                  <a:lnTo>
                    <a:pt x="190" y="343"/>
                  </a:lnTo>
                  <a:lnTo>
                    <a:pt x="201" y="297"/>
                  </a:lnTo>
                  <a:lnTo>
                    <a:pt x="222" y="209"/>
                  </a:lnTo>
                  <a:lnTo>
                    <a:pt x="244" y="127"/>
                  </a:lnTo>
                  <a:lnTo>
                    <a:pt x="262" y="61"/>
                  </a:lnTo>
                  <a:lnTo>
                    <a:pt x="280" y="0"/>
                  </a:lnTo>
                  <a:lnTo>
                    <a:pt x="0" y="0"/>
                  </a:lnTo>
                  <a:lnTo>
                    <a:pt x="240" y="1988"/>
                  </a:lnTo>
                  <a:lnTo>
                    <a:pt x="518" y="1988"/>
                  </a:lnTo>
                  <a:lnTo>
                    <a:pt x="463" y="1786"/>
                  </a:lnTo>
                  <a:lnTo>
                    <a:pt x="406" y="1576"/>
                  </a:lnTo>
                  <a:lnTo>
                    <a:pt x="341" y="1329"/>
                  </a:lnTo>
                  <a:lnTo>
                    <a:pt x="276" y="1076"/>
                  </a:lnTo>
                  <a:lnTo>
                    <a:pt x="246" y="954"/>
                  </a:lnTo>
                  <a:lnTo>
                    <a:pt x="220" y="842"/>
                  </a:lnTo>
                  <a:lnTo>
                    <a:pt x="197" y="740"/>
                  </a:lnTo>
                  <a:lnTo>
                    <a:pt x="179" y="655"/>
                  </a:lnTo>
                  <a:lnTo>
                    <a:pt x="173" y="620"/>
                  </a:lnTo>
                  <a:lnTo>
                    <a:pt x="167" y="589"/>
                  </a:lnTo>
                  <a:lnTo>
                    <a:pt x="165" y="563"/>
                  </a:lnTo>
                  <a:lnTo>
                    <a:pt x="163" y="545"/>
                  </a:lnTo>
                  <a:close/>
                </a:path>
              </a:pathLst>
            </a:custGeom>
            <a:solidFill>
              <a:srgbClr val="F3D1A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63" name="Freeform 510">
              <a:extLst>
                <a:ext uri="{FF2B5EF4-FFF2-40B4-BE49-F238E27FC236}">
                  <a16:creationId xmlns:a16="http://schemas.microsoft.com/office/drawing/2014/main" id="{E7E9AC85-3A22-DDBE-042E-A77BD71FD2C3}"/>
                </a:ext>
              </a:extLst>
            </p:cNvPr>
            <p:cNvSpPr>
              <a:spLocks/>
            </p:cNvSpPr>
            <p:nvPr/>
          </p:nvSpPr>
          <p:spPr bwMode="auto">
            <a:xfrm>
              <a:off x="10801350" y="3902076"/>
              <a:ext cx="739775" cy="373063"/>
            </a:xfrm>
            <a:custGeom>
              <a:avLst/>
              <a:gdLst>
                <a:gd name="T0" fmla="*/ 2147483646 w 1397"/>
                <a:gd name="T1" fmla="*/ 2147483646 h 707"/>
                <a:gd name="T2" fmla="*/ 2147483646 w 1397"/>
                <a:gd name="T3" fmla="*/ 2147483646 h 707"/>
                <a:gd name="T4" fmla="*/ 2147483646 w 1397"/>
                <a:gd name="T5" fmla="*/ 0 h 707"/>
                <a:gd name="T6" fmla="*/ 0 w 1397"/>
                <a:gd name="T7" fmla="*/ 2147483646 h 707"/>
                <a:gd name="T8" fmla="*/ 2147483646 w 1397"/>
                <a:gd name="T9" fmla="*/ 2147483646 h 7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97" h="707">
                  <a:moveTo>
                    <a:pt x="1397" y="706"/>
                  </a:moveTo>
                  <a:lnTo>
                    <a:pt x="1395" y="374"/>
                  </a:lnTo>
                  <a:lnTo>
                    <a:pt x="9" y="0"/>
                  </a:lnTo>
                  <a:lnTo>
                    <a:pt x="0" y="707"/>
                  </a:lnTo>
                  <a:lnTo>
                    <a:pt x="1397" y="706"/>
                  </a:lnTo>
                  <a:close/>
                </a:path>
              </a:pathLst>
            </a:custGeom>
            <a:solidFill>
              <a:srgbClr val="D6B08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64" name="Freeform 511">
              <a:extLst>
                <a:ext uri="{FF2B5EF4-FFF2-40B4-BE49-F238E27FC236}">
                  <a16:creationId xmlns:a16="http://schemas.microsoft.com/office/drawing/2014/main" id="{A05C7B3F-4249-B26A-AAEB-74E5AE973172}"/>
                </a:ext>
              </a:extLst>
            </p:cNvPr>
            <p:cNvSpPr>
              <a:spLocks/>
            </p:cNvSpPr>
            <p:nvPr/>
          </p:nvSpPr>
          <p:spPr bwMode="auto">
            <a:xfrm>
              <a:off x="9767888" y="3201988"/>
              <a:ext cx="647700" cy="95250"/>
            </a:xfrm>
            <a:custGeom>
              <a:avLst/>
              <a:gdLst>
                <a:gd name="T0" fmla="*/ 0 w 1224"/>
                <a:gd name="T1" fmla="*/ 2147483646 h 180"/>
                <a:gd name="T2" fmla="*/ 0 w 1224"/>
                <a:gd name="T3" fmla="*/ 2147483646 h 180"/>
                <a:gd name="T4" fmla="*/ 2147483646 w 1224"/>
                <a:gd name="T5" fmla="*/ 2147483646 h 180"/>
                <a:gd name="T6" fmla="*/ 2147483646 w 1224"/>
                <a:gd name="T7" fmla="*/ 2147483646 h 180"/>
                <a:gd name="T8" fmla="*/ 2147483646 w 1224"/>
                <a:gd name="T9" fmla="*/ 2147483646 h 180"/>
                <a:gd name="T10" fmla="*/ 2147483646 w 1224"/>
                <a:gd name="T11" fmla="*/ 2147483646 h 180"/>
                <a:gd name="T12" fmla="*/ 2147483646 w 1224"/>
                <a:gd name="T13" fmla="*/ 2147483646 h 180"/>
                <a:gd name="T14" fmla="*/ 2147483646 w 1224"/>
                <a:gd name="T15" fmla="*/ 2147483646 h 180"/>
                <a:gd name="T16" fmla="*/ 2147483646 w 1224"/>
                <a:gd name="T17" fmla="*/ 2147483646 h 180"/>
                <a:gd name="T18" fmla="*/ 2147483646 w 1224"/>
                <a:gd name="T19" fmla="*/ 2147483646 h 180"/>
                <a:gd name="T20" fmla="*/ 2147483646 w 1224"/>
                <a:gd name="T21" fmla="*/ 2147483646 h 180"/>
                <a:gd name="T22" fmla="*/ 2147483646 w 1224"/>
                <a:gd name="T23" fmla="*/ 2147483646 h 180"/>
                <a:gd name="T24" fmla="*/ 2147483646 w 1224"/>
                <a:gd name="T25" fmla="*/ 2147483646 h 180"/>
                <a:gd name="T26" fmla="*/ 2147483646 w 1224"/>
                <a:gd name="T27" fmla="*/ 2147483646 h 180"/>
                <a:gd name="T28" fmla="*/ 2147483646 w 1224"/>
                <a:gd name="T29" fmla="*/ 2147483646 h 180"/>
                <a:gd name="T30" fmla="*/ 2147483646 w 1224"/>
                <a:gd name="T31" fmla="*/ 2147483646 h 180"/>
                <a:gd name="T32" fmla="*/ 2147483646 w 1224"/>
                <a:gd name="T33" fmla="*/ 2147483646 h 180"/>
                <a:gd name="T34" fmla="*/ 2147483646 w 1224"/>
                <a:gd name="T35" fmla="*/ 2147483646 h 180"/>
                <a:gd name="T36" fmla="*/ 2147483646 w 1224"/>
                <a:gd name="T37" fmla="*/ 2147483646 h 180"/>
                <a:gd name="T38" fmla="*/ 2147483646 w 1224"/>
                <a:gd name="T39" fmla="*/ 2147483646 h 180"/>
                <a:gd name="T40" fmla="*/ 2147483646 w 1224"/>
                <a:gd name="T41" fmla="*/ 2147483646 h 180"/>
                <a:gd name="T42" fmla="*/ 2147483646 w 1224"/>
                <a:gd name="T43" fmla="*/ 2147483646 h 180"/>
                <a:gd name="T44" fmla="*/ 2147483646 w 1224"/>
                <a:gd name="T45" fmla="*/ 2147483646 h 180"/>
                <a:gd name="T46" fmla="*/ 2147483646 w 1224"/>
                <a:gd name="T47" fmla="*/ 2147483646 h 180"/>
                <a:gd name="T48" fmla="*/ 2147483646 w 1224"/>
                <a:gd name="T49" fmla="*/ 2147483646 h 180"/>
                <a:gd name="T50" fmla="*/ 2147483646 w 1224"/>
                <a:gd name="T51" fmla="*/ 2147483646 h 180"/>
                <a:gd name="T52" fmla="*/ 2147483646 w 1224"/>
                <a:gd name="T53" fmla="*/ 2147483646 h 180"/>
                <a:gd name="T54" fmla="*/ 2147483646 w 1224"/>
                <a:gd name="T55" fmla="*/ 2147483646 h 180"/>
                <a:gd name="T56" fmla="*/ 2147483646 w 1224"/>
                <a:gd name="T57" fmla="*/ 2147483646 h 180"/>
                <a:gd name="T58" fmla="*/ 2147483646 w 1224"/>
                <a:gd name="T59" fmla="*/ 2147483646 h 180"/>
                <a:gd name="T60" fmla="*/ 2147483646 w 1224"/>
                <a:gd name="T61" fmla="*/ 2147483646 h 180"/>
                <a:gd name="T62" fmla="*/ 2147483646 w 1224"/>
                <a:gd name="T63" fmla="*/ 2147483646 h 180"/>
                <a:gd name="T64" fmla="*/ 2147483646 w 1224"/>
                <a:gd name="T65" fmla="*/ 2147483646 h 180"/>
                <a:gd name="T66" fmla="*/ 2147483646 w 1224"/>
                <a:gd name="T67" fmla="*/ 2147483646 h 180"/>
                <a:gd name="T68" fmla="*/ 2147483646 w 1224"/>
                <a:gd name="T69" fmla="*/ 2147483646 h 180"/>
                <a:gd name="T70" fmla="*/ 2147483646 w 1224"/>
                <a:gd name="T71" fmla="*/ 2147483646 h 180"/>
                <a:gd name="T72" fmla="*/ 2147483646 w 1224"/>
                <a:gd name="T73" fmla="*/ 2147483646 h 180"/>
                <a:gd name="T74" fmla="*/ 2147483646 w 1224"/>
                <a:gd name="T75" fmla="*/ 0 h 180"/>
                <a:gd name="T76" fmla="*/ 2147483646 w 1224"/>
                <a:gd name="T77" fmla="*/ 2147483646 h 180"/>
                <a:gd name="T78" fmla="*/ 2147483646 w 1224"/>
                <a:gd name="T79" fmla="*/ 2147483646 h 180"/>
                <a:gd name="T80" fmla="*/ 2147483646 w 1224"/>
                <a:gd name="T81" fmla="*/ 2147483646 h 180"/>
                <a:gd name="T82" fmla="*/ 2147483646 w 1224"/>
                <a:gd name="T83" fmla="*/ 2147483646 h 180"/>
                <a:gd name="T84" fmla="*/ 2147483646 w 1224"/>
                <a:gd name="T85" fmla="*/ 2147483646 h 180"/>
                <a:gd name="T86" fmla="*/ 2147483646 w 1224"/>
                <a:gd name="T87" fmla="*/ 2147483646 h 180"/>
                <a:gd name="T88" fmla="*/ 2147483646 w 1224"/>
                <a:gd name="T89" fmla="*/ 2147483646 h 180"/>
                <a:gd name="T90" fmla="*/ 2147483646 w 1224"/>
                <a:gd name="T91" fmla="*/ 2147483646 h 180"/>
                <a:gd name="T92" fmla="*/ 2147483646 w 1224"/>
                <a:gd name="T93" fmla="*/ 2147483646 h 180"/>
                <a:gd name="T94" fmla="*/ 0 w 1224"/>
                <a:gd name="T95" fmla="*/ 2147483646 h 180"/>
                <a:gd name="T96" fmla="*/ 0 w 1224"/>
                <a:gd name="T97" fmla="*/ 2147483646 h 18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224" h="180">
                  <a:moveTo>
                    <a:pt x="0" y="58"/>
                  </a:moveTo>
                  <a:lnTo>
                    <a:pt x="0" y="58"/>
                  </a:lnTo>
                  <a:lnTo>
                    <a:pt x="24" y="71"/>
                  </a:lnTo>
                  <a:lnTo>
                    <a:pt x="55" y="83"/>
                  </a:lnTo>
                  <a:lnTo>
                    <a:pt x="98" y="97"/>
                  </a:lnTo>
                  <a:lnTo>
                    <a:pt x="150" y="113"/>
                  </a:lnTo>
                  <a:lnTo>
                    <a:pt x="212" y="131"/>
                  </a:lnTo>
                  <a:lnTo>
                    <a:pt x="246" y="139"/>
                  </a:lnTo>
                  <a:lnTo>
                    <a:pt x="283" y="147"/>
                  </a:lnTo>
                  <a:lnTo>
                    <a:pt x="321" y="155"/>
                  </a:lnTo>
                  <a:lnTo>
                    <a:pt x="363" y="162"/>
                  </a:lnTo>
                  <a:lnTo>
                    <a:pt x="406" y="167"/>
                  </a:lnTo>
                  <a:lnTo>
                    <a:pt x="450" y="172"/>
                  </a:lnTo>
                  <a:lnTo>
                    <a:pt x="497" y="176"/>
                  </a:lnTo>
                  <a:lnTo>
                    <a:pt x="545" y="179"/>
                  </a:lnTo>
                  <a:lnTo>
                    <a:pt x="594" y="180"/>
                  </a:lnTo>
                  <a:lnTo>
                    <a:pt x="645" y="180"/>
                  </a:lnTo>
                  <a:lnTo>
                    <a:pt x="698" y="178"/>
                  </a:lnTo>
                  <a:lnTo>
                    <a:pt x="752" y="174"/>
                  </a:lnTo>
                  <a:lnTo>
                    <a:pt x="807" y="168"/>
                  </a:lnTo>
                  <a:lnTo>
                    <a:pt x="864" y="160"/>
                  </a:lnTo>
                  <a:lnTo>
                    <a:pt x="923" y="150"/>
                  </a:lnTo>
                  <a:lnTo>
                    <a:pt x="980" y="137"/>
                  </a:lnTo>
                  <a:lnTo>
                    <a:pt x="1040" y="121"/>
                  </a:lnTo>
                  <a:lnTo>
                    <a:pt x="1101" y="104"/>
                  </a:lnTo>
                  <a:lnTo>
                    <a:pt x="1162" y="83"/>
                  </a:lnTo>
                  <a:lnTo>
                    <a:pt x="1224" y="58"/>
                  </a:lnTo>
                  <a:lnTo>
                    <a:pt x="1200" y="53"/>
                  </a:lnTo>
                  <a:lnTo>
                    <a:pt x="1170" y="48"/>
                  </a:lnTo>
                  <a:lnTo>
                    <a:pt x="1130" y="40"/>
                  </a:lnTo>
                  <a:lnTo>
                    <a:pt x="1079" y="32"/>
                  </a:lnTo>
                  <a:lnTo>
                    <a:pt x="1019" y="24"/>
                  </a:lnTo>
                  <a:lnTo>
                    <a:pt x="949" y="16"/>
                  </a:lnTo>
                  <a:lnTo>
                    <a:pt x="870" y="9"/>
                  </a:lnTo>
                  <a:lnTo>
                    <a:pt x="785" y="4"/>
                  </a:lnTo>
                  <a:lnTo>
                    <a:pt x="691" y="1"/>
                  </a:lnTo>
                  <a:lnTo>
                    <a:pt x="589" y="0"/>
                  </a:lnTo>
                  <a:lnTo>
                    <a:pt x="537" y="1"/>
                  </a:lnTo>
                  <a:lnTo>
                    <a:pt x="482" y="2"/>
                  </a:lnTo>
                  <a:lnTo>
                    <a:pt x="426" y="6"/>
                  </a:lnTo>
                  <a:lnTo>
                    <a:pt x="368" y="9"/>
                  </a:lnTo>
                  <a:lnTo>
                    <a:pt x="311" y="14"/>
                  </a:lnTo>
                  <a:lnTo>
                    <a:pt x="250" y="21"/>
                  </a:lnTo>
                  <a:lnTo>
                    <a:pt x="189" y="28"/>
                  </a:lnTo>
                  <a:lnTo>
                    <a:pt x="127" y="37"/>
                  </a:lnTo>
                  <a:lnTo>
                    <a:pt x="64" y="46"/>
                  </a:lnTo>
                  <a:lnTo>
                    <a:pt x="0" y="58"/>
                  </a:lnTo>
                  <a:close/>
                </a:path>
              </a:pathLst>
            </a:custGeom>
            <a:solidFill>
              <a:srgbClr val="B76E5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65" name="Freeform 512">
              <a:extLst>
                <a:ext uri="{FF2B5EF4-FFF2-40B4-BE49-F238E27FC236}">
                  <a16:creationId xmlns:a16="http://schemas.microsoft.com/office/drawing/2014/main" id="{E236D81B-9DF2-99AC-15F4-83F0F78E2694}"/>
                </a:ext>
              </a:extLst>
            </p:cNvPr>
            <p:cNvSpPr>
              <a:spLocks/>
            </p:cNvSpPr>
            <p:nvPr/>
          </p:nvSpPr>
          <p:spPr bwMode="auto">
            <a:xfrm>
              <a:off x="9767888" y="3206751"/>
              <a:ext cx="252413" cy="88900"/>
            </a:xfrm>
            <a:custGeom>
              <a:avLst/>
              <a:gdLst>
                <a:gd name="T0" fmla="*/ 0 w 479"/>
                <a:gd name="T1" fmla="*/ 2147483646 h 167"/>
                <a:gd name="T2" fmla="*/ 0 w 479"/>
                <a:gd name="T3" fmla="*/ 2147483646 h 167"/>
                <a:gd name="T4" fmla="*/ 2147483646 w 479"/>
                <a:gd name="T5" fmla="*/ 2147483646 h 167"/>
                <a:gd name="T6" fmla="*/ 2147483646 w 479"/>
                <a:gd name="T7" fmla="*/ 2147483646 h 167"/>
                <a:gd name="T8" fmla="*/ 2147483646 w 479"/>
                <a:gd name="T9" fmla="*/ 2147483646 h 167"/>
                <a:gd name="T10" fmla="*/ 2147483646 w 479"/>
                <a:gd name="T11" fmla="*/ 2147483646 h 167"/>
                <a:gd name="T12" fmla="*/ 2147483646 w 479"/>
                <a:gd name="T13" fmla="*/ 2147483646 h 167"/>
                <a:gd name="T14" fmla="*/ 2147483646 w 479"/>
                <a:gd name="T15" fmla="*/ 2147483646 h 167"/>
                <a:gd name="T16" fmla="*/ 2147483646 w 479"/>
                <a:gd name="T17" fmla="*/ 2147483646 h 167"/>
                <a:gd name="T18" fmla="*/ 2147483646 w 479"/>
                <a:gd name="T19" fmla="*/ 2147483646 h 167"/>
                <a:gd name="T20" fmla="*/ 2147483646 w 479"/>
                <a:gd name="T21" fmla="*/ 2147483646 h 167"/>
                <a:gd name="T22" fmla="*/ 2147483646 w 479"/>
                <a:gd name="T23" fmla="*/ 2147483646 h 167"/>
                <a:gd name="T24" fmla="*/ 2147483646 w 479"/>
                <a:gd name="T25" fmla="*/ 2147483646 h 167"/>
                <a:gd name="T26" fmla="*/ 2147483646 w 479"/>
                <a:gd name="T27" fmla="*/ 2147483646 h 167"/>
                <a:gd name="T28" fmla="*/ 2147483646 w 479"/>
                <a:gd name="T29" fmla="*/ 0 h 167"/>
                <a:gd name="T30" fmla="*/ 2147483646 w 479"/>
                <a:gd name="T31" fmla="*/ 0 h 167"/>
                <a:gd name="T32" fmla="*/ 2147483646 w 479"/>
                <a:gd name="T33" fmla="*/ 2147483646 h 167"/>
                <a:gd name="T34" fmla="*/ 2147483646 w 479"/>
                <a:gd name="T35" fmla="*/ 2147483646 h 167"/>
                <a:gd name="T36" fmla="*/ 2147483646 w 479"/>
                <a:gd name="T37" fmla="*/ 2147483646 h 167"/>
                <a:gd name="T38" fmla="*/ 2147483646 w 479"/>
                <a:gd name="T39" fmla="*/ 2147483646 h 167"/>
                <a:gd name="T40" fmla="*/ 0 w 479"/>
                <a:gd name="T41" fmla="*/ 2147483646 h 167"/>
                <a:gd name="T42" fmla="*/ 0 w 479"/>
                <a:gd name="T43" fmla="*/ 2147483646 h 16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79" h="167">
                  <a:moveTo>
                    <a:pt x="0" y="50"/>
                  </a:moveTo>
                  <a:lnTo>
                    <a:pt x="0" y="50"/>
                  </a:lnTo>
                  <a:lnTo>
                    <a:pt x="8" y="54"/>
                  </a:lnTo>
                  <a:lnTo>
                    <a:pt x="33" y="65"/>
                  </a:lnTo>
                  <a:lnTo>
                    <a:pt x="75" y="81"/>
                  </a:lnTo>
                  <a:lnTo>
                    <a:pt x="131" y="100"/>
                  </a:lnTo>
                  <a:lnTo>
                    <a:pt x="163" y="109"/>
                  </a:lnTo>
                  <a:lnTo>
                    <a:pt x="199" y="120"/>
                  </a:lnTo>
                  <a:lnTo>
                    <a:pt x="240" y="129"/>
                  </a:lnTo>
                  <a:lnTo>
                    <a:pt x="283" y="139"/>
                  </a:lnTo>
                  <a:lnTo>
                    <a:pt x="327" y="147"/>
                  </a:lnTo>
                  <a:lnTo>
                    <a:pt x="375" y="155"/>
                  </a:lnTo>
                  <a:lnTo>
                    <a:pt x="426" y="162"/>
                  </a:lnTo>
                  <a:lnTo>
                    <a:pt x="479" y="167"/>
                  </a:lnTo>
                  <a:lnTo>
                    <a:pt x="395" y="0"/>
                  </a:lnTo>
                  <a:lnTo>
                    <a:pt x="300" y="8"/>
                  </a:lnTo>
                  <a:lnTo>
                    <a:pt x="204" y="18"/>
                  </a:lnTo>
                  <a:lnTo>
                    <a:pt x="103" y="33"/>
                  </a:lnTo>
                  <a:lnTo>
                    <a:pt x="51" y="41"/>
                  </a:lnTo>
                  <a:lnTo>
                    <a:pt x="0" y="50"/>
                  </a:lnTo>
                  <a:close/>
                </a:path>
              </a:pathLst>
            </a:custGeom>
            <a:solidFill>
              <a:srgbClr val="9B503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66" name="Freeform 513">
              <a:extLst>
                <a:ext uri="{FF2B5EF4-FFF2-40B4-BE49-F238E27FC236}">
                  <a16:creationId xmlns:a16="http://schemas.microsoft.com/office/drawing/2014/main" id="{C6DF443D-1F8C-CE4A-3BD8-9C65678B58DC}"/>
                </a:ext>
              </a:extLst>
            </p:cNvPr>
            <p:cNvSpPr>
              <a:spLocks/>
            </p:cNvSpPr>
            <p:nvPr/>
          </p:nvSpPr>
          <p:spPr bwMode="auto">
            <a:xfrm>
              <a:off x="9975850" y="3201988"/>
              <a:ext cx="439738" cy="95250"/>
            </a:xfrm>
            <a:custGeom>
              <a:avLst/>
              <a:gdLst>
                <a:gd name="T0" fmla="*/ 2147483646 w 829"/>
                <a:gd name="T1" fmla="*/ 2147483646 h 180"/>
                <a:gd name="T2" fmla="*/ 2147483646 w 829"/>
                <a:gd name="T3" fmla="*/ 2147483646 h 180"/>
                <a:gd name="T4" fmla="*/ 2147483646 w 829"/>
                <a:gd name="T5" fmla="*/ 2147483646 h 180"/>
                <a:gd name="T6" fmla="*/ 2147483646 w 829"/>
                <a:gd name="T7" fmla="*/ 2147483646 h 180"/>
                <a:gd name="T8" fmla="*/ 2147483646 w 829"/>
                <a:gd name="T9" fmla="*/ 2147483646 h 180"/>
                <a:gd name="T10" fmla="*/ 2147483646 w 829"/>
                <a:gd name="T11" fmla="*/ 2147483646 h 180"/>
                <a:gd name="T12" fmla="*/ 2147483646 w 829"/>
                <a:gd name="T13" fmla="*/ 2147483646 h 180"/>
                <a:gd name="T14" fmla="*/ 2147483646 w 829"/>
                <a:gd name="T15" fmla="*/ 2147483646 h 180"/>
                <a:gd name="T16" fmla="*/ 2147483646 w 829"/>
                <a:gd name="T17" fmla="*/ 2147483646 h 180"/>
                <a:gd name="T18" fmla="*/ 2147483646 w 829"/>
                <a:gd name="T19" fmla="*/ 2147483646 h 180"/>
                <a:gd name="T20" fmla="*/ 2147483646 w 829"/>
                <a:gd name="T21" fmla="*/ 2147483646 h 180"/>
                <a:gd name="T22" fmla="*/ 2147483646 w 829"/>
                <a:gd name="T23" fmla="*/ 0 h 180"/>
                <a:gd name="T24" fmla="*/ 2147483646 w 829"/>
                <a:gd name="T25" fmla="*/ 2147483646 h 180"/>
                <a:gd name="T26" fmla="*/ 2147483646 w 829"/>
                <a:gd name="T27" fmla="*/ 2147483646 h 180"/>
                <a:gd name="T28" fmla="*/ 0 w 829"/>
                <a:gd name="T29" fmla="*/ 2147483646 h 180"/>
                <a:gd name="T30" fmla="*/ 2147483646 w 829"/>
                <a:gd name="T31" fmla="*/ 2147483646 h 180"/>
                <a:gd name="T32" fmla="*/ 2147483646 w 829"/>
                <a:gd name="T33" fmla="*/ 2147483646 h 180"/>
                <a:gd name="T34" fmla="*/ 2147483646 w 829"/>
                <a:gd name="T35" fmla="*/ 2147483646 h 180"/>
                <a:gd name="T36" fmla="*/ 2147483646 w 829"/>
                <a:gd name="T37" fmla="*/ 2147483646 h 180"/>
                <a:gd name="T38" fmla="*/ 2147483646 w 829"/>
                <a:gd name="T39" fmla="*/ 2147483646 h 180"/>
                <a:gd name="T40" fmla="*/ 2147483646 w 829"/>
                <a:gd name="T41" fmla="*/ 2147483646 h 180"/>
                <a:gd name="T42" fmla="*/ 2147483646 w 829"/>
                <a:gd name="T43" fmla="*/ 2147483646 h 180"/>
                <a:gd name="T44" fmla="*/ 2147483646 w 829"/>
                <a:gd name="T45" fmla="*/ 2147483646 h 180"/>
                <a:gd name="T46" fmla="*/ 2147483646 w 829"/>
                <a:gd name="T47" fmla="*/ 2147483646 h 180"/>
                <a:gd name="T48" fmla="*/ 2147483646 w 829"/>
                <a:gd name="T49" fmla="*/ 2147483646 h 180"/>
                <a:gd name="T50" fmla="*/ 2147483646 w 829"/>
                <a:gd name="T51" fmla="*/ 2147483646 h 180"/>
                <a:gd name="T52" fmla="*/ 2147483646 w 829"/>
                <a:gd name="T53" fmla="*/ 2147483646 h 180"/>
                <a:gd name="T54" fmla="*/ 2147483646 w 829"/>
                <a:gd name="T55" fmla="*/ 2147483646 h 180"/>
                <a:gd name="T56" fmla="*/ 2147483646 w 829"/>
                <a:gd name="T57" fmla="*/ 2147483646 h 180"/>
                <a:gd name="T58" fmla="*/ 2147483646 w 829"/>
                <a:gd name="T59" fmla="*/ 2147483646 h 180"/>
                <a:gd name="T60" fmla="*/ 2147483646 w 829"/>
                <a:gd name="T61" fmla="*/ 2147483646 h 180"/>
                <a:gd name="T62" fmla="*/ 2147483646 w 829"/>
                <a:gd name="T63" fmla="*/ 2147483646 h 180"/>
                <a:gd name="T64" fmla="*/ 2147483646 w 829"/>
                <a:gd name="T65" fmla="*/ 2147483646 h 180"/>
                <a:gd name="T66" fmla="*/ 2147483646 w 829"/>
                <a:gd name="T67" fmla="*/ 2147483646 h 18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29" h="180">
                  <a:moveTo>
                    <a:pt x="829" y="58"/>
                  </a:moveTo>
                  <a:lnTo>
                    <a:pt x="829" y="58"/>
                  </a:lnTo>
                  <a:lnTo>
                    <a:pt x="814" y="56"/>
                  </a:lnTo>
                  <a:lnTo>
                    <a:pt x="769" y="46"/>
                  </a:lnTo>
                  <a:lnTo>
                    <a:pt x="696" y="34"/>
                  </a:lnTo>
                  <a:lnTo>
                    <a:pt x="649" y="28"/>
                  </a:lnTo>
                  <a:lnTo>
                    <a:pt x="599" y="21"/>
                  </a:lnTo>
                  <a:lnTo>
                    <a:pt x="540" y="14"/>
                  </a:lnTo>
                  <a:lnTo>
                    <a:pt x="477" y="9"/>
                  </a:lnTo>
                  <a:lnTo>
                    <a:pt x="408" y="5"/>
                  </a:lnTo>
                  <a:lnTo>
                    <a:pt x="336" y="2"/>
                  </a:lnTo>
                  <a:lnTo>
                    <a:pt x="258" y="0"/>
                  </a:lnTo>
                  <a:lnTo>
                    <a:pt x="175" y="1"/>
                  </a:lnTo>
                  <a:lnTo>
                    <a:pt x="90" y="2"/>
                  </a:lnTo>
                  <a:lnTo>
                    <a:pt x="0" y="8"/>
                  </a:lnTo>
                  <a:lnTo>
                    <a:pt x="84" y="175"/>
                  </a:lnTo>
                  <a:lnTo>
                    <a:pt x="123" y="178"/>
                  </a:lnTo>
                  <a:lnTo>
                    <a:pt x="165" y="179"/>
                  </a:lnTo>
                  <a:lnTo>
                    <a:pt x="206" y="180"/>
                  </a:lnTo>
                  <a:lnTo>
                    <a:pt x="249" y="180"/>
                  </a:lnTo>
                  <a:lnTo>
                    <a:pt x="293" y="179"/>
                  </a:lnTo>
                  <a:lnTo>
                    <a:pt x="339" y="176"/>
                  </a:lnTo>
                  <a:lnTo>
                    <a:pt x="384" y="171"/>
                  </a:lnTo>
                  <a:lnTo>
                    <a:pt x="431" y="166"/>
                  </a:lnTo>
                  <a:lnTo>
                    <a:pt x="478" y="159"/>
                  </a:lnTo>
                  <a:lnTo>
                    <a:pt x="526" y="150"/>
                  </a:lnTo>
                  <a:lnTo>
                    <a:pt x="576" y="140"/>
                  </a:lnTo>
                  <a:lnTo>
                    <a:pt x="625" y="128"/>
                  </a:lnTo>
                  <a:lnTo>
                    <a:pt x="675" y="113"/>
                  </a:lnTo>
                  <a:lnTo>
                    <a:pt x="726" y="97"/>
                  </a:lnTo>
                  <a:lnTo>
                    <a:pt x="778" y="79"/>
                  </a:lnTo>
                  <a:lnTo>
                    <a:pt x="829" y="58"/>
                  </a:lnTo>
                  <a:close/>
                </a:path>
              </a:pathLst>
            </a:custGeom>
            <a:solidFill>
              <a:srgbClr val="B76E5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67" name="Freeform 514">
              <a:extLst>
                <a:ext uri="{FF2B5EF4-FFF2-40B4-BE49-F238E27FC236}">
                  <a16:creationId xmlns:a16="http://schemas.microsoft.com/office/drawing/2014/main" id="{E8D76DE4-C8BC-6B09-6406-54663EAA4A69}"/>
                </a:ext>
              </a:extLst>
            </p:cNvPr>
            <p:cNvSpPr>
              <a:spLocks/>
            </p:cNvSpPr>
            <p:nvPr/>
          </p:nvSpPr>
          <p:spPr bwMode="auto">
            <a:xfrm>
              <a:off x="10801350" y="3989388"/>
              <a:ext cx="739775" cy="284163"/>
            </a:xfrm>
            <a:custGeom>
              <a:avLst/>
              <a:gdLst>
                <a:gd name="T0" fmla="*/ 2147483646 w 1397"/>
                <a:gd name="T1" fmla="*/ 0 h 535"/>
                <a:gd name="T2" fmla="*/ 2147483646 w 1397"/>
                <a:gd name="T3" fmla="*/ 2147483646 h 535"/>
                <a:gd name="T4" fmla="*/ 2147483646 w 1397"/>
                <a:gd name="T5" fmla="*/ 2147483646 h 535"/>
                <a:gd name="T6" fmla="*/ 0 w 1397"/>
                <a:gd name="T7" fmla="*/ 2147483646 h 535"/>
                <a:gd name="T8" fmla="*/ 2147483646 w 1397"/>
                <a:gd name="T9" fmla="*/ 0 h 5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97" h="535">
                  <a:moveTo>
                    <a:pt x="6" y="0"/>
                  </a:moveTo>
                  <a:lnTo>
                    <a:pt x="1395" y="287"/>
                  </a:lnTo>
                  <a:lnTo>
                    <a:pt x="1397" y="535"/>
                  </a:lnTo>
                  <a:lnTo>
                    <a:pt x="0" y="532"/>
                  </a:lnTo>
                  <a:lnTo>
                    <a:pt x="6" y="0"/>
                  </a:lnTo>
                  <a:close/>
                </a:path>
              </a:pathLst>
            </a:custGeom>
            <a:solidFill>
              <a:srgbClr val="F3D1A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68" name="Freeform 515">
              <a:extLst>
                <a:ext uri="{FF2B5EF4-FFF2-40B4-BE49-F238E27FC236}">
                  <a16:creationId xmlns:a16="http://schemas.microsoft.com/office/drawing/2014/main" id="{27EC6CBB-2038-297F-9BCE-97C400D5F697}"/>
                </a:ext>
              </a:extLst>
            </p:cNvPr>
            <p:cNvSpPr>
              <a:spLocks/>
            </p:cNvSpPr>
            <p:nvPr/>
          </p:nvSpPr>
          <p:spPr bwMode="auto">
            <a:xfrm>
              <a:off x="11298238" y="3513138"/>
              <a:ext cx="93663" cy="555625"/>
            </a:xfrm>
            <a:custGeom>
              <a:avLst/>
              <a:gdLst>
                <a:gd name="T0" fmla="*/ 2147483646 w 175"/>
                <a:gd name="T1" fmla="*/ 2147483646 h 1052"/>
                <a:gd name="T2" fmla="*/ 2147483646 w 175"/>
                <a:gd name="T3" fmla="*/ 0 h 1052"/>
                <a:gd name="T4" fmla="*/ 2147483646 w 175"/>
                <a:gd name="T5" fmla="*/ 2147483646 h 1052"/>
                <a:gd name="T6" fmla="*/ 0 w 175"/>
                <a:gd name="T7" fmla="*/ 2147483646 h 1052"/>
                <a:gd name="T8" fmla="*/ 2147483646 w 175"/>
                <a:gd name="T9" fmla="*/ 2147483646 h 10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5" h="1052">
                  <a:moveTo>
                    <a:pt x="175" y="1052"/>
                  </a:moveTo>
                  <a:lnTo>
                    <a:pt x="144" y="0"/>
                  </a:lnTo>
                  <a:lnTo>
                    <a:pt x="26" y="1"/>
                  </a:lnTo>
                  <a:lnTo>
                    <a:pt x="0" y="1011"/>
                  </a:lnTo>
                  <a:lnTo>
                    <a:pt x="175" y="1052"/>
                  </a:lnTo>
                  <a:close/>
                </a:path>
              </a:pathLst>
            </a:custGeom>
            <a:solidFill>
              <a:srgbClr val="DAAA7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69" name="Freeform 516">
              <a:extLst>
                <a:ext uri="{FF2B5EF4-FFF2-40B4-BE49-F238E27FC236}">
                  <a16:creationId xmlns:a16="http://schemas.microsoft.com/office/drawing/2014/main" id="{CFBDC94E-29C0-FD12-97FE-6ECEC79417EF}"/>
                </a:ext>
              </a:extLst>
            </p:cNvPr>
            <p:cNvSpPr>
              <a:spLocks/>
            </p:cNvSpPr>
            <p:nvPr/>
          </p:nvSpPr>
          <p:spPr bwMode="auto">
            <a:xfrm>
              <a:off x="11298238" y="3849688"/>
              <a:ext cx="93663" cy="222250"/>
            </a:xfrm>
            <a:custGeom>
              <a:avLst/>
              <a:gdLst>
                <a:gd name="T0" fmla="*/ 0 w 175"/>
                <a:gd name="T1" fmla="*/ 2147483646 h 420"/>
                <a:gd name="T2" fmla="*/ 2147483646 w 175"/>
                <a:gd name="T3" fmla="*/ 2147483646 h 420"/>
                <a:gd name="T4" fmla="*/ 2147483646 w 175"/>
                <a:gd name="T5" fmla="*/ 0 h 420"/>
                <a:gd name="T6" fmla="*/ 2147483646 w 175"/>
                <a:gd name="T7" fmla="*/ 0 h 420"/>
                <a:gd name="T8" fmla="*/ 2147483646 w 175"/>
                <a:gd name="T9" fmla="*/ 2147483646 h 420"/>
                <a:gd name="T10" fmla="*/ 2147483646 w 175"/>
                <a:gd name="T11" fmla="*/ 2147483646 h 420"/>
                <a:gd name="T12" fmla="*/ 0 w 175"/>
                <a:gd name="T13" fmla="*/ 2147483646 h 4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75" h="420">
                  <a:moveTo>
                    <a:pt x="0" y="367"/>
                  </a:moveTo>
                  <a:lnTo>
                    <a:pt x="175" y="420"/>
                  </a:lnTo>
                  <a:lnTo>
                    <a:pt x="163" y="0"/>
                  </a:lnTo>
                  <a:lnTo>
                    <a:pt x="85" y="70"/>
                  </a:lnTo>
                  <a:lnTo>
                    <a:pt x="6" y="138"/>
                  </a:lnTo>
                  <a:lnTo>
                    <a:pt x="0" y="367"/>
                  </a:lnTo>
                  <a:close/>
                </a:path>
              </a:pathLst>
            </a:custGeom>
            <a:solidFill>
              <a:srgbClr val="B76E5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70" name="Freeform 517">
              <a:extLst>
                <a:ext uri="{FF2B5EF4-FFF2-40B4-BE49-F238E27FC236}">
                  <a16:creationId xmlns:a16="http://schemas.microsoft.com/office/drawing/2014/main" id="{F3E0892A-8816-4888-2471-4B65460A78DF}"/>
                </a:ext>
              </a:extLst>
            </p:cNvPr>
            <p:cNvSpPr>
              <a:spLocks/>
            </p:cNvSpPr>
            <p:nvPr/>
          </p:nvSpPr>
          <p:spPr bwMode="auto">
            <a:xfrm>
              <a:off x="11301413" y="3513138"/>
              <a:ext cx="84138" cy="409575"/>
            </a:xfrm>
            <a:custGeom>
              <a:avLst/>
              <a:gdLst>
                <a:gd name="T0" fmla="*/ 2147483646 w 157"/>
                <a:gd name="T1" fmla="*/ 2147483646 h 774"/>
                <a:gd name="T2" fmla="*/ 0 w 157"/>
                <a:gd name="T3" fmla="*/ 2147483646 h 774"/>
                <a:gd name="T4" fmla="*/ 0 w 157"/>
                <a:gd name="T5" fmla="*/ 2147483646 h 774"/>
                <a:gd name="T6" fmla="*/ 2147483646 w 157"/>
                <a:gd name="T7" fmla="*/ 2147483646 h 774"/>
                <a:gd name="T8" fmla="*/ 2147483646 w 157"/>
                <a:gd name="T9" fmla="*/ 2147483646 h 774"/>
                <a:gd name="T10" fmla="*/ 2147483646 w 157"/>
                <a:gd name="T11" fmla="*/ 0 h 774"/>
                <a:gd name="T12" fmla="*/ 2147483646 w 157"/>
                <a:gd name="T13" fmla="*/ 2147483646 h 77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7" h="774">
                  <a:moveTo>
                    <a:pt x="20" y="1"/>
                  </a:moveTo>
                  <a:lnTo>
                    <a:pt x="0" y="774"/>
                  </a:lnTo>
                  <a:lnTo>
                    <a:pt x="79" y="706"/>
                  </a:lnTo>
                  <a:lnTo>
                    <a:pt x="157" y="636"/>
                  </a:lnTo>
                  <a:lnTo>
                    <a:pt x="138" y="0"/>
                  </a:lnTo>
                  <a:lnTo>
                    <a:pt x="20" y="1"/>
                  </a:lnTo>
                  <a:close/>
                </a:path>
              </a:pathLst>
            </a:custGeom>
            <a:solidFill>
              <a:srgbClr val="DFAD8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71" name="Freeform 518">
              <a:extLst>
                <a:ext uri="{FF2B5EF4-FFF2-40B4-BE49-F238E27FC236}">
                  <a16:creationId xmlns:a16="http://schemas.microsoft.com/office/drawing/2014/main" id="{142B9F92-9EE0-8DAB-EA86-085053E5190E}"/>
                </a:ext>
              </a:extLst>
            </p:cNvPr>
            <p:cNvSpPr>
              <a:spLocks/>
            </p:cNvSpPr>
            <p:nvPr/>
          </p:nvSpPr>
          <p:spPr bwMode="auto">
            <a:xfrm>
              <a:off x="11309350" y="3567113"/>
              <a:ext cx="68263" cy="49213"/>
            </a:xfrm>
            <a:custGeom>
              <a:avLst/>
              <a:gdLst>
                <a:gd name="T0" fmla="*/ 2147483646 w 129"/>
                <a:gd name="T1" fmla="*/ 2147483646 h 93"/>
                <a:gd name="T2" fmla="*/ 2147483646 w 129"/>
                <a:gd name="T3" fmla="*/ 0 h 93"/>
                <a:gd name="T4" fmla="*/ 0 w 129"/>
                <a:gd name="T5" fmla="*/ 2147483646 h 93"/>
                <a:gd name="T6" fmla="*/ 2147483646 w 129"/>
                <a:gd name="T7" fmla="*/ 2147483646 h 93"/>
                <a:gd name="T8" fmla="*/ 2147483646 w 129"/>
                <a:gd name="T9" fmla="*/ 2147483646 h 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93">
                  <a:moveTo>
                    <a:pt x="126" y="7"/>
                  </a:moveTo>
                  <a:lnTo>
                    <a:pt x="3" y="0"/>
                  </a:lnTo>
                  <a:lnTo>
                    <a:pt x="0" y="93"/>
                  </a:lnTo>
                  <a:lnTo>
                    <a:pt x="129" y="90"/>
                  </a:lnTo>
                  <a:lnTo>
                    <a:pt x="126" y="7"/>
                  </a:lnTo>
                  <a:close/>
                </a:path>
              </a:pathLst>
            </a:custGeom>
            <a:solidFill>
              <a:srgbClr val="9C250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72" name="Freeform 519">
              <a:extLst>
                <a:ext uri="{FF2B5EF4-FFF2-40B4-BE49-F238E27FC236}">
                  <a16:creationId xmlns:a16="http://schemas.microsoft.com/office/drawing/2014/main" id="{E7A28BEB-4216-E870-AFC5-7CB91206C339}"/>
                </a:ext>
              </a:extLst>
            </p:cNvPr>
            <p:cNvSpPr>
              <a:spLocks/>
            </p:cNvSpPr>
            <p:nvPr/>
          </p:nvSpPr>
          <p:spPr bwMode="auto">
            <a:xfrm>
              <a:off x="11307763" y="3651251"/>
              <a:ext cx="73025" cy="50800"/>
            </a:xfrm>
            <a:custGeom>
              <a:avLst/>
              <a:gdLst>
                <a:gd name="T0" fmla="*/ 2147483646 w 138"/>
                <a:gd name="T1" fmla="*/ 2147483646 h 96"/>
                <a:gd name="T2" fmla="*/ 2147483646 w 138"/>
                <a:gd name="T3" fmla="*/ 0 h 96"/>
                <a:gd name="T4" fmla="*/ 0 w 138"/>
                <a:gd name="T5" fmla="*/ 2147483646 h 96"/>
                <a:gd name="T6" fmla="*/ 2147483646 w 138"/>
                <a:gd name="T7" fmla="*/ 2147483646 h 96"/>
                <a:gd name="T8" fmla="*/ 2147483646 w 138"/>
                <a:gd name="T9" fmla="*/ 2147483646 h 9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8" h="96">
                  <a:moveTo>
                    <a:pt x="135" y="5"/>
                  </a:moveTo>
                  <a:lnTo>
                    <a:pt x="3" y="0"/>
                  </a:lnTo>
                  <a:lnTo>
                    <a:pt x="0" y="96"/>
                  </a:lnTo>
                  <a:lnTo>
                    <a:pt x="138" y="87"/>
                  </a:lnTo>
                  <a:lnTo>
                    <a:pt x="135" y="5"/>
                  </a:lnTo>
                  <a:close/>
                </a:path>
              </a:pathLst>
            </a:custGeom>
            <a:solidFill>
              <a:srgbClr val="9C250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73" name="Freeform 520">
              <a:extLst>
                <a:ext uri="{FF2B5EF4-FFF2-40B4-BE49-F238E27FC236}">
                  <a16:creationId xmlns:a16="http://schemas.microsoft.com/office/drawing/2014/main" id="{9E11A492-AB4F-752D-3E3E-4BDBA24E90CF}"/>
                </a:ext>
              </a:extLst>
            </p:cNvPr>
            <p:cNvSpPr>
              <a:spLocks/>
            </p:cNvSpPr>
            <p:nvPr/>
          </p:nvSpPr>
          <p:spPr bwMode="auto">
            <a:xfrm>
              <a:off x="11861800" y="3795713"/>
              <a:ext cx="63500" cy="361950"/>
            </a:xfrm>
            <a:custGeom>
              <a:avLst/>
              <a:gdLst>
                <a:gd name="T0" fmla="*/ 0 w 120"/>
                <a:gd name="T1" fmla="*/ 2147483646 h 686"/>
                <a:gd name="T2" fmla="*/ 2147483646 w 120"/>
                <a:gd name="T3" fmla="*/ 2147483646 h 686"/>
                <a:gd name="T4" fmla="*/ 2147483646 w 120"/>
                <a:gd name="T5" fmla="*/ 0 h 686"/>
                <a:gd name="T6" fmla="*/ 2147483646 w 120"/>
                <a:gd name="T7" fmla="*/ 2147483646 h 686"/>
                <a:gd name="T8" fmla="*/ 0 w 120"/>
                <a:gd name="T9" fmla="*/ 2147483646 h 68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0" h="686">
                  <a:moveTo>
                    <a:pt x="0" y="683"/>
                  </a:moveTo>
                  <a:lnTo>
                    <a:pt x="24" y="3"/>
                  </a:lnTo>
                  <a:lnTo>
                    <a:pt x="89" y="0"/>
                  </a:lnTo>
                  <a:lnTo>
                    <a:pt x="120" y="686"/>
                  </a:lnTo>
                  <a:lnTo>
                    <a:pt x="0" y="683"/>
                  </a:lnTo>
                  <a:close/>
                </a:path>
              </a:pathLst>
            </a:custGeom>
            <a:solidFill>
              <a:srgbClr val="DAAA7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74" name="Freeform 521">
              <a:extLst>
                <a:ext uri="{FF2B5EF4-FFF2-40B4-BE49-F238E27FC236}">
                  <a16:creationId xmlns:a16="http://schemas.microsoft.com/office/drawing/2014/main" id="{D0A484C9-DC63-2E62-498B-33722673E039}"/>
                </a:ext>
              </a:extLst>
            </p:cNvPr>
            <p:cNvSpPr>
              <a:spLocks/>
            </p:cNvSpPr>
            <p:nvPr/>
          </p:nvSpPr>
          <p:spPr bwMode="auto">
            <a:xfrm>
              <a:off x="11872913" y="3797301"/>
              <a:ext cx="36513" cy="30163"/>
            </a:xfrm>
            <a:custGeom>
              <a:avLst/>
              <a:gdLst>
                <a:gd name="T0" fmla="*/ 2147483646 w 70"/>
                <a:gd name="T1" fmla="*/ 0 h 57"/>
                <a:gd name="T2" fmla="*/ 0 w 70"/>
                <a:gd name="T3" fmla="*/ 2147483646 h 57"/>
                <a:gd name="T4" fmla="*/ 2147483646 w 70"/>
                <a:gd name="T5" fmla="*/ 2147483646 h 57"/>
                <a:gd name="T6" fmla="*/ 2147483646 w 70"/>
                <a:gd name="T7" fmla="*/ 0 h 5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57">
                  <a:moveTo>
                    <a:pt x="2" y="0"/>
                  </a:moveTo>
                  <a:lnTo>
                    <a:pt x="0" y="57"/>
                  </a:lnTo>
                  <a:lnTo>
                    <a:pt x="70" y="53"/>
                  </a:lnTo>
                  <a:lnTo>
                    <a:pt x="2" y="0"/>
                  </a:lnTo>
                  <a:close/>
                </a:path>
              </a:pathLst>
            </a:custGeom>
            <a:solidFill>
              <a:srgbClr val="DAAA7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75" name="Freeform 522">
              <a:extLst>
                <a:ext uri="{FF2B5EF4-FFF2-40B4-BE49-F238E27FC236}">
                  <a16:creationId xmlns:a16="http://schemas.microsoft.com/office/drawing/2014/main" id="{B2677462-8C4C-F837-A57E-B8A50AB2C73E}"/>
                </a:ext>
              </a:extLst>
            </p:cNvPr>
            <p:cNvSpPr>
              <a:spLocks/>
            </p:cNvSpPr>
            <p:nvPr/>
          </p:nvSpPr>
          <p:spPr bwMode="auto">
            <a:xfrm>
              <a:off x="11871325" y="3824288"/>
              <a:ext cx="39688" cy="23813"/>
            </a:xfrm>
            <a:custGeom>
              <a:avLst/>
              <a:gdLst>
                <a:gd name="T0" fmla="*/ 2147483646 w 75"/>
                <a:gd name="T1" fmla="*/ 0 h 43"/>
                <a:gd name="T2" fmla="*/ 2147483646 w 75"/>
                <a:gd name="T3" fmla="*/ 2147483646 h 43"/>
                <a:gd name="T4" fmla="*/ 0 w 75"/>
                <a:gd name="T5" fmla="*/ 2147483646 h 43"/>
                <a:gd name="T6" fmla="*/ 2147483646 w 75"/>
                <a:gd name="T7" fmla="*/ 2147483646 h 43"/>
                <a:gd name="T8" fmla="*/ 2147483646 w 75"/>
                <a:gd name="T9" fmla="*/ 0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5" h="43">
                  <a:moveTo>
                    <a:pt x="72" y="0"/>
                  </a:moveTo>
                  <a:lnTo>
                    <a:pt x="2" y="4"/>
                  </a:lnTo>
                  <a:lnTo>
                    <a:pt x="0" y="43"/>
                  </a:lnTo>
                  <a:lnTo>
                    <a:pt x="75" y="43"/>
                  </a:lnTo>
                  <a:lnTo>
                    <a:pt x="72" y="0"/>
                  </a:lnTo>
                  <a:close/>
                </a:path>
              </a:pathLst>
            </a:custGeom>
            <a:solidFill>
              <a:srgbClr val="10878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76" name="Freeform 523">
              <a:extLst>
                <a:ext uri="{FF2B5EF4-FFF2-40B4-BE49-F238E27FC236}">
                  <a16:creationId xmlns:a16="http://schemas.microsoft.com/office/drawing/2014/main" id="{B41070C0-E9D6-2D80-E0C6-1582DCAF01C5}"/>
                </a:ext>
              </a:extLst>
            </p:cNvPr>
            <p:cNvSpPr>
              <a:spLocks/>
            </p:cNvSpPr>
            <p:nvPr/>
          </p:nvSpPr>
          <p:spPr bwMode="auto">
            <a:xfrm>
              <a:off x="11861800" y="3848101"/>
              <a:ext cx="63500" cy="309563"/>
            </a:xfrm>
            <a:custGeom>
              <a:avLst/>
              <a:gdLst>
                <a:gd name="T0" fmla="*/ 0 w 120"/>
                <a:gd name="T1" fmla="*/ 2147483646 h 587"/>
                <a:gd name="T2" fmla="*/ 2147483646 w 120"/>
                <a:gd name="T3" fmla="*/ 2147483646 h 587"/>
                <a:gd name="T4" fmla="*/ 2147483646 w 120"/>
                <a:gd name="T5" fmla="*/ 0 h 587"/>
                <a:gd name="T6" fmla="*/ 2147483646 w 120"/>
                <a:gd name="T7" fmla="*/ 0 h 587"/>
                <a:gd name="T8" fmla="*/ 0 w 120"/>
                <a:gd name="T9" fmla="*/ 2147483646 h 58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0" h="587">
                  <a:moveTo>
                    <a:pt x="0" y="584"/>
                  </a:moveTo>
                  <a:lnTo>
                    <a:pt x="120" y="587"/>
                  </a:lnTo>
                  <a:lnTo>
                    <a:pt x="95" y="0"/>
                  </a:lnTo>
                  <a:lnTo>
                    <a:pt x="20" y="0"/>
                  </a:lnTo>
                  <a:lnTo>
                    <a:pt x="0" y="584"/>
                  </a:lnTo>
                  <a:close/>
                </a:path>
              </a:pathLst>
            </a:custGeom>
            <a:solidFill>
              <a:srgbClr val="DFB89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77" name="Freeform 524">
              <a:extLst>
                <a:ext uri="{FF2B5EF4-FFF2-40B4-BE49-F238E27FC236}">
                  <a16:creationId xmlns:a16="http://schemas.microsoft.com/office/drawing/2014/main" id="{490070E8-4828-5CFA-5B91-18A24B2B01C4}"/>
                </a:ext>
              </a:extLst>
            </p:cNvPr>
            <p:cNvSpPr>
              <a:spLocks/>
            </p:cNvSpPr>
            <p:nvPr/>
          </p:nvSpPr>
          <p:spPr bwMode="auto">
            <a:xfrm>
              <a:off x="11796713" y="3960813"/>
              <a:ext cx="239713" cy="331788"/>
            </a:xfrm>
            <a:custGeom>
              <a:avLst/>
              <a:gdLst>
                <a:gd name="T0" fmla="*/ 2147483646 w 452"/>
                <a:gd name="T1" fmla="*/ 2147483646 h 625"/>
                <a:gd name="T2" fmla="*/ 2147483646 w 452"/>
                <a:gd name="T3" fmla="*/ 2147483646 h 625"/>
                <a:gd name="T4" fmla="*/ 2147483646 w 452"/>
                <a:gd name="T5" fmla="*/ 0 h 625"/>
                <a:gd name="T6" fmla="*/ 2147483646 w 452"/>
                <a:gd name="T7" fmla="*/ 0 h 625"/>
                <a:gd name="T8" fmla="*/ 2147483646 w 452"/>
                <a:gd name="T9" fmla="*/ 2147483646 h 625"/>
                <a:gd name="T10" fmla="*/ 2147483646 w 452"/>
                <a:gd name="T11" fmla="*/ 2147483646 h 625"/>
                <a:gd name="T12" fmla="*/ 2147483646 w 452"/>
                <a:gd name="T13" fmla="*/ 2147483646 h 625"/>
                <a:gd name="T14" fmla="*/ 0 w 452"/>
                <a:gd name="T15" fmla="*/ 2147483646 h 625"/>
                <a:gd name="T16" fmla="*/ 0 w 452"/>
                <a:gd name="T17" fmla="*/ 2147483646 h 625"/>
                <a:gd name="T18" fmla="*/ 2147483646 w 452"/>
                <a:gd name="T19" fmla="*/ 2147483646 h 625"/>
                <a:gd name="T20" fmla="*/ 2147483646 w 452"/>
                <a:gd name="T21" fmla="*/ 2147483646 h 6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52" h="625">
                  <a:moveTo>
                    <a:pt x="440" y="354"/>
                  </a:moveTo>
                  <a:lnTo>
                    <a:pt x="242" y="350"/>
                  </a:lnTo>
                  <a:lnTo>
                    <a:pt x="226" y="0"/>
                  </a:lnTo>
                  <a:lnTo>
                    <a:pt x="178" y="58"/>
                  </a:lnTo>
                  <a:lnTo>
                    <a:pt x="131" y="116"/>
                  </a:lnTo>
                  <a:lnTo>
                    <a:pt x="122" y="349"/>
                  </a:lnTo>
                  <a:lnTo>
                    <a:pt x="0" y="346"/>
                  </a:lnTo>
                  <a:lnTo>
                    <a:pt x="0" y="593"/>
                  </a:lnTo>
                  <a:lnTo>
                    <a:pt x="452" y="625"/>
                  </a:lnTo>
                  <a:lnTo>
                    <a:pt x="440" y="354"/>
                  </a:lnTo>
                  <a:close/>
                </a:path>
              </a:pathLst>
            </a:custGeom>
            <a:solidFill>
              <a:srgbClr val="B76E5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78" name="Freeform 525">
              <a:extLst>
                <a:ext uri="{FF2B5EF4-FFF2-40B4-BE49-F238E27FC236}">
                  <a16:creationId xmlns:a16="http://schemas.microsoft.com/office/drawing/2014/main" id="{76CB9EBE-F1B3-2A1C-2611-F4E7E04FF557}"/>
                </a:ext>
              </a:extLst>
            </p:cNvPr>
            <p:cNvSpPr>
              <a:spLocks/>
            </p:cNvSpPr>
            <p:nvPr/>
          </p:nvSpPr>
          <p:spPr bwMode="auto">
            <a:xfrm>
              <a:off x="10823575" y="4108451"/>
              <a:ext cx="692150" cy="79375"/>
            </a:xfrm>
            <a:custGeom>
              <a:avLst/>
              <a:gdLst>
                <a:gd name="T0" fmla="*/ 2147483646 w 1307"/>
                <a:gd name="T1" fmla="*/ 0 h 151"/>
                <a:gd name="T2" fmla="*/ 2147483646 w 1307"/>
                <a:gd name="T3" fmla="*/ 2147483646 h 151"/>
                <a:gd name="T4" fmla="*/ 2147483646 w 1307"/>
                <a:gd name="T5" fmla="*/ 2147483646 h 151"/>
                <a:gd name="T6" fmla="*/ 0 w 1307"/>
                <a:gd name="T7" fmla="*/ 2147483646 h 151"/>
                <a:gd name="T8" fmla="*/ 2147483646 w 1307"/>
                <a:gd name="T9" fmla="*/ 0 h 15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07" h="151">
                  <a:moveTo>
                    <a:pt x="4" y="0"/>
                  </a:moveTo>
                  <a:lnTo>
                    <a:pt x="1306" y="62"/>
                  </a:lnTo>
                  <a:lnTo>
                    <a:pt x="1307" y="151"/>
                  </a:lnTo>
                  <a:lnTo>
                    <a:pt x="0" y="135"/>
                  </a:lnTo>
                  <a:lnTo>
                    <a:pt x="4" y="0"/>
                  </a:lnTo>
                  <a:close/>
                </a:path>
              </a:pathLst>
            </a:custGeom>
            <a:solidFill>
              <a:srgbClr val="2F63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79" name="Freeform 526">
              <a:extLst>
                <a:ext uri="{FF2B5EF4-FFF2-40B4-BE49-F238E27FC236}">
                  <a16:creationId xmlns:a16="http://schemas.microsoft.com/office/drawing/2014/main" id="{F6B2D541-6F17-9CDA-34CA-4475C3E2E4A5}"/>
                </a:ext>
              </a:extLst>
            </p:cNvPr>
            <p:cNvSpPr>
              <a:spLocks/>
            </p:cNvSpPr>
            <p:nvPr/>
          </p:nvSpPr>
          <p:spPr bwMode="auto">
            <a:xfrm>
              <a:off x="10871200" y="4102101"/>
              <a:ext cx="19050" cy="104775"/>
            </a:xfrm>
            <a:custGeom>
              <a:avLst/>
              <a:gdLst>
                <a:gd name="T0" fmla="*/ 2147483646 w 36"/>
                <a:gd name="T1" fmla="*/ 2147483646 h 197"/>
                <a:gd name="T2" fmla="*/ 0 w 36"/>
                <a:gd name="T3" fmla="*/ 2147483646 h 197"/>
                <a:gd name="T4" fmla="*/ 2147483646 w 36"/>
                <a:gd name="T5" fmla="*/ 0 h 197"/>
                <a:gd name="T6" fmla="*/ 2147483646 w 36"/>
                <a:gd name="T7" fmla="*/ 2147483646 h 197"/>
                <a:gd name="T8" fmla="*/ 2147483646 w 36"/>
                <a:gd name="T9" fmla="*/ 2147483646 h 19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6" h="197">
                  <a:moveTo>
                    <a:pt x="12" y="197"/>
                  </a:moveTo>
                  <a:lnTo>
                    <a:pt x="0" y="2"/>
                  </a:lnTo>
                  <a:lnTo>
                    <a:pt x="23" y="0"/>
                  </a:lnTo>
                  <a:lnTo>
                    <a:pt x="36" y="196"/>
                  </a:lnTo>
                  <a:lnTo>
                    <a:pt x="12" y="197"/>
                  </a:lnTo>
                  <a:close/>
                </a:path>
              </a:pathLst>
            </a:custGeom>
            <a:solidFill>
              <a:srgbClr val="F3D1A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80" name="Freeform 527">
              <a:extLst>
                <a:ext uri="{FF2B5EF4-FFF2-40B4-BE49-F238E27FC236}">
                  <a16:creationId xmlns:a16="http://schemas.microsoft.com/office/drawing/2014/main" id="{80230E77-B839-C1ED-134D-140C4DD86B78}"/>
                </a:ext>
              </a:extLst>
            </p:cNvPr>
            <p:cNvSpPr>
              <a:spLocks/>
            </p:cNvSpPr>
            <p:nvPr/>
          </p:nvSpPr>
          <p:spPr bwMode="auto">
            <a:xfrm>
              <a:off x="10933113" y="4105276"/>
              <a:ext cx="20638" cy="104775"/>
            </a:xfrm>
            <a:custGeom>
              <a:avLst/>
              <a:gdLst>
                <a:gd name="T0" fmla="*/ 2147483646 w 40"/>
                <a:gd name="T1" fmla="*/ 2147483646 h 198"/>
                <a:gd name="T2" fmla="*/ 0 w 40"/>
                <a:gd name="T3" fmla="*/ 2147483646 h 198"/>
                <a:gd name="T4" fmla="*/ 2147483646 w 40"/>
                <a:gd name="T5" fmla="*/ 0 h 198"/>
                <a:gd name="T6" fmla="*/ 2147483646 w 40"/>
                <a:gd name="T7" fmla="*/ 2147483646 h 198"/>
                <a:gd name="T8" fmla="*/ 2147483646 w 40"/>
                <a:gd name="T9" fmla="*/ 2147483646 h 19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0" h="198">
                  <a:moveTo>
                    <a:pt x="24" y="198"/>
                  </a:moveTo>
                  <a:lnTo>
                    <a:pt x="0" y="195"/>
                  </a:lnTo>
                  <a:lnTo>
                    <a:pt x="17" y="0"/>
                  </a:lnTo>
                  <a:lnTo>
                    <a:pt x="40" y="1"/>
                  </a:lnTo>
                  <a:lnTo>
                    <a:pt x="24" y="198"/>
                  </a:lnTo>
                  <a:close/>
                </a:path>
              </a:pathLst>
            </a:custGeom>
            <a:solidFill>
              <a:srgbClr val="F3D1A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81" name="Freeform 528">
              <a:extLst>
                <a:ext uri="{FF2B5EF4-FFF2-40B4-BE49-F238E27FC236}">
                  <a16:creationId xmlns:a16="http://schemas.microsoft.com/office/drawing/2014/main" id="{3C27DBDE-F216-7884-8822-417FA087B228}"/>
                </a:ext>
              </a:extLst>
            </p:cNvPr>
            <p:cNvSpPr>
              <a:spLocks/>
            </p:cNvSpPr>
            <p:nvPr/>
          </p:nvSpPr>
          <p:spPr bwMode="auto">
            <a:xfrm>
              <a:off x="11001375" y="4103688"/>
              <a:ext cx="12700" cy="104775"/>
            </a:xfrm>
            <a:custGeom>
              <a:avLst/>
              <a:gdLst>
                <a:gd name="T0" fmla="*/ 2147483646 w 26"/>
                <a:gd name="T1" fmla="*/ 2147483646 h 197"/>
                <a:gd name="T2" fmla="*/ 0 w 26"/>
                <a:gd name="T3" fmla="*/ 2147483646 h 197"/>
                <a:gd name="T4" fmla="*/ 2147483646 w 26"/>
                <a:gd name="T5" fmla="*/ 0 h 197"/>
                <a:gd name="T6" fmla="*/ 2147483646 w 26"/>
                <a:gd name="T7" fmla="*/ 0 h 197"/>
                <a:gd name="T8" fmla="*/ 2147483646 w 26"/>
                <a:gd name="T9" fmla="*/ 2147483646 h 19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97">
                  <a:moveTo>
                    <a:pt x="24" y="197"/>
                  </a:moveTo>
                  <a:lnTo>
                    <a:pt x="0" y="197"/>
                  </a:lnTo>
                  <a:lnTo>
                    <a:pt x="1" y="0"/>
                  </a:lnTo>
                  <a:lnTo>
                    <a:pt x="26" y="0"/>
                  </a:lnTo>
                  <a:lnTo>
                    <a:pt x="24" y="197"/>
                  </a:lnTo>
                  <a:close/>
                </a:path>
              </a:pathLst>
            </a:custGeom>
            <a:solidFill>
              <a:srgbClr val="F3D1A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82" name="Freeform 529">
              <a:extLst>
                <a:ext uri="{FF2B5EF4-FFF2-40B4-BE49-F238E27FC236}">
                  <a16:creationId xmlns:a16="http://schemas.microsoft.com/office/drawing/2014/main" id="{3A9D4720-CAE6-F2F6-632B-2A55DCDF16AC}"/>
                </a:ext>
              </a:extLst>
            </p:cNvPr>
            <p:cNvSpPr>
              <a:spLocks/>
            </p:cNvSpPr>
            <p:nvPr/>
          </p:nvSpPr>
          <p:spPr bwMode="auto">
            <a:xfrm>
              <a:off x="11063288" y="4105276"/>
              <a:ext cx="20638" cy="101600"/>
            </a:xfrm>
            <a:custGeom>
              <a:avLst/>
              <a:gdLst>
                <a:gd name="T0" fmla="*/ 2147483646 w 39"/>
                <a:gd name="T1" fmla="*/ 2147483646 h 190"/>
                <a:gd name="T2" fmla="*/ 0 w 39"/>
                <a:gd name="T3" fmla="*/ 2147483646 h 190"/>
                <a:gd name="T4" fmla="*/ 2147483646 w 39"/>
                <a:gd name="T5" fmla="*/ 0 h 190"/>
                <a:gd name="T6" fmla="*/ 2147483646 w 39"/>
                <a:gd name="T7" fmla="*/ 2147483646 h 190"/>
                <a:gd name="T8" fmla="*/ 2147483646 w 39"/>
                <a:gd name="T9" fmla="*/ 2147483646 h 1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 h="190">
                  <a:moveTo>
                    <a:pt x="23" y="190"/>
                  </a:moveTo>
                  <a:lnTo>
                    <a:pt x="0" y="187"/>
                  </a:lnTo>
                  <a:lnTo>
                    <a:pt x="15" y="0"/>
                  </a:lnTo>
                  <a:lnTo>
                    <a:pt x="39" y="1"/>
                  </a:lnTo>
                  <a:lnTo>
                    <a:pt x="23" y="190"/>
                  </a:lnTo>
                  <a:close/>
                </a:path>
              </a:pathLst>
            </a:custGeom>
            <a:solidFill>
              <a:srgbClr val="F3D1A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83" name="Freeform 530">
              <a:extLst>
                <a:ext uri="{FF2B5EF4-FFF2-40B4-BE49-F238E27FC236}">
                  <a16:creationId xmlns:a16="http://schemas.microsoft.com/office/drawing/2014/main" id="{7F7C4124-1E2C-E8C3-5A45-0096B6B38A38}"/>
                </a:ext>
              </a:extLst>
            </p:cNvPr>
            <p:cNvSpPr>
              <a:spLocks/>
            </p:cNvSpPr>
            <p:nvPr/>
          </p:nvSpPr>
          <p:spPr bwMode="auto">
            <a:xfrm>
              <a:off x="11133138" y="4106863"/>
              <a:ext cx="14288" cy="104775"/>
            </a:xfrm>
            <a:custGeom>
              <a:avLst/>
              <a:gdLst>
                <a:gd name="T0" fmla="*/ 2147483646 w 26"/>
                <a:gd name="T1" fmla="*/ 2147483646 h 197"/>
                <a:gd name="T2" fmla="*/ 0 w 26"/>
                <a:gd name="T3" fmla="*/ 0 h 197"/>
                <a:gd name="T4" fmla="*/ 2147483646 w 26"/>
                <a:gd name="T5" fmla="*/ 0 h 197"/>
                <a:gd name="T6" fmla="*/ 2147483646 w 26"/>
                <a:gd name="T7" fmla="*/ 2147483646 h 197"/>
                <a:gd name="T8" fmla="*/ 2147483646 w 26"/>
                <a:gd name="T9" fmla="*/ 2147483646 h 19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97">
                  <a:moveTo>
                    <a:pt x="2" y="197"/>
                  </a:moveTo>
                  <a:lnTo>
                    <a:pt x="0" y="0"/>
                  </a:lnTo>
                  <a:lnTo>
                    <a:pt x="24" y="0"/>
                  </a:lnTo>
                  <a:lnTo>
                    <a:pt x="26" y="197"/>
                  </a:lnTo>
                  <a:lnTo>
                    <a:pt x="2" y="197"/>
                  </a:lnTo>
                  <a:close/>
                </a:path>
              </a:pathLst>
            </a:custGeom>
            <a:solidFill>
              <a:srgbClr val="F3D1A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84" name="Freeform 531">
              <a:extLst>
                <a:ext uri="{FF2B5EF4-FFF2-40B4-BE49-F238E27FC236}">
                  <a16:creationId xmlns:a16="http://schemas.microsoft.com/office/drawing/2014/main" id="{517679C4-BC2A-A46F-3CF1-22A7A3B37FCF}"/>
                </a:ext>
              </a:extLst>
            </p:cNvPr>
            <p:cNvSpPr>
              <a:spLocks/>
            </p:cNvSpPr>
            <p:nvPr/>
          </p:nvSpPr>
          <p:spPr bwMode="auto">
            <a:xfrm>
              <a:off x="11188700" y="4108451"/>
              <a:ext cx="20638" cy="104775"/>
            </a:xfrm>
            <a:custGeom>
              <a:avLst/>
              <a:gdLst>
                <a:gd name="T0" fmla="*/ 2147483646 w 39"/>
                <a:gd name="T1" fmla="*/ 2147483646 h 198"/>
                <a:gd name="T2" fmla="*/ 0 w 39"/>
                <a:gd name="T3" fmla="*/ 2147483646 h 198"/>
                <a:gd name="T4" fmla="*/ 2147483646 w 39"/>
                <a:gd name="T5" fmla="*/ 0 h 198"/>
                <a:gd name="T6" fmla="*/ 2147483646 w 39"/>
                <a:gd name="T7" fmla="*/ 2147483646 h 198"/>
                <a:gd name="T8" fmla="*/ 2147483646 w 39"/>
                <a:gd name="T9" fmla="*/ 2147483646 h 19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 h="198">
                  <a:moveTo>
                    <a:pt x="24" y="198"/>
                  </a:moveTo>
                  <a:lnTo>
                    <a:pt x="0" y="195"/>
                  </a:lnTo>
                  <a:lnTo>
                    <a:pt x="15" y="0"/>
                  </a:lnTo>
                  <a:lnTo>
                    <a:pt x="39" y="1"/>
                  </a:lnTo>
                  <a:lnTo>
                    <a:pt x="24" y="198"/>
                  </a:lnTo>
                  <a:close/>
                </a:path>
              </a:pathLst>
            </a:custGeom>
            <a:solidFill>
              <a:srgbClr val="F3D1A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85" name="Freeform 532">
              <a:extLst>
                <a:ext uri="{FF2B5EF4-FFF2-40B4-BE49-F238E27FC236}">
                  <a16:creationId xmlns:a16="http://schemas.microsoft.com/office/drawing/2014/main" id="{BB79FD55-BEC3-1EB5-829B-D10176A0CEDF}"/>
                </a:ext>
              </a:extLst>
            </p:cNvPr>
            <p:cNvSpPr>
              <a:spLocks/>
            </p:cNvSpPr>
            <p:nvPr/>
          </p:nvSpPr>
          <p:spPr bwMode="auto">
            <a:xfrm>
              <a:off x="11326813" y="4108451"/>
              <a:ext cx="20638" cy="106363"/>
            </a:xfrm>
            <a:custGeom>
              <a:avLst/>
              <a:gdLst>
                <a:gd name="T0" fmla="*/ 2147483646 w 38"/>
                <a:gd name="T1" fmla="*/ 2147483646 h 199"/>
                <a:gd name="T2" fmla="*/ 0 w 38"/>
                <a:gd name="T3" fmla="*/ 2147483646 h 199"/>
                <a:gd name="T4" fmla="*/ 2147483646 w 38"/>
                <a:gd name="T5" fmla="*/ 0 h 199"/>
                <a:gd name="T6" fmla="*/ 2147483646 w 38"/>
                <a:gd name="T7" fmla="*/ 2147483646 h 199"/>
                <a:gd name="T8" fmla="*/ 2147483646 w 38"/>
                <a:gd name="T9" fmla="*/ 2147483646 h 19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 h="199">
                  <a:moveTo>
                    <a:pt x="25" y="199"/>
                  </a:moveTo>
                  <a:lnTo>
                    <a:pt x="0" y="197"/>
                  </a:lnTo>
                  <a:lnTo>
                    <a:pt x="15" y="0"/>
                  </a:lnTo>
                  <a:lnTo>
                    <a:pt x="38" y="3"/>
                  </a:lnTo>
                  <a:lnTo>
                    <a:pt x="25" y="199"/>
                  </a:lnTo>
                  <a:close/>
                </a:path>
              </a:pathLst>
            </a:custGeom>
            <a:solidFill>
              <a:srgbClr val="F3D1A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86" name="Freeform 533">
              <a:extLst>
                <a:ext uri="{FF2B5EF4-FFF2-40B4-BE49-F238E27FC236}">
                  <a16:creationId xmlns:a16="http://schemas.microsoft.com/office/drawing/2014/main" id="{A0BCEE20-776C-0DEE-7FF3-B66984457DED}"/>
                </a:ext>
              </a:extLst>
            </p:cNvPr>
            <p:cNvSpPr>
              <a:spLocks/>
            </p:cNvSpPr>
            <p:nvPr/>
          </p:nvSpPr>
          <p:spPr bwMode="auto">
            <a:xfrm>
              <a:off x="11458575" y="4129088"/>
              <a:ext cx="14288" cy="68263"/>
            </a:xfrm>
            <a:custGeom>
              <a:avLst/>
              <a:gdLst>
                <a:gd name="T0" fmla="*/ 2147483646 w 26"/>
                <a:gd name="T1" fmla="*/ 2147483646 h 127"/>
                <a:gd name="T2" fmla="*/ 0 w 26"/>
                <a:gd name="T3" fmla="*/ 0 h 127"/>
                <a:gd name="T4" fmla="*/ 2147483646 w 26"/>
                <a:gd name="T5" fmla="*/ 0 h 127"/>
                <a:gd name="T6" fmla="*/ 2147483646 w 26"/>
                <a:gd name="T7" fmla="*/ 2147483646 h 127"/>
                <a:gd name="T8" fmla="*/ 2147483646 w 26"/>
                <a:gd name="T9" fmla="*/ 2147483646 h 1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27">
                  <a:moveTo>
                    <a:pt x="3" y="127"/>
                  </a:moveTo>
                  <a:lnTo>
                    <a:pt x="0" y="0"/>
                  </a:lnTo>
                  <a:lnTo>
                    <a:pt x="24" y="0"/>
                  </a:lnTo>
                  <a:lnTo>
                    <a:pt x="26" y="127"/>
                  </a:lnTo>
                  <a:lnTo>
                    <a:pt x="3" y="127"/>
                  </a:lnTo>
                  <a:close/>
                </a:path>
              </a:pathLst>
            </a:custGeom>
            <a:solidFill>
              <a:srgbClr val="F3D1A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87" name="Freeform 534">
              <a:extLst>
                <a:ext uri="{FF2B5EF4-FFF2-40B4-BE49-F238E27FC236}">
                  <a16:creationId xmlns:a16="http://schemas.microsoft.com/office/drawing/2014/main" id="{7A54DC80-7E58-9F5A-F81B-6AD645E24CD6}"/>
                </a:ext>
              </a:extLst>
            </p:cNvPr>
            <p:cNvSpPr>
              <a:spLocks/>
            </p:cNvSpPr>
            <p:nvPr/>
          </p:nvSpPr>
          <p:spPr bwMode="auto">
            <a:xfrm>
              <a:off x="11264900" y="4108451"/>
              <a:ext cx="12700" cy="104775"/>
            </a:xfrm>
            <a:custGeom>
              <a:avLst/>
              <a:gdLst>
                <a:gd name="T0" fmla="*/ 2147483646 w 24"/>
                <a:gd name="T1" fmla="*/ 2147483646 h 196"/>
                <a:gd name="T2" fmla="*/ 0 w 24"/>
                <a:gd name="T3" fmla="*/ 2147483646 h 196"/>
                <a:gd name="T4" fmla="*/ 2147483646 w 24"/>
                <a:gd name="T5" fmla="*/ 0 h 196"/>
                <a:gd name="T6" fmla="*/ 2147483646 w 24"/>
                <a:gd name="T7" fmla="*/ 0 h 196"/>
                <a:gd name="T8" fmla="*/ 2147483646 w 24"/>
                <a:gd name="T9" fmla="*/ 2147483646 h 19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4" h="196">
                  <a:moveTo>
                    <a:pt x="24" y="196"/>
                  </a:moveTo>
                  <a:lnTo>
                    <a:pt x="0" y="196"/>
                  </a:lnTo>
                  <a:lnTo>
                    <a:pt x="2" y="0"/>
                  </a:lnTo>
                  <a:lnTo>
                    <a:pt x="24" y="0"/>
                  </a:lnTo>
                  <a:lnTo>
                    <a:pt x="24" y="196"/>
                  </a:lnTo>
                  <a:close/>
                </a:path>
              </a:pathLst>
            </a:custGeom>
            <a:solidFill>
              <a:srgbClr val="F3D1A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88" name="Freeform 535">
              <a:extLst>
                <a:ext uri="{FF2B5EF4-FFF2-40B4-BE49-F238E27FC236}">
                  <a16:creationId xmlns:a16="http://schemas.microsoft.com/office/drawing/2014/main" id="{E9C16794-73F9-3A09-A311-D57FAF199C68}"/>
                </a:ext>
              </a:extLst>
            </p:cNvPr>
            <p:cNvSpPr>
              <a:spLocks/>
            </p:cNvSpPr>
            <p:nvPr/>
          </p:nvSpPr>
          <p:spPr bwMode="auto">
            <a:xfrm>
              <a:off x="11395075" y="4124326"/>
              <a:ext cx="17463" cy="85725"/>
            </a:xfrm>
            <a:custGeom>
              <a:avLst/>
              <a:gdLst>
                <a:gd name="T0" fmla="*/ 2147483646 w 31"/>
                <a:gd name="T1" fmla="*/ 2147483646 h 161"/>
                <a:gd name="T2" fmla="*/ 0 w 31"/>
                <a:gd name="T3" fmla="*/ 0 h 161"/>
                <a:gd name="T4" fmla="*/ 2147483646 w 31"/>
                <a:gd name="T5" fmla="*/ 0 h 161"/>
                <a:gd name="T6" fmla="*/ 2147483646 w 31"/>
                <a:gd name="T7" fmla="*/ 2147483646 h 161"/>
                <a:gd name="T8" fmla="*/ 2147483646 w 31"/>
                <a:gd name="T9" fmla="*/ 2147483646 h 16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161">
                  <a:moveTo>
                    <a:pt x="8" y="161"/>
                  </a:moveTo>
                  <a:lnTo>
                    <a:pt x="0" y="0"/>
                  </a:lnTo>
                  <a:lnTo>
                    <a:pt x="24" y="0"/>
                  </a:lnTo>
                  <a:lnTo>
                    <a:pt x="31" y="159"/>
                  </a:lnTo>
                  <a:lnTo>
                    <a:pt x="8" y="161"/>
                  </a:lnTo>
                  <a:close/>
                </a:path>
              </a:pathLst>
            </a:custGeom>
            <a:solidFill>
              <a:srgbClr val="F3D1A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89" name="Freeform 536">
              <a:extLst>
                <a:ext uri="{FF2B5EF4-FFF2-40B4-BE49-F238E27FC236}">
                  <a16:creationId xmlns:a16="http://schemas.microsoft.com/office/drawing/2014/main" id="{EC6AF3F8-F4B2-7A2F-E817-BCBFBA6B5706}"/>
                </a:ext>
              </a:extLst>
            </p:cNvPr>
            <p:cNvSpPr>
              <a:spLocks/>
            </p:cNvSpPr>
            <p:nvPr/>
          </p:nvSpPr>
          <p:spPr bwMode="auto">
            <a:xfrm>
              <a:off x="11876088" y="4170363"/>
              <a:ext cx="46038" cy="26988"/>
            </a:xfrm>
            <a:custGeom>
              <a:avLst/>
              <a:gdLst>
                <a:gd name="T0" fmla="*/ 2147483646 w 86"/>
                <a:gd name="T1" fmla="*/ 2147483646 h 52"/>
                <a:gd name="T2" fmla="*/ 0 w 86"/>
                <a:gd name="T3" fmla="*/ 2147483646 h 52"/>
                <a:gd name="T4" fmla="*/ 0 w 86"/>
                <a:gd name="T5" fmla="*/ 0 h 52"/>
                <a:gd name="T6" fmla="*/ 2147483646 w 86"/>
                <a:gd name="T7" fmla="*/ 2147483646 h 52"/>
                <a:gd name="T8" fmla="*/ 2147483646 w 86"/>
                <a:gd name="T9" fmla="*/ 2147483646 h 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6" h="52">
                  <a:moveTo>
                    <a:pt x="86" y="49"/>
                  </a:moveTo>
                  <a:lnTo>
                    <a:pt x="0" y="52"/>
                  </a:lnTo>
                  <a:lnTo>
                    <a:pt x="0" y="0"/>
                  </a:lnTo>
                  <a:lnTo>
                    <a:pt x="86" y="2"/>
                  </a:lnTo>
                  <a:lnTo>
                    <a:pt x="86" y="49"/>
                  </a:lnTo>
                  <a:close/>
                </a:path>
              </a:pathLst>
            </a:custGeom>
            <a:solidFill>
              <a:srgbClr val="2F5D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90" name="Freeform 537">
              <a:extLst>
                <a:ext uri="{FF2B5EF4-FFF2-40B4-BE49-F238E27FC236}">
                  <a16:creationId xmlns:a16="http://schemas.microsoft.com/office/drawing/2014/main" id="{ECB4AEF1-F1D4-0330-03D2-F96EEEDB4CD6}"/>
                </a:ext>
              </a:extLst>
            </p:cNvPr>
            <p:cNvSpPr>
              <a:spLocks/>
            </p:cNvSpPr>
            <p:nvPr/>
          </p:nvSpPr>
          <p:spPr bwMode="auto">
            <a:xfrm>
              <a:off x="11822113" y="4170363"/>
              <a:ext cx="46038" cy="26988"/>
            </a:xfrm>
            <a:custGeom>
              <a:avLst/>
              <a:gdLst>
                <a:gd name="T0" fmla="*/ 0 w 87"/>
                <a:gd name="T1" fmla="*/ 2147483646 h 52"/>
                <a:gd name="T2" fmla="*/ 2147483646 w 87"/>
                <a:gd name="T3" fmla="*/ 0 h 52"/>
                <a:gd name="T4" fmla="*/ 2147483646 w 87"/>
                <a:gd name="T5" fmla="*/ 2147483646 h 52"/>
                <a:gd name="T6" fmla="*/ 2147483646 w 87"/>
                <a:gd name="T7" fmla="*/ 2147483646 h 52"/>
                <a:gd name="T8" fmla="*/ 0 w 87"/>
                <a:gd name="T9" fmla="*/ 2147483646 h 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7" h="52">
                  <a:moveTo>
                    <a:pt x="0" y="2"/>
                  </a:moveTo>
                  <a:lnTo>
                    <a:pt x="84" y="0"/>
                  </a:lnTo>
                  <a:lnTo>
                    <a:pt x="87" y="52"/>
                  </a:lnTo>
                  <a:lnTo>
                    <a:pt x="1" y="48"/>
                  </a:lnTo>
                  <a:lnTo>
                    <a:pt x="0" y="2"/>
                  </a:lnTo>
                  <a:close/>
                </a:path>
              </a:pathLst>
            </a:custGeom>
            <a:solidFill>
              <a:srgbClr val="2F5D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91" name="Freeform 538">
              <a:extLst>
                <a:ext uri="{FF2B5EF4-FFF2-40B4-BE49-F238E27FC236}">
                  <a16:creationId xmlns:a16="http://schemas.microsoft.com/office/drawing/2014/main" id="{69E0FF5E-8C7D-208E-908B-408B092B64CE}"/>
                </a:ext>
              </a:extLst>
            </p:cNvPr>
            <p:cNvSpPr>
              <a:spLocks/>
            </p:cNvSpPr>
            <p:nvPr/>
          </p:nvSpPr>
          <p:spPr bwMode="auto">
            <a:xfrm>
              <a:off x="10772775" y="3883026"/>
              <a:ext cx="800100" cy="242888"/>
            </a:xfrm>
            <a:custGeom>
              <a:avLst/>
              <a:gdLst>
                <a:gd name="T0" fmla="*/ 2147483646 w 1512"/>
                <a:gd name="T1" fmla="*/ 2147483646 h 461"/>
                <a:gd name="T2" fmla="*/ 2147483646 w 1512"/>
                <a:gd name="T3" fmla="*/ 0 h 461"/>
                <a:gd name="T4" fmla="*/ 0 w 1512"/>
                <a:gd name="T5" fmla="*/ 2147483646 h 461"/>
                <a:gd name="T6" fmla="*/ 2147483646 w 1512"/>
                <a:gd name="T7" fmla="*/ 2147483646 h 461"/>
                <a:gd name="T8" fmla="*/ 2147483646 w 1512"/>
                <a:gd name="T9" fmla="*/ 2147483646 h 46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12" h="461">
                  <a:moveTo>
                    <a:pt x="1512" y="428"/>
                  </a:moveTo>
                  <a:lnTo>
                    <a:pt x="15" y="0"/>
                  </a:lnTo>
                  <a:lnTo>
                    <a:pt x="0" y="56"/>
                  </a:lnTo>
                  <a:lnTo>
                    <a:pt x="1501" y="461"/>
                  </a:lnTo>
                  <a:lnTo>
                    <a:pt x="1512" y="428"/>
                  </a:lnTo>
                  <a:close/>
                </a:path>
              </a:pathLst>
            </a:custGeom>
            <a:solidFill>
              <a:srgbClr val="A91A3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92" name="Freeform 539">
              <a:extLst>
                <a:ext uri="{FF2B5EF4-FFF2-40B4-BE49-F238E27FC236}">
                  <a16:creationId xmlns:a16="http://schemas.microsoft.com/office/drawing/2014/main" id="{D5452255-FBFF-A6F1-57A0-D903CC3E9319}"/>
                </a:ext>
              </a:extLst>
            </p:cNvPr>
            <p:cNvSpPr>
              <a:spLocks/>
            </p:cNvSpPr>
            <p:nvPr/>
          </p:nvSpPr>
          <p:spPr bwMode="auto">
            <a:xfrm>
              <a:off x="9412288" y="4254501"/>
              <a:ext cx="2779713" cy="241300"/>
            </a:xfrm>
            <a:custGeom>
              <a:avLst/>
              <a:gdLst>
                <a:gd name="T0" fmla="*/ 0 w 5252"/>
                <a:gd name="T1" fmla="*/ 0 h 457"/>
                <a:gd name="T2" fmla="*/ 2147483646 w 5252"/>
                <a:gd name="T3" fmla="*/ 0 h 457"/>
                <a:gd name="T4" fmla="*/ 2147483646 w 5252"/>
                <a:gd name="T5" fmla="*/ 0 h 457"/>
                <a:gd name="T6" fmla="*/ 2147483646 w 5252"/>
                <a:gd name="T7" fmla="*/ 2147483646 h 457"/>
                <a:gd name="T8" fmla="*/ 2147483646 w 5252"/>
                <a:gd name="T9" fmla="*/ 2147483646 h 457"/>
                <a:gd name="T10" fmla="*/ 2147483646 w 5252"/>
                <a:gd name="T11" fmla="*/ 2147483646 h 457"/>
                <a:gd name="T12" fmla="*/ 2147483646 w 5252"/>
                <a:gd name="T13" fmla="*/ 2147483646 h 457"/>
                <a:gd name="T14" fmla="*/ 2147483646 w 5252"/>
                <a:gd name="T15" fmla="*/ 2147483646 h 457"/>
                <a:gd name="T16" fmla="*/ 2147483646 w 5252"/>
                <a:gd name="T17" fmla="*/ 2147483646 h 457"/>
                <a:gd name="T18" fmla="*/ 2147483646 w 5252"/>
                <a:gd name="T19" fmla="*/ 2147483646 h 457"/>
                <a:gd name="T20" fmla="*/ 2147483646 w 5252"/>
                <a:gd name="T21" fmla="*/ 2147483646 h 457"/>
                <a:gd name="T22" fmla="*/ 2147483646 w 5252"/>
                <a:gd name="T23" fmla="*/ 2147483646 h 457"/>
                <a:gd name="T24" fmla="*/ 2147483646 w 5252"/>
                <a:gd name="T25" fmla="*/ 2147483646 h 457"/>
                <a:gd name="T26" fmla="*/ 2147483646 w 5252"/>
                <a:gd name="T27" fmla="*/ 2147483646 h 457"/>
                <a:gd name="T28" fmla="*/ 2147483646 w 5252"/>
                <a:gd name="T29" fmla="*/ 2147483646 h 457"/>
                <a:gd name="T30" fmla="*/ 2147483646 w 5252"/>
                <a:gd name="T31" fmla="*/ 2147483646 h 457"/>
                <a:gd name="T32" fmla="*/ 2147483646 w 5252"/>
                <a:gd name="T33" fmla="*/ 2147483646 h 457"/>
                <a:gd name="T34" fmla="*/ 2147483646 w 5252"/>
                <a:gd name="T35" fmla="*/ 2147483646 h 457"/>
                <a:gd name="T36" fmla="*/ 2147483646 w 5252"/>
                <a:gd name="T37" fmla="*/ 2147483646 h 457"/>
                <a:gd name="T38" fmla="*/ 2147483646 w 5252"/>
                <a:gd name="T39" fmla="*/ 2147483646 h 457"/>
                <a:gd name="T40" fmla="*/ 2147483646 w 5252"/>
                <a:gd name="T41" fmla="*/ 2147483646 h 457"/>
                <a:gd name="T42" fmla="*/ 2147483646 w 5252"/>
                <a:gd name="T43" fmla="*/ 2147483646 h 457"/>
                <a:gd name="T44" fmla="*/ 2147483646 w 5252"/>
                <a:gd name="T45" fmla="*/ 2147483646 h 457"/>
                <a:gd name="T46" fmla="*/ 2147483646 w 5252"/>
                <a:gd name="T47" fmla="*/ 2147483646 h 457"/>
                <a:gd name="T48" fmla="*/ 2147483646 w 5252"/>
                <a:gd name="T49" fmla="*/ 2147483646 h 457"/>
                <a:gd name="T50" fmla="*/ 2147483646 w 5252"/>
                <a:gd name="T51" fmla="*/ 2147483646 h 457"/>
                <a:gd name="T52" fmla="*/ 2147483646 w 5252"/>
                <a:gd name="T53" fmla="*/ 2147483646 h 457"/>
                <a:gd name="T54" fmla="*/ 2147483646 w 5252"/>
                <a:gd name="T55" fmla="*/ 2147483646 h 457"/>
                <a:gd name="T56" fmla="*/ 2147483646 w 5252"/>
                <a:gd name="T57" fmla="*/ 2147483646 h 457"/>
                <a:gd name="T58" fmla="*/ 2147483646 w 5252"/>
                <a:gd name="T59" fmla="*/ 2147483646 h 457"/>
                <a:gd name="T60" fmla="*/ 2147483646 w 5252"/>
                <a:gd name="T61" fmla="*/ 2147483646 h 457"/>
                <a:gd name="T62" fmla="*/ 2147483646 w 5252"/>
                <a:gd name="T63" fmla="*/ 2147483646 h 457"/>
                <a:gd name="T64" fmla="*/ 2147483646 w 5252"/>
                <a:gd name="T65" fmla="*/ 2147483646 h 457"/>
                <a:gd name="T66" fmla="*/ 2147483646 w 5252"/>
                <a:gd name="T67" fmla="*/ 2147483646 h 457"/>
                <a:gd name="T68" fmla="*/ 2147483646 w 5252"/>
                <a:gd name="T69" fmla="*/ 2147483646 h 457"/>
                <a:gd name="T70" fmla="*/ 2147483646 w 5252"/>
                <a:gd name="T71" fmla="*/ 2147483646 h 457"/>
                <a:gd name="T72" fmla="*/ 2147483646 w 5252"/>
                <a:gd name="T73" fmla="*/ 2147483646 h 457"/>
                <a:gd name="T74" fmla="*/ 2147483646 w 5252"/>
                <a:gd name="T75" fmla="*/ 2147483646 h 457"/>
                <a:gd name="T76" fmla="*/ 2147483646 w 5252"/>
                <a:gd name="T77" fmla="*/ 2147483646 h 457"/>
                <a:gd name="T78" fmla="*/ 2147483646 w 5252"/>
                <a:gd name="T79" fmla="*/ 2147483646 h 457"/>
                <a:gd name="T80" fmla="*/ 2147483646 w 5252"/>
                <a:gd name="T81" fmla="*/ 2147483646 h 457"/>
                <a:gd name="T82" fmla="*/ 2147483646 w 5252"/>
                <a:gd name="T83" fmla="*/ 2147483646 h 457"/>
                <a:gd name="T84" fmla="*/ 2147483646 w 5252"/>
                <a:gd name="T85" fmla="*/ 2147483646 h 457"/>
                <a:gd name="T86" fmla="*/ 2147483646 w 5252"/>
                <a:gd name="T87" fmla="*/ 2147483646 h 457"/>
                <a:gd name="T88" fmla="*/ 2147483646 w 5252"/>
                <a:gd name="T89" fmla="*/ 2147483646 h 457"/>
                <a:gd name="T90" fmla="*/ 2147483646 w 5252"/>
                <a:gd name="T91" fmla="*/ 2147483646 h 457"/>
                <a:gd name="T92" fmla="*/ 2147483646 w 5252"/>
                <a:gd name="T93" fmla="*/ 2147483646 h 457"/>
                <a:gd name="T94" fmla="*/ 2147483646 w 5252"/>
                <a:gd name="T95" fmla="*/ 2147483646 h 457"/>
                <a:gd name="T96" fmla="*/ 2147483646 w 5252"/>
                <a:gd name="T97" fmla="*/ 2147483646 h 457"/>
                <a:gd name="T98" fmla="*/ 2147483646 w 5252"/>
                <a:gd name="T99" fmla="*/ 2147483646 h 457"/>
                <a:gd name="T100" fmla="*/ 2147483646 w 5252"/>
                <a:gd name="T101" fmla="*/ 2147483646 h 457"/>
                <a:gd name="T102" fmla="*/ 2147483646 w 5252"/>
                <a:gd name="T103" fmla="*/ 2147483646 h 457"/>
                <a:gd name="T104" fmla="*/ 2147483646 w 5252"/>
                <a:gd name="T105" fmla="*/ 2147483646 h 457"/>
                <a:gd name="T106" fmla="*/ 2147483646 w 5252"/>
                <a:gd name="T107" fmla="*/ 2147483646 h 457"/>
                <a:gd name="T108" fmla="*/ 2147483646 w 5252"/>
                <a:gd name="T109" fmla="*/ 2147483646 h 457"/>
                <a:gd name="T110" fmla="*/ 2147483646 w 5252"/>
                <a:gd name="T111" fmla="*/ 2147483646 h 457"/>
                <a:gd name="T112" fmla="*/ 2147483646 w 5252"/>
                <a:gd name="T113" fmla="*/ 2147483646 h 457"/>
                <a:gd name="T114" fmla="*/ 0 w 5252"/>
                <a:gd name="T115" fmla="*/ 0 h 457"/>
                <a:gd name="T116" fmla="*/ 0 w 5252"/>
                <a:gd name="T117" fmla="*/ 0 h 4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252" h="457">
                  <a:moveTo>
                    <a:pt x="0" y="0"/>
                  </a:moveTo>
                  <a:lnTo>
                    <a:pt x="5252" y="0"/>
                  </a:lnTo>
                  <a:lnTo>
                    <a:pt x="5251" y="4"/>
                  </a:lnTo>
                  <a:lnTo>
                    <a:pt x="5243" y="18"/>
                  </a:lnTo>
                  <a:lnTo>
                    <a:pt x="5236" y="29"/>
                  </a:lnTo>
                  <a:lnTo>
                    <a:pt x="5228" y="41"/>
                  </a:lnTo>
                  <a:lnTo>
                    <a:pt x="5217" y="54"/>
                  </a:lnTo>
                  <a:lnTo>
                    <a:pt x="5204" y="70"/>
                  </a:lnTo>
                  <a:lnTo>
                    <a:pt x="5186" y="87"/>
                  </a:lnTo>
                  <a:lnTo>
                    <a:pt x="5168" y="105"/>
                  </a:lnTo>
                  <a:lnTo>
                    <a:pt x="5144" y="124"/>
                  </a:lnTo>
                  <a:lnTo>
                    <a:pt x="5117" y="144"/>
                  </a:lnTo>
                  <a:lnTo>
                    <a:pt x="5086" y="164"/>
                  </a:lnTo>
                  <a:lnTo>
                    <a:pt x="5050" y="186"/>
                  </a:lnTo>
                  <a:lnTo>
                    <a:pt x="5010" y="207"/>
                  </a:lnTo>
                  <a:lnTo>
                    <a:pt x="4965" y="228"/>
                  </a:lnTo>
                  <a:lnTo>
                    <a:pt x="4915" y="250"/>
                  </a:lnTo>
                  <a:lnTo>
                    <a:pt x="4860" y="270"/>
                  </a:lnTo>
                  <a:lnTo>
                    <a:pt x="4798" y="291"/>
                  </a:lnTo>
                  <a:lnTo>
                    <a:pt x="4731" y="311"/>
                  </a:lnTo>
                  <a:lnTo>
                    <a:pt x="4657" y="332"/>
                  </a:lnTo>
                  <a:lnTo>
                    <a:pt x="4577" y="350"/>
                  </a:lnTo>
                  <a:lnTo>
                    <a:pt x="4491" y="369"/>
                  </a:lnTo>
                  <a:lnTo>
                    <a:pt x="4398" y="385"/>
                  </a:lnTo>
                  <a:lnTo>
                    <a:pt x="4296" y="401"/>
                  </a:lnTo>
                  <a:lnTo>
                    <a:pt x="4188" y="415"/>
                  </a:lnTo>
                  <a:lnTo>
                    <a:pt x="4071" y="427"/>
                  </a:lnTo>
                  <a:lnTo>
                    <a:pt x="3946" y="437"/>
                  </a:lnTo>
                  <a:lnTo>
                    <a:pt x="3814" y="445"/>
                  </a:lnTo>
                  <a:lnTo>
                    <a:pt x="3672" y="452"/>
                  </a:lnTo>
                  <a:lnTo>
                    <a:pt x="3522" y="456"/>
                  </a:lnTo>
                  <a:lnTo>
                    <a:pt x="3363" y="457"/>
                  </a:lnTo>
                  <a:lnTo>
                    <a:pt x="3198" y="456"/>
                  </a:lnTo>
                  <a:lnTo>
                    <a:pt x="3036" y="452"/>
                  </a:lnTo>
                  <a:lnTo>
                    <a:pt x="2874" y="445"/>
                  </a:lnTo>
                  <a:lnTo>
                    <a:pt x="2715" y="437"/>
                  </a:lnTo>
                  <a:lnTo>
                    <a:pt x="2557" y="427"/>
                  </a:lnTo>
                  <a:lnTo>
                    <a:pt x="2401" y="415"/>
                  </a:lnTo>
                  <a:lnTo>
                    <a:pt x="2247" y="401"/>
                  </a:lnTo>
                  <a:lnTo>
                    <a:pt x="2097" y="385"/>
                  </a:lnTo>
                  <a:lnTo>
                    <a:pt x="1950" y="369"/>
                  </a:lnTo>
                  <a:lnTo>
                    <a:pt x="1805" y="350"/>
                  </a:lnTo>
                  <a:lnTo>
                    <a:pt x="1665" y="332"/>
                  </a:lnTo>
                  <a:lnTo>
                    <a:pt x="1528" y="311"/>
                  </a:lnTo>
                  <a:lnTo>
                    <a:pt x="1396" y="291"/>
                  </a:lnTo>
                  <a:lnTo>
                    <a:pt x="1267" y="270"/>
                  </a:lnTo>
                  <a:lnTo>
                    <a:pt x="1143" y="250"/>
                  </a:lnTo>
                  <a:lnTo>
                    <a:pt x="1023" y="228"/>
                  </a:lnTo>
                  <a:lnTo>
                    <a:pt x="910" y="207"/>
                  </a:lnTo>
                  <a:lnTo>
                    <a:pt x="801" y="186"/>
                  </a:lnTo>
                  <a:lnTo>
                    <a:pt x="602" y="144"/>
                  </a:lnTo>
                  <a:lnTo>
                    <a:pt x="428" y="105"/>
                  </a:lnTo>
                  <a:lnTo>
                    <a:pt x="280" y="70"/>
                  </a:lnTo>
                  <a:lnTo>
                    <a:pt x="161" y="41"/>
                  </a:lnTo>
                  <a:lnTo>
                    <a:pt x="74" y="18"/>
                  </a:lnTo>
                  <a:lnTo>
                    <a:pt x="0" y="0"/>
                  </a:lnTo>
                  <a:close/>
                </a:path>
              </a:pathLst>
            </a:custGeom>
            <a:solidFill>
              <a:srgbClr val="B6B32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93" name="Freeform 540">
              <a:extLst>
                <a:ext uri="{FF2B5EF4-FFF2-40B4-BE49-F238E27FC236}">
                  <a16:creationId xmlns:a16="http://schemas.microsoft.com/office/drawing/2014/main" id="{9B008406-FF9F-DFBE-B17D-08DC6083A5D7}"/>
                </a:ext>
              </a:extLst>
            </p:cNvPr>
            <p:cNvSpPr>
              <a:spLocks/>
            </p:cNvSpPr>
            <p:nvPr/>
          </p:nvSpPr>
          <p:spPr bwMode="auto">
            <a:xfrm>
              <a:off x="9652000" y="4254501"/>
              <a:ext cx="936625" cy="211138"/>
            </a:xfrm>
            <a:custGeom>
              <a:avLst/>
              <a:gdLst>
                <a:gd name="T0" fmla="*/ 0 w 1769"/>
                <a:gd name="T1" fmla="*/ 0 h 399"/>
                <a:gd name="T2" fmla="*/ 2147483646 w 1769"/>
                <a:gd name="T3" fmla="*/ 2147483646 h 399"/>
                <a:gd name="T4" fmla="*/ 2147483646 w 1769"/>
                <a:gd name="T5" fmla="*/ 2147483646 h 399"/>
                <a:gd name="T6" fmla="*/ 2147483646 w 1769"/>
                <a:gd name="T7" fmla="*/ 2147483646 h 399"/>
                <a:gd name="T8" fmla="*/ 2147483646 w 1769"/>
                <a:gd name="T9" fmla="*/ 2147483646 h 399"/>
                <a:gd name="T10" fmla="*/ 2147483646 w 1769"/>
                <a:gd name="T11" fmla="*/ 2147483646 h 399"/>
                <a:gd name="T12" fmla="*/ 2147483646 w 1769"/>
                <a:gd name="T13" fmla="*/ 2147483646 h 399"/>
                <a:gd name="T14" fmla="*/ 2147483646 w 1769"/>
                <a:gd name="T15" fmla="*/ 2147483646 h 399"/>
                <a:gd name="T16" fmla="*/ 2147483646 w 1769"/>
                <a:gd name="T17" fmla="*/ 2147483646 h 399"/>
                <a:gd name="T18" fmla="*/ 2147483646 w 1769"/>
                <a:gd name="T19" fmla="*/ 2147483646 h 399"/>
                <a:gd name="T20" fmla="*/ 2147483646 w 1769"/>
                <a:gd name="T21" fmla="*/ 2147483646 h 399"/>
                <a:gd name="T22" fmla="*/ 2147483646 w 1769"/>
                <a:gd name="T23" fmla="*/ 0 h 399"/>
                <a:gd name="T24" fmla="*/ 0 w 1769"/>
                <a:gd name="T25" fmla="*/ 0 h 39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69" h="399">
                  <a:moveTo>
                    <a:pt x="0" y="0"/>
                  </a:moveTo>
                  <a:lnTo>
                    <a:pt x="362" y="187"/>
                  </a:lnTo>
                  <a:lnTo>
                    <a:pt x="509" y="216"/>
                  </a:lnTo>
                  <a:lnTo>
                    <a:pt x="666" y="245"/>
                  </a:lnTo>
                  <a:lnTo>
                    <a:pt x="830" y="274"/>
                  </a:lnTo>
                  <a:lnTo>
                    <a:pt x="1004" y="301"/>
                  </a:lnTo>
                  <a:lnTo>
                    <a:pt x="1186" y="328"/>
                  </a:lnTo>
                  <a:lnTo>
                    <a:pt x="1374" y="353"/>
                  </a:lnTo>
                  <a:lnTo>
                    <a:pt x="1569" y="377"/>
                  </a:lnTo>
                  <a:lnTo>
                    <a:pt x="1769" y="399"/>
                  </a:lnTo>
                  <a:lnTo>
                    <a:pt x="1668" y="0"/>
                  </a:lnTo>
                  <a:lnTo>
                    <a:pt x="0" y="0"/>
                  </a:lnTo>
                  <a:close/>
                </a:path>
              </a:pathLst>
            </a:custGeom>
            <a:solidFill>
              <a:srgbClr val="828C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94" name="Freeform 541">
              <a:extLst>
                <a:ext uri="{FF2B5EF4-FFF2-40B4-BE49-F238E27FC236}">
                  <a16:creationId xmlns:a16="http://schemas.microsoft.com/office/drawing/2014/main" id="{227F48FC-9366-4642-7D6B-B66561B6E4D8}"/>
                </a:ext>
              </a:extLst>
            </p:cNvPr>
            <p:cNvSpPr>
              <a:spLocks/>
            </p:cNvSpPr>
            <p:nvPr/>
          </p:nvSpPr>
          <p:spPr bwMode="auto">
            <a:xfrm>
              <a:off x="10534650" y="4254501"/>
              <a:ext cx="1162050" cy="241300"/>
            </a:xfrm>
            <a:custGeom>
              <a:avLst/>
              <a:gdLst>
                <a:gd name="T0" fmla="*/ 2147483646 w 2194"/>
                <a:gd name="T1" fmla="*/ 2147483646 h 457"/>
                <a:gd name="T2" fmla="*/ 2147483646 w 2194"/>
                <a:gd name="T3" fmla="*/ 0 h 457"/>
                <a:gd name="T4" fmla="*/ 0 w 2194"/>
                <a:gd name="T5" fmla="*/ 0 h 457"/>
                <a:gd name="T6" fmla="*/ 2147483646 w 2194"/>
                <a:gd name="T7" fmla="*/ 2147483646 h 457"/>
                <a:gd name="T8" fmla="*/ 2147483646 w 2194"/>
                <a:gd name="T9" fmla="*/ 2147483646 h 457"/>
                <a:gd name="T10" fmla="*/ 2147483646 w 2194"/>
                <a:gd name="T11" fmla="*/ 2147483646 h 457"/>
                <a:gd name="T12" fmla="*/ 2147483646 w 2194"/>
                <a:gd name="T13" fmla="*/ 2147483646 h 457"/>
                <a:gd name="T14" fmla="*/ 2147483646 w 2194"/>
                <a:gd name="T15" fmla="*/ 2147483646 h 457"/>
                <a:gd name="T16" fmla="*/ 2147483646 w 2194"/>
                <a:gd name="T17" fmla="*/ 2147483646 h 457"/>
                <a:gd name="T18" fmla="*/ 2147483646 w 2194"/>
                <a:gd name="T19" fmla="*/ 2147483646 h 457"/>
                <a:gd name="T20" fmla="*/ 2147483646 w 2194"/>
                <a:gd name="T21" fmla="*/ 2147483646 h 457"/>
                <a:gd name="T22" fmla="*/ 2147483646 w 2194"/>
                <a:gd name="T23" fmla="*/ 2147483646 h 457"/>
                <a:gd name="T24" fmla="*/ 2147483646 w 2194"/>
                <a:gd name="T25" fmla="*/ 2147483646 h 457"/>
                <a:gd name="T26" fmla="*/ 2147483646 w 2194"/>
                <a:gd name="T27" fmla="*/ 2147483646 h 457"/>
                <a:gd name="T28" fmla="*/ 2147483646 w 2194"/>
                <a:gd name="T29" fmla="*/ 2147483646 h 457"/>
                <a:gd name="T30" fmla="*/ 2147483646 w 2194"/>
                <a:gd name="T31" fmla="*/ 2147483646 h 457"/>
                <a:gd name="T32" fmla="*/ 2147483646 w 2194"/>
                <a:gd name="T33" fmla="*/ 2147483646 h 457"/>
                <a:gd name="T34" fmla="*/ 2147483646 w 2194"/>
                <a:gd name="T35" fmla="*/ 2147483646 h 457"/>
                <a:gd name="T36" fmla="*/ 2147483646 w 2194"/>
                <a:gd name="T37" fmla="*/ 2147483646 h 457"/>
                <a:gd name="T38" fmla="*/ 2147483646 w 2194"/>
                <a:gd name="T39" fmla="*/ 2147483646 h 457"/>
                <a:gd name="T40" fmla="*/ 2147483646 w 2194"/>
                <a:gd name="T41" fmla="*/ 2147483646 h 457"/>
                <a:gd name="T42" fmla="*/ 2147483646 w 2194"/>
                <a:gd name="T43" fmla="*/ 2147483646 h 457"/>
                <a:gd name="T44" fmla="*/ 2147483646 w 2194"/>
                <a:gd name="T45" fmla="*/ 2147483646 h 457"/>
                <a:gd name="T46" fmla="*/ 2147483646 w 2194"/>
                <a:gd name="T47" fmla="*/ 2147483646 h 45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94" h="457">
                  <a:moveTo>
                    <a:pt x="2194" y="399"/>
                  </a:moveTo>
                  <a:lnTo>
                    <a:pt x="1864" y="0"/>
                  </a:lnTo>
                  <a:lnTo>
                    <a:pt x="0" y="0"/>
                  </a:lnTo>
                  <a:lnTo>
                    <a:pt x="39" y="155"/>
                  </a:lnTo>
                  <a:lnTo>
                    <a:pt x="339" y="420"/>
                  </a:lnTo>
                  <a:lnTo>
                    <a:pt x="449" y="428"/>
                  </a:lnTo>
                  <a:lnTo>
                    <a:pt x="559" y="435"/>
                  </a:lnTo>
                  <a:lnTo>
                    <a:pt x="671" y="441"/>
                  </a:lnTo>
                  <a:lnTo>
                    <a:pt x="784" y="447"/>
                  </a:lnTo>
                  <a:lnTo>
                    <a:pt x="898" y="451"/>
                  </a:lnTo>
                  <a:lnTo>
                    <a:pt x="1011" y="455"/>
                  </a:lnTo>
                  <a:lnTo>
                    <a:pt x="1127" y="456"/>
                  </a:lnTo>
                  <a:lnTo>
                    <a:pt x="1242" y="457"/>
                  </a:lnTo>
                  <a:lnTo>
                    <a:pt x="1385" y="456"/>
                  </a:lnTo>
                  <a:lnTo>
                    <a:pt x="1522" y="452"/>
                  </a:lnTo>
                  <a:lnTo>
                    <a:pt x="1650" y="448"/>
                  </a:lnTo>
                  <a:lnTo>
                    <a:pt x="1772" y="441"/>
                  </a:lnTo>
                  <a:lnTo>
                    <a:pt x="1887" y="432"/>
                  </a:lnTo>
                  <a:lnTo>
                    <a:pt x="1996" y="423"/>
                  </a:lnTo>
                  <a:lnTo>
                    <a:pt x="2099" y="411"/>
                  </a:lnTo>
                  <a:lnTo>
                    <a:pt x="2194" y="399"/>
                  </a:lnTo>
                  <a:close/>
                </a:path>
              </a:pathLst>
            </a:custGeom>
            <a:solidFill>
              <a:srgbClr val="828C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95" name="Freeform 542">
              <a:extLst>
                <a:ext uri="{FF2B5EF4-FFF2-40B4-BE49-F238E27FC236}">
                  <a16:creationId xmlns:a16="http://schemas.microsoft.com/office/drawing/2014/main" id="{E696ED7D-8CA7-4A35-BEF8-169EA971E1AB}"/>
                </a:ext>
              </a:extLst>
            </p:cNvPr>
            <p:cNvSpPr>
              <a:spLocks/>
            </p:cNvSpPr>
            <p:nvPr/>
          </p:nvSpPr>
          <p:spPr bwMode="auto">
            <a:xfrm>
              <a:off x="11628438" y="4254501"/>
              <a:ext cx="225425" cy="200025"/>
            </a:xfrm>
            <a:custGeom>
              <a:avLst/>
              <a:gdLst>
                <a:gd name="T0" fmla="*/ 0 w 425"/>
                <a:gd name="T1" fmla="*/ 0 h 380"/>
                <a:gd name="T2" fmla="*/ 2147483646 w 425"/>
                <a:gd name="T3" fmla="*/ 2147483646 h 380"/>
                <a:gd name="T4" fmla="*/ 2147483646 w 425"/>
                <a:gd name="T5" fmla="*/ 2147483646 h 380"/>
                <a:gd name="T6" fmla="*/ 2147483646 w 425"/>
                <a:gd name="T7" fmla="*/ 2147483646 h 380"/>
                <a:gd name="T8" fmla="*/ 2147483646 w 425"/>
                <a:gd name="T9" fmla="*/ 2147483646 h 380"/>
                <a:gd name="T10" fmla="*/ 2147483646 w 425"/>
                <a:gd name="T11" fmla="*/ 0 h 380"/>
                <a:gd name="T12" fmla="*/ 0 w 425"/>
                <a:gd name="T13" fmla="*/ 0 h 38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5" h="380">
                  <a:moveTo>
                    <a:pt x="0" y="0"/>
                  </a:moveTo>
                  <a:lnTo>
                    <a:pt x="245" y="380"/>
                  </a:lnTo>
                  <a:lnTo>
                    <a:pt x="340" y="361"/>
                  </a:lnTo>
                  <a:lnTo>
                    <a:pt x="425" y="342"/>
                  </a:lnTo>
                  <a:lnTo>
                    <a:pt x="166" y="0"/>
                  </a:lnTo>
                  <a:lnTo>
                    <a:pt x="0" y="0"/>
                  </a:lnTo>
                  <a:close/>
                </a:path>
              </a:pathLst>
            </a:custGeom>
            <a:solidFill>
              <a:srgbClr val="828C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96" name="Freeform 543">
              <a:extLst>
                <a:ext uri="{FF2B5EF4-FFF2-40B4-BE49-F238E27FC236}">
                  <a16:creationId xmlns:a16="http://schemas.microsoft.com/office/drawing/2014/main" id="{F1E02182-196E-06EA-0566-DAABF5E07560}"/>
                </a:ext>
              </a:extLst>
            </p:cNvPr>
            <p:cNvSpPr>
              <a:spLocks/>
            </p:cNvSpPr>
            <p:nvPr/>
          </p:nvSpPr>
          <p:spPr bwMode="auto">
            <a:xfrm>
              <a:off x="11790363" y="4254501"/>
              <a:ext cx="333375" cy="150813"/>
            </a:xfrm>
            <a:custGeom>
              <a:avLst/>
              <a:gdLst>
                <a:gd name="T0" fmla="*/ 2147483646 w 629"/>
                <a:gd name="T1" fmla="*/ 0 h 287"/>
                <a:gd name="T2" fmla="*/ 0 w 629"/>
                <a:gd name="T3" fmla="*/ 0 h 287"/>
                <a:gd name="T4" fmla="*/ 2147483646 w 629"/>
                <a:gd name="T5" fmla="*/ 2147483646 h 287"/>
                <a:gd name="T6" fmla="*/ 2147483646 w 629"/>
                <a:gd name="T7" fmla="*/ 2147483646 h 287"/>
                <a:gd name="T8" fmla="*/ 2147483646 w 629"/>
                <a:gd name="T9" fmla="*/ 2147483646 h 287"/>
                <a:gd name="T10" fmla="*/ 2147483646 w 629"/>
                <a:gd name="T11" fmla="*/ 2147483646 h 287"/>
                <a:gd name="T12" fmla="*/ 2147483646 w 629"/>
                <a:gd name="T13" fmla="*/ 2147483646 h 287"/>
                <a:gd name="T14" fmla="*/ 2147483646 w 629"/>
                <a:gd name="T15" fmla="*/ 2147483646 h 287"/>
                <a:gd name="T16" fmla="*/ 2147483646 w 629"/>
                <a:gd name="T17" fmla="*/ 2147483646 h 287"/>
                <a:gd name="T18" fmla="*/ 2147483646 w 629"/>
                <a:gd name="T19" fmla="*/ 2147483646 h 287"/>
                <a:gd name="T20" fmla="*/ 2147483646 w 629"/>
                <a:gd name="T21" fmla="*/ 2147483646 h 287"/>
                <a:gd name="T22" fmla="*/ 2147483646 w 629"/>
                <a:gd name="T23" fmla="*/ 2147483646 h 287"/>
                <a:gd name="T24" fmla="*/ 2147483646 w 629"/>
                <a:gd name="T25" fmla="*/ 0 h 2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29" h="287">
                  <a:moveTo>
                    <a:pt x="451" y="0"/>
                  </a:moveTo>
                  <a:lnTo>
                    <a:pt x="0" y="0"/>
                  </a:lnTo>
                  <a:lnTo>
                    <a:pt x="316" y="287"/>
                  </a:lnTo>
                  <a:lnTo>
                    <a:pt x="370" y="269"/>
                  </a:lnTo>
                  <a:lnTo>
                    <a:pt x="418" y="250"/>
                  </a:lnTo>
                  <a:lnTo>
                    <a:pt x="462" y="231"/>
                  </a:lnTo>
                  <a:lnTo>
                    <a:pt x="504" y="212"/>
                  </a:lnTo>
                  <a:lnTo>
                    <a:pt x="540" y="194"/>
                  </a:lnTo>
                  <a:lnTo>
                    <a:pt x="573" y="175"/>
                  </a:lnTo>
                  <a:lnTo>
                    <a:pt x="603" y="158"/>
                  </a:lnTo>
                  <a:lnTo>
                    <a:pt x="629" y="139"/>
                  </a:lnTo>
                  <a:lnTo>
                    <a:pt x="451" y="0"/>
                  </a:lnTo>
                  <a:close/>
                </a:path>
              </a:pathLst>
            </a:custGeom>
            <a:solidFill>
              <a:srgbClr val="828C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97" name="Freeform 544">
              <a:extLst>
                <a:ext uri="{FF2B5EF4-FFF2-40B4-BE49-F238E27FC236}">
                  <a16:creationId xmlns:a16="http://schemas.microsoft.com/office/drawing/2014/main" id="{8B814203-68A9-7B07-9165-A71DD8E744D0}"/>
                </a:ext>
              </a:extLst>
            </p:cNvPr>
            <p:cNvSpPr>
              <a:spLocks/>
            </p:cNvSpPr>
            <p:nvPr/>
          </p:nvSpPr>
          <p:spPr bwMode="auto">
            <a:xfrm>
              <a:off x="9412288" y="4233863"/>
              <a:ext cx="2689225" cy="38100"/>
            </a:xfrm>
            <a:custGeom>
              <a:avLst/>
              <a:gdLst>
                <a:gd name="T0" fmla="*/ 0 w 5081"/>
                <a:gd name="T1" fmla="*/ 2147483646 h 71"/>
                <a:gd name="T2" fmla="*/ 0 w 5081"/>
                <a:gd name="T3" fmla="*/ 2147483646 h 71"/>
                <a:gd name="T4" fmla="*/ 2147483646 w 5081"/>
                <a:gd name="T5" fmla="*/ 2147483646 h 71"/>
                <a:gd name="T6" fmla="*/ 2147483646 w 5081"/>
                <a:gd name="T7" fmla="*/ 2147483646 h 71"/>
                <a:gd name="T8" fmla="*/ 2147483646 w 5081"/>
                <a:gd name="T9" fmla="*/ 2147483646 h 71"/>
                <a:gd name="T10" fmla="*/ 2147483646 w 5081"/>
                <a:gd name="T11" fmla="*/ 2147483646 h 71"/>
                <a:gd name="T12" fmla="*/ 2147483646 w 5081"/>
                <a:gd name="T13" fmla="*/ 2147483646 h 71"/>
                <a:gd name="T14" fmla="*/ 2147483646 w 5081"/>
                <a:gd name="T15" fmla="*/ 2147483646 h 71"/>
                <a:gd name="T16" fmla="*/ 2147483646 w 5081"/>
                <a:gd name="T17" fmla="*/ 2147483646 h 71"/>
                <a:gd name="T18" fmla="*/ 2147483646 w 5081"/>
                <a:gd name="T19" fmla="*/ 2147483646 h 71"/>
                <a:gd name="T20" fmla="*/ 2147483646 w 5081"/>
                <a:gd name="T21" fmla="*/ 2147483646 h 71"/>
                <a:gd name="T22" fmla="*/ 2147483646 w 5081"/>
                <a:gd name="T23" fmla="*/ 2147483646 h 71"/>
                <a:gd name="T24" fmla="*/ 2147483646 w 5081"/>
                <a:gd name="T25" fmla="*/ 2147483646 h 71"/>
                <a:gd name="T26" fmla="*/ 2147483646 w 5081"/>
                <a:gd name="T27" fmla="*/ 2147483646 h 71"/>
                <a:gd name="T28" fmla="*/ 2147483646 w 5081"/>
                <a:gd name="T29" fmla="*/ 2147483646 h 71"/>
                <a:gd name="T30" fmla="*/ 2147483646 w 5081"/>
                <a:gd name="T31" fmla="*/ 2147483646 h 71"/>
                <a:gd name="T32" fmla="*/ 2147483646 w 5081"/>
                <a:gd name="T33" fmla="*/ 2147483646 h 71"/>
                <a:gd name="T34" fmla="*/ 2147483646 w 5081"/>
                <a:gd name="T35" fmla="*/ 2147483646 h 71"/>
                <a:gd name="T36" fmla="*/ 2147483646 w 5081"/>
                <a:gd name="T37" fmla="*/ 2147483646 h 71"/>
                <a:gd name="T38" fmla="*/ 2147483646 w 5081"/>
                <a:gd name="T39" fmla="*/ 2147483646 h 71"/>
                <a:gd name="T40" fmla="*/ 2147483646 w 5081"/>
                <a:gd name="T41" fmla="*/ 2147483646 h 71"/>
                <a:gd name="T42" fmla="*/ 2147483646 w 5081"/>
                <a:gd name="T43" fmla="*/ 2147483646 h 71"/>
                <a:gd name="T44" fmla="*/ 2147483646 w 5081"/>
                <a:gd name="T45" fmla="*/ 2147483646 h 71"/>
                <a:gd name="T46" fmla="*/ 2147483646 w 5081"/>
                <a:gd name="T47" fmla="*/ 2147483646 h 71"/>
                <a:gd name="T48" fmla="*/ 2147483646 w 5081"/>
                <a:gd name="T49" fmla="*/ 2147483646 h 71"/>
                <a:gd name="T50" fmla="*/ 2147483646 w 5081"/>
                <a:gd name="T51" fmla="*/ 0 h 71"/>
                <a:gd name="T52" fmla="*/ 2147483646 w 5081"/>
                <a:gd name="T53" fmla="*/ 0 h 71"/>
                <a:gd name="T54" fmla="*/ 2147483646 w 5081"/>
                <a:gd name="T55" fmla="*/ 0 h 71"/>
                <a:gd name="T56" fmla="*/ 2147483646 w 5081"/>
                <a:gd name="T57" fmla="*/ 2147483646 h 71"/>
                <a:gd name="T58" fmla="*/ 2147483646 w 5081"/>
                <a:gd name="T59" fmla="*/ 2147483646 h 71"/>
                <a:gd name="T60" fmla="*/ 2147483646 w 5081"/>
                <a:gd name="T61" fmla="*/ 2147483646 h 71"/>
                <a:gd name="T62" fmla="*/ 2147483646 w 5081"/>
                <a:gd name="T63" fmla="*/ 2147483646 h 71"/>
                <a:gd name="T64" fmla="*/ 2147483646 w 5081"/>
                <a:gd name="T65" fmla="*/ 2147483646 h 71"/>
                <a:gd name="T66" fmla="*/ 2147483646 w 5081"/>
                <a:gd name="T67" fmla="*/ 2147483646 h 71"/>
                <a:gd name="T68" fmla="*/ 0 w 5081"/>
                <a:gd name="T69" fmla="*/ 2147483646 h 71"/>
                <a:gd name="T70" fmla="*/ 0 w 5081"/>
                <a:gd name="T71" fmla="*/ 2147483646 h 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081" h="71">
                  <a:moveTo>
                    <a:pt x="0" y="37"/>
                  </a:moveTo>
                  <a:lnTo>
                    <a:pt x="0" y="37"/>
                  </a:lnTo>
                  <a:lnTo>
                    <a:pt x="191" y="42"/>
                  </a:lnTo>
                  <a:lnTo>
                    <a:pt x="418" y="47"/>
                  </a:lnTo>
                  <a:lnTo>
                    <a:pt x="728" y="54"/>
                  </a:lnTo>
                  <a:lnTo>
                    <a:pt x="1111" y="61"/>
                  </a:lnTo>
                  <a:lnTo>
                    <a:pt x="1562" y="66"/>
                  </a:lnTo>
                  <a:lnTo>
                    <a:pt x="2076" y="70"/>
                  </a:lnTo>
                  <a:lnTo>
                    <a:pt x="2646" y="71"/>
                  </a:lnTo>
                  <a:lnTo>
                    <a:pt x="2936" y="71"/>
                  </a:lnTo>
                  <a:lnTo>
                    <a:pt x="3207" y="70"/>
                  </a:lnTo>
                  <a:lnTo>
                    <a:pt x="3697" y="66"/>
                  </a:lnTo>
                  <a:lnTo>
                    <a:pt x="4115" y="61"/>
                  </a:lnTo>
                  <a:lnTo>
                    <a:pt x="4459" y="54"/>
                  </a:lnTo>
                  <a:lnTo>
                    <a:pt x="4730" y="47"/>
                  </a:lnTo>
                  <a:lnTo>
                    <a:pt x="4924" y="42"/>
                  </a:lnTo>
                  <a:lnTo>
                    <a:pt x="5081" y="37"/>
                  </a:lnTo>
                  <a:lnTo>
                    <a:pt x="4890" y="30"/>
                  </a:lnTo>
                  <a:lnTo>
                    <a:pt x="4663" y="24"/>
                  </a:lnTo>
                  <a:lnTo>
                    <a:pt x="4354" y="18"/>
                  </a:lnTo>
                  <a:lnTo>
                    <a:pt x="3971" y="11"/>
                  </a:lnTo>
                  <a:lnTo>
                    <a:pt x="3519" y="6"/>
                  </a:lnTo>
                  <a:lnTo>
                    <a:pt x="3005" y="2"/>
                  </a:lnTo>
                  <a:lnTo>
                    <a:pt x="2436" y="0"/>
                  </a:lnTo>
                  <a:lnTo>
                    <a:pt x="2147" y="0"/>
                  </a:lnTo>
                  <a:lnTo>
                    <a:pt x="1875" y="2"/>
                  </a:lnTo>
                  <a:lnTo>
                    <a:pt x="1385" y="6"/>
                  </a:lnTo>
                  <a:lnTo>
                    <a:pt x="967" y="11"/>
                  </a:lnTo>
                  <a:lnTo>
                    <a:pt x="622" y="18"/>
                  </a:lnTo>
                  <a:lnTo>
                    <a:pt x="353" y="24"/>
                  </a:lnTo>
                  <a:lnTo>
                    <a:pt x="158" y="30"/>
                  </a:lnTo>
                  <a:lnTo>
                    <a:pt x="0" y="37"/>
                  </a:lnTo>
                  <a:close/>
                </a:path>
              </a:pathLst>
            </a:custGeom>
            <a:solidFill>
              <a:srgbClr val="615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98" name="Freeform 545">
              <a:extLst>
                <a:ext uri="{FF2B5EF4-FFF2-40B4-BE49-F238E27FC236}">
                  <a16:creationId xmlns:a16="http://schemas.microsoft.com/office/drawing/2014/main" id="{8362B2BA-F45A-E4C4-0667-90F3F33216F9}"/>
                </a:ext>
              </a:extLst>
            </p:cNvPr>
            <p:cNvSpPr>
              <a:spLocks/>
            </p:cNvSpPr>
            <p:nvPr/>
          </p:nvSpPr>
          <p:spPr bwMode="auto">
            <a:xfrm>
              <a:off x="9598025" y="3886201"/>
              <a:ext cx="152400" cy="307975"/>
            </a:xfrm>
            <a:custGeom>
              <a:avLst/>
              <a:gdLst>
                <a:gd name="T0" fmla="*/ 2147483646 w 286"/>
                <a:gd name="T1" fmla="*/ 2147483646 h 583"/>
                <a:gd name="T2" fmla="*/ 2147483646 w 286"/>
                <a:gd name="T3" fmla="*/ 2147483646 h 583"/>
                <a:gd name="T4" fmla="*/ 2147483646 w 286"/>
                <a:gd name="T5" fmla="*/ 2147483646 h 583"/>
                <a:gd name="T6" fmla="*/ 2147483646 w 286"/>
                <a:gd name="T7" fmla="*/ 2147483646 h 583"/>
                <a:gd name="T8" fmla="*/ 2147483646 w 286"/>
                <a:gd name="T9" fmla="*/ 2147483646 h 583"/>
                <a:gd name="T10" fmla="*/ 2147483646 w 286"/>
                <a:gd name="T11" fmla="*/ 2147483646 h 583"/>
                <a:gd name="T12" fmla="*/ 2147483646 w 286"/>
                <a:gd name="T13" fmla="*/ 2147483646 h 583"/>
                <a:gd name="T14" fmla="*/ 2147483646 w 286"/>
                <a:gd name="T15" fmla="*/ 2147483646 h 583"/>
                <a:gd name="T16" fmla="*/ 2147483646 w 286"/>
                <a:gd name="T17" fmla="*/ 2147483646 h 583"/>
                <a:gd name="T18" fmla="*/ 2147483646 w 286"/>
                <a:gd name="T19" fmla="*/ 2147483646 h 583"/>
                <a:gd name="T20" fmla="*/ 2147483646 w 286"/>
                <a:gd name="T21" fmla="*/ 2147483646 h 583"/>
                <a:gd name="T22" fmla="*/ 2147483646 w 286"/>
                <a:gd name="T23" fmla="*/ 2147483646 h 583"/>
                <a:gd name="T24" fmla="*/ 2147483646 w 286"/>
                <a:gd name="T25" fmla="*/ 2147483646 h 583"/>
                <a:gd name="T26" fmla="*/ 2147483646 w 286"/>
                <a:gd name="T27" fmla="*/ 2147483646 h 583"/>
                <a:gd name="T28" fmla="*/ 2147483646 w 286"/>
                <a:gd name="T29" fmla="*/ 2147483646 h 583"/>
                <a:gd name="T30" fmla="*/ 2147483646 w 286"/>
                <a:gd name="T31" fmla="*/ 2147483646 h 583"/>
                <a:gd name="T32" fmla="*/ 2147483646 w 286"/>
                <a:gd name="T33" fmla="*/ 2147483646 h 583"/>
                <a:gd name="T34" fmla="*/ 2147483646 w 286"/>
                <a:gd name="T35" fmla="*/ 2147483646 h 583"/>
                <a:gd name="T36" fmla="*/ 2147483646 w 286"/>
                <a:gd name="T37" fmla="*/ 2147483646 h 583"/>
                <a:gd name="T38" fmla="*/ 2147483646 w 286"/>
                <a:gd name="T39" fmla="*/ 2147483646 h 583"/>
                <a:gd name="T40" fmla="*/ 2147483646 w 286"/>
                <a:gd name="T41" fmla="*/ 2147483646 h 583"/>
                <a:gd name="T42" fmla="*/ 2147483646 w 286"/>
                <a:gd name="T43" fmla="*/ 2147483646 h 583"/>
                <a:gd name="T44" fmla="*/ 2147483646 w 286"/>
                <a:gd name="T45" fmla="*/ 2147483646 h 583"/>
                <a:gd name="T46" fmla="*/ 2147483646 w 286"/>
                <a:gd name="T47" fmla="*/ 2147483646 h 583"/>
                <a:gd name="T48" fmla="*/ 2147483646 w 286"/>
                <a:gd name="T49" fmla="*/ 2147483646 h 583"/>
                <a:gd name="T50" fmla="*/ 2147483646 w 286"/>
                <a:gd name="T51" fmla="*/ 2147483646 h 583"/>
                <a:gd name="T52" fmla="*/ 2147483646 w 286"/>
                <a:gd name="T53" fmla="*/ 2147483646 h 583"/>
                <a:gd name="T54" fmla="*/ 2147483646 w 286"/>
                <a:gd name="T55" fmla="*/ 2147483646 h 583"/>
                <a:gd name="T56" fmla="*/ 2147483646 w 286"/>
                <a:gd name="T57" fmla="*/ 2147483646 h 583"/>
                <a:gd name="T58" fmla="*/ 2147483646 w 286"/>
                <a:gd name="T59" fmla="*/ 2147483646 h 583"/>
                <a:gd name="T60" fmla="*/ 2147483646 w 286"/>
                <a:gd name="T61" fmla="*/ 0 h 583"/>
                <a:gd name="T62" fmla="*/ 2147483646 w 286"/>
                <a:gd name="T63" fmla="*/ 0 h 583"/>
                <a:gd name="T64" fmla="*/ 2147483646 w 286"/>
                <a:gd name="T65" fmla="*/ 2147483646 h 583"/>
                <a:gd name="T66" fmla="*/ 2147483646 w 286"/>
                <a:gd name="T67" fmla="*/ 2147483646 h 583"/>
                <a:gd name="T68" fmla="*/ 2147483646 w 286"/>
                <a:gd name="T69" fmla="*/ 2147483646 h 583"/>
                <a:gd name="T70" fmla="*/ 2147483646 w 286"/>
                <a:gd name="T71" fmla="*/ 2147483646 h 583"/>
                <a:gd name="T72" fmla="*/ 2147483646 w 286"/>
                <a:gd name="T73" fmla="*/ 2147483646 h 583"/>
                <a:gd name="T74" fmla="*/ 2147483646 w 286"/>
                <a:gd name="T75" fmla="*/ 2147483646 h 583"/>
                <a:gd name="T76" fmla="*/ 2147483646 w 286"/>
                <a:gd name="T77" fmla="*/ 2147483646 h 583"/>
                <a:gd name="T78" fmla="*/ 2147483646 w 286"/>
                <a:gd name="T79" fmla="*/ 2147483646 h 583"/>
                <a:gd name="T80" fmla="*/ 2147483646 w 286"/>
                <a:gd name="T81" fmla="*/ 2147483646 h 583"/>
                <a:gd name="T82" fmla="*/ 2147483646 w 286"/>
                <a:gd name="T83" fmla="*/ 2147483646 h 583"/>
                <a:gd name="T84" fmla="*/ 2147483646 w 286"/>
                <a:gd name="T85" fmla="*/ 2147483646 h 583"/>
                <a:gd name="T86" fmla="*/ 2147483646 w 286"/>
                <a:gd name="T87" fmla="*/ 2147483646 h 583"/>
                <a:gd name="T88" fmla="*/ 2147483646 w 286"/>
                <a:gd name="T89" fmla="*/ 2147483646 h 583"/>
                <a:gd name="T90" fmla="*/ 0 w 286"/>
                <a:gd name="T91" fmla="*/ 2147483646 h 583"/>
                <a:gd name="T92" fmla="*/ 0 w 286"/>
                <a:gd name="T93" fmla="*/ 2147483646 h 583"/>
                <a:gd name="T94" fmla="*/ 2147483646 w 286"/>
                <a:gd name="T95" fmla="*/ 2147483646 h 583"/>
                <a:gd name="T96" fmla="*/ 2147483646 w 286"/>
                <a:gd name="T97" fmla="*/ 2147483646 h 58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6" h="583">
                  <a:moveTo>
                    <a:pt x="2" y="569"/>
                  </a:moveTo>
                  <a:lnTo>
                    <a:pt x="2" y="569"/>
                  </a:lnTo>
                  <a:lnTo>
                    <a:pt x="3" y="571"/>
                  </a:lnTo>
                  <a:lnTo>
                    <a:pt x="7" y="573"/>
                  </a:lnTo>
                  <a:lnTo>
                    <a:pt x="18" y="577"/>
                  </a:lnTo>
                  <a:lnTo>
                    <a:pt x="31" y="579"/>
                  </a:lnTo>
                  <a:lnTo>
                    <a:pt x="50" y="581"/>
                  </a:lnTo>
                  <a:lnTo>
                    <a:pt x="94" y="583"/>
                  </a:lnTo>
                  <a:lnTo>
                    <a:pt x="145" y="583"/>
                  </a:lnTo>
                  <a:lnTo>
                    <a:pt x="194" y="581"/>
                  </a:lnTo>
                  <a:lnTo>
                    <a:pt x="239" y="575"/>
                  </a:lnTo>
                  <a:lnTo>
                    <a:pt x="256" y="573"/>
                  </a:lnTo>
                  <a:lnTo>
                    <a:pt x="271" y="569"/>
                  </a:lnTo>
                  <a:lnTo>
                    <a:pt x="280" y="565"/>
                  </a:lnTo>
                  <a:lnTo>
                    <a:pt x="283" y="563"/>
                  </a:lnTo>
                  <a:lnTo>
                    <a:pt x="286" y="561"/>
                  </a:lnTo>
                  <a:lnTo>
                    <a:pt x="286" y="550"/>
                  </a:lnTo>
                  <a:lnTo>
                    <a:pt x="283" y="530"/>
                  </a:lnTo>
                  <a:lnTo>
                    <a:pt x="272" y="463"/>
                  </a:lnTo>
                  <a:lnTo>
                    <a:pt x="255" y="373"/>
                  </a:lnTo>
                  <a:lnTo>
                    <a:pt x="233" y="271"/>
                  </a:lnTo>
                  <a:lnTo>
                    <a:pt x="209" y="171"/>
                  </a:lnTo>
                  <a:lnTo>
                    <a:pt x="197" y="125"/>
                  </a:lnTo>
                  <a:lnTo>
                    <a:pt x="185" y="84"/>
                  </a:lnTo>
                  <a:lnTo>
                    <a:pt x="174" y="49"/>
                  </a:lnTo>
                  <a:lnTo>
                    <a:pt x="165" y="22"/>
                  </a:lnTo>
                  <a:lnTo>
                    <a:pt x="160" y="13"/>
                  </a:lnTo>
                  <a:lnTo>
                    <a:pt x="156" y="5"/>
                  </a:lnTo>
                  <a:lnTo>
                    <a:pt x="152" y="1"/>
                  </a:lnTo>
                  <a:lnTo>
                    <a:pt x="148" y="0"/>
                  </a:lnTo>
                  <a:lnTo>
                    <a:pt x="145" y="1"/>
                  </a:lnTo>
                  <a:lnTo>
                    <a:pt x="141" y="5"/>
                  </a:lnTo>
                  <a:lnTo>
                    <a:pt x="136" y="12"/>
                  </a:lnTo>
                  <a:lnTo>
                    <a:pt x="132" y="22"/>
                  </a:lnTo>
                  <a:lnTo>
                    <a:pt x="121" y="49"/>
                  </a:lnTo>
                  <a:lnTo>
                    <a:pt x="109" y="84"/>
                  </a:lnTo>
                  <a:lnTo>
                    <a:pt x="95" y="125"/>
                  </a:lnTo>
                  <a:lnTo>
                    <a:pt x="82" y="172"/>
                  </a:lnTo>
                  <a:lnTo>
                    <a:pt x="57" y="274"/>
                  </a:lnTo>
                  <a:lnTo>
                    <a:pt x="32" y="377"/>
                  </a:lnTo>
                  <a:lnTo>
                    <a:pt x="14" y="470"/>
                  </a:lnTo>
                  <a:lnTo>
                    <a:pt x="7" y="507"/>
                  </a:lnTo>
                  <a:lnTo>
                    <a:pt x="3" y="538"/>
                  </a:lnTo>
                  <a:lnTo>
                    <a:pt x="0" y="559"/>
                  </a:lnTo>
                  <a:lnTo>
                    <a:pt x="0" y="566"/>
                  </a:lnTo>
                  <a:lnTo>
                    <a:pt x="2" y="569"/>
                  </a:lnTo>
                  <a:close/>
                </a:path>
              </a:pathLst>
            </a:custGeom>
            <a:solidFill>
              <a:srgbClr val="9BA62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99" name="Freeform 546">
              <a:extLst>
                <a:ext uri="{FF2B5EF4-FFF2-40B4-BE49-F238E27FC236}">
                  <a16:creationId xmlns:a16="http://schemas.microsoft.com/office/drawing/2014/main" id="{D16C993E-6E59-EB98-7259-6CA353229429}"/>
                </a:ext>
              </a:extLst>
            </p:cNvPr>
            <p:cNvSpPr>
              <a:spLocks/>
            </p:cNvSpPr>
            <p:nvPr/>
          </p:nvSpPr>
          <p:spPr bwMode="auto">
            <a:xfrm>
              <a:off x="9659938" y="4043363"/>
              <a:ext cx="28575" cy="209550"/>
            </a:xfrm>
            <a:custGeom>
              <a:avLst/>
              <a:gdLst>
                <a:gd name="T0" fmla="*/ 2147483646 w 54"/>
                <a:gd name="T1" fmla="*/ 0 h 397"/>
                <a:gd name="T2" fmla="*/ 0 w 54"/>
                <a:gd name="T3" fmla="*/ 2147483646 h 397"/>
                <a:gd name="T4" fmla="*/ 2147483646 w 54"/>
                <a:gd name="T5" fmla="*/ 2147483646 h 397"/>
                <a:gd name="T6" fmla="*/ 2147483646 w 54"/>
                <a:gd name="T7" fmla="*/ 0 h 39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4" h="397">
                  <a:moveTo>
                    <a:pt x="29" y="0"/>
                  </a:moveTo>
                  <a:lnTo>
                    <a:pt x="0" y="397"/>
                  </a:lnTo>
                  <a:lnTo>
                    <a:pt x="54" y="394"/>
                  </a:lnTo>
                  <a:lnTo>
                    <a:pt x="29" y="0"/>
                  </a:lnTo>
                  <a:close/>
                </a:path>
              </a:pathLst>
            </a:custGeom>
            <a:solidFill>
              <a:srgbClr val="685C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700" name="Freeform 547">
              <a:extLst>
                <a:ext uri="{FF2B5EF4-FFF2-40B4-BE49-F238E27FC236}">
                  <a16:creationId xmlns:a16="http://schemas.microsoft.com/office/drawing/2014/main" id="{8B548C55-D184-1A39-188D-269E588C7B2F}"/>
                </a:ext>
              </a:extLst>
            </p:cNvPr>
            <p:cNvSpPr>
              <a:spLocks/>
            </p:cNvSpPr>
            <p:nvPr/>
          </p:nvSpPr>
          <p:spPr bwMode="auto">
            <a:xfrm>
              <a:off x="10333038" y="3976688"/>
              <a:ext cx="112713" cy="231775"/>
            </a:xfrm>
            <a:custGeom>
              <a:avLst/>
              <a:gdLst>
                <a:gd name="T0" fmla="*/ 0 w 215"/>
                <a:gd name="T1" fmla="*/ 2147483646 h 440"/>
                <a:gd name="T2" fmla="*/ 0 w 215"/>
                <a:gd name="T3" fmla="*/ 2147483646 h 440"/>
                <a:gd name="T4" fmla="*/ 2147483646 w 215"/>
                <a:gd name="T5" fmla="*/ 2147483646 h 440"/>
                <a:gd name="T6" fmla="*/ 2147483646 w 215"/>
                <a:gd name="T7" fmla="*/ 2147483646 h 440"/>
                <a:gd name="T8" fmla="*/ 2147483646 w 215"/>
                <a:gd name="T9" fmla="*/ 2147483646 h 440"/>
                <a:gd name="T10" fmla="*/ 2147483646 w 215"/>
                <a:gd name="T11" fmla="*/ 2147483646 h 440"/>
                <a:gd name="T12" fmla="*/ 2147483646 w 215"/>
                <a:gd name="T13" fmla="*/ 2147483646 h 440"/>
                <a:gd name="T14" fmla="*/ 2147483646 w 215"/>
                <a:gd name="T15" fmla="*/ 2147483646 h 440"/>
                <a:gd name="T16" fmla="*/ 2147483646 w 215"/>
                <a:gd name="T17" fmla="*/ 2147483646 h 440"/>
                <a:gd name="T18" fmla="*/ 2147483646 w 215"/>
                <a:gd name="T19" fmla="*/ 2147483646 h 440"/>
                <a:gd name="T20" fmla="*/ 2147483646 w 215"/>
                <a:gd name="T21" fmla="*/ 2147483646 h 440"/>
                <a:gd name="T22" fmla="*/ 2147483646 w 215"/>
                <a:gd name="T23" fmla="*/ 2147483646 h 440"/>
                <a:gd name="T24" fmla="*/ 2147483646 w 215"/>
                <a:gd name="T25" fmla="*/ 2147483646 h 440"/>
                <a:gd name="T26" fmla="*/ 2147483646 w 215"/>
                <a:gd name="T27" fmla="*/ 2147483646 h 440"/>
                <a:gd name="T28" fmla="*/ 2147483646 w 215"/>
                <a:gd name="T29" fmla="*/ 2147483646 h 440"/>
                <a:gd name="T30" fmla="*/ 2147483646 w 215"/>
                <a:gd name="T31" fmla="*/ 2147483646 h 440"/>
                <a:gd name="T32" fmla="*/ 2147483646 w 215"/>
                <a:gd name="T33" fmla="*/ 2147483646 h 440"/>
                <a:gd name="T34" fmla="*/ 2147483646 w 215"/>
                <a:gd name="T35" fmla="*/ 2147483646 h 440"/>
                <a:gd name="T36" fmla="*/ 2147483646 w 215"/>
                <a:gd name="T37" fmla="*/ 2147483646 h 440"/>
                <a:gd name="T38" fmla="*/ 2147483646 w 215"/>
                <a:gd name="T39" fmla="*/ 2147483646 h 440"/>
                <a:gd name="T40" fmla="*/ 2147483646 w 215"/>
                <a:gd name="T41" fmla="*/ 2147483646 h 440"/>
                <a:gd name="T42" fmla="*/ 2147483646 w 215"/>
                <a:gd name="T43" fmla="*/ 2147483646 h 440"/>
                <a:gd name="T44" fmla="*/ 2147483646 w 215"/>
                <a:gd name="T45" fmla="*/ 2147483646 h 440"/>
                <a:gd name="T46" fmla="*/ 2147483646 w 215"/>
                <a:gd name="T47" fmla="*/ 2147483646 h 440"/>
                <a:gd name="T48" fmla="*/ 2147483646 w 215"/>
                <a:gd name="T49" fmla="*/ 2147483646 h 440"/>
                <a:gd name="T50" fmla="*/ 2147483646 w 215"/>
                <a:gd name="T51" fmla="*/ 0 h 440"/>
                <a:gd name="T52" fmla="*/ 2147483646 w 215"/>
                <a:gd name="T53" fmla="*/ 0 h 440"/>
                <a:gd name="T54" fmla="*/ 2147483646 w 215"/>
                <a:gd name="T55" fmla="*/ 0 h 440"/>
                <a:gd name="T56" fmla="*/ 2147483646 w 215"/>
                <a:gd name="T57" fmla="*/ 0 h 440"/>
                <a:gd name="T58" fmla="*/ 2147483646 w 215"/>
                <a:gd name="T59" fmla="*/ 2147483646 h 440"/>
                <a:gd name="T60" fmla="*/ 2147483646 w 215"/>
                <a:gd name="T61" fmla="*/ 2147483646 h 440"/>
                <a:gd name="T62" fmla="*/ 2147483646 w 215"/>
                <a:gd name="T63" fmla="*/ 2147483646 h 440"/>
                <a:gd name="T64" fmla="*/ 2147483646 w 215"/>
                <a:gd name="T65" fmla="*/ 2147483646 h 440"/>
                <a:gd name="T66" fmla="*/ 2147483646 w 215"/>
                <a:gd name="T67" fmla="*/ 2147483646 h 440"/>
                <a:gd name="T68" fmla="*/ 2147483646 w 215"/>
                <a:gd name="T69" fmla="*/ 2147483646 h 440"/>
                <a:gd name="T70" fmla="*/ 2147483646 w 215"/>
                <a:gd name="T71" fmla="*/ 2147483646 h 440"/>
                <a:gd name="T72" fmla="*/ 2147483646 w 215"/>
                <a:gd name="T73" fmla="*/ 2147483646 h 440"/>
                <a:gd name="T74" fmla="*/ 2147483646 w 215"/>
                <a:gd name="T75" fmla="*/ 2147483646 h 440"/>
                <a:gd name="T76" fmla="*/ 0 w 215"/>
                <a:gd name="T77" fmla="*/ 2147483646 h 440"/>
                <a:gd name="T78" fmla="*/ 0 w 215"/>
                <a:gd name="T79" fmla="*/ 2147483646 h 440"/>
                <a:gd name="T80" fmla="*/ 0 w 215"/>
                <a:gd name="T81" fmla="*/ 2147483646 h 4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15" h="440">
                  <a:moveTo>
                    <a:pt x="0" y="429"/>
                  </a:moveTo>
                  <a:lnTo>
                    <a:pt x="0" y="429"/>
                  </a:lnTo>
                  <a:lnTo>
                    <a:pt x="5" y="432"/>
                  </a:lnTo>
                  <a:lnTo>
                    <a:pt x="13" y="435"/>
                  </a:lnTo>
                  <a:lnTo>
                    <a:pt x="23" y="437"/>
                  </a:lnTo>
                  <a:lnTo>
                    <a:pt x="38" y="439"/>
                  </a:lnTo>
                  <a:lnTo>
                    <a:pt x="71" y="440"/>
                  </a:lnTo>
                  <a:lnTo>
                    <a:pt x="109" y="440"/>
                  </a:lnTo>
                  <a:lnTo>
                    <a:pt x="146" y="437"/>
                  </a:lnTo>
                  <a:lnTo>
                    <a:pt x="180" y="435"/>
                  </a:lnTo>
                  <a:lnTo>
                    <a:pt x="193" y="432"/>
                  </a:lnTo>
                  <a:lnTo>
                    <a:pt x="204" y="429"/>
                  </a:lnTo>
                  <a:lnTo>
                    <a:pt x="212" y="427"/>
                  </a:lnTo>
                  <a:lnTo>
                    <a:pt x="215" y="423"/>
                  </a:lnTo>
                  <a:lnTo>
                    <a:pt x="215" y="415"/>
                  </a:lnTo>
                  <a:lnTo>
                    <a:pt x="213" y="400"/>
                  </a:lnTo>
                  <a:lnTo>
                    <a:pt x="205" y="349"/>
                  </a:lnTo>
                  <a:lnTo>
                    <a:pt x="192" y="281"/>
                  </a:lnTo>
                  <a:lnTo>
                    <a:pt x="176" y="205"/>
                  </a:lnTo>
                  <a:lnTo>
                    <a:pt x="157" y="130"/>
                  </a:lnTo>
                  <a:lnTo>
                    <a:pt x="140" y="64"/>
                  </a:lnTo>
                  <a:lnTo>
                    <a:pt x="132" y="37"/>
                  </a:lnTo>
                  <a:lnTo>
                    <a:pt x="124" y="17"/>
                  </a:lnTo>
                  <a:lnTo>
                    <a:pt x="117" y="4"/>
                  </a:lnTo>
                  <a:lnTo>
                    <a:pt x="114" y="0"/>
                  </a:lnTo>
                  <a:lnTo>
                    <a:pt x="112" y="0"/>
                  </a:lnTo>
                  <a:lnTo>
                    <a:pt x="109" y="0"/>
                  </a:lnTo>
                  <a:lnTo>
                    <a:pt x="106" y="4"/>
                  </a:lnTo>
                  <a:lnTo>
                    <a:pt x="98" y="16"/>
                  </a:lnTo>
                  <a:lnTo>
                    <a:pt x="90" y="37"/>
                  </a:lnTo>
                  <a:lnTo>
                    <a:pt x="81" y="63"/>
                  </a:lnTo>
                  <a:lnTo>
                    <a:pt x="62" y="130"/>
                  </a:lnTo>
                  <a:lnTo>
                    <a:pt x="42" y="207"/>
                  </a:lnTo>
                  <a:lnTo>
                    <a:pt x="25" y="285"/>
                  </a:lnTo>
                  <a:lnTo>
                    <a:pt x="10" y="354"/>
                  </a:lnTo>
                  <a:lnTo>
                    <a:pt x="2" y="405"/>
                  </a:lnTo>
                  <a:lnTo>
                    <a:pt x="0" y="421"/>
                  </a:lnTo>
                  <a:lnTo>
                    <a:pt x="0" y="429"/>
                  </a:lnTo>
                  <a:close/>
                </a:path>
              </a:pathLst>
            </a:custGeom>
            <a:solidFill>
              <a:srgbClr val="818A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701" name="Freeform 548">
              <a:extLst>
                <a:ext uri="{FF2B5EF4-FFF2-40B4-BE49-F238E27FC236}">
                  <a16:creationId xmlns:a16="http://schemas.microsoft.com/office/drawing/2014/main" id="{D9E6EECE-E0DA-2B3B-1434-B7EA65F3F8FC}"/>
                </a:ext>
              </a:extLst>
            </p:cNvPr>
            <p:cNvSpPr>
              <a:spLocks/>
            </p:cNvSpPr>
            <p:nvPr/>
          </p:nvSpPr>
          <p:spPr bwMode="auto">
            <a:xfrm>
              <a:off x="10379075" y="4094163"/>
              <a:ext cx="20638" cy="158750"/>
            </a:xfrm>
            <a:custGeom>
              <a:avLst/>
              <a:gdLst>
                <a:gd name="T0" fmla="*/ 2147483646 w 38"/>
                <a:gd name="T1" fmla="*/ 0 h 300"/>
                <a:gd name="T2" fmla="*/ 0 w 38"/>
                <a:gd name="T3" fmla="*/ 2147483646 h 300"/>
                <a:gd name="T4" fmla="*/ 2147483646 w 38"/>
                <a:gd name="T5" fmla="*/ 2147483646 h 300"/>
                <a:gd name="T6" fmla="*/ 2147483646 w 38"/>
                <a:gd name="T7" fmla="*/ 0 h 3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8" h="300">
                  <a:moveTo>
                    <a:pt x="21" y="0"/>
                  </a:moveTo>
                  <a:lnTo>
                    <a:pt x="0" y="300"/>
                  </a:lnTo>
                  <a:lnTo>
                    <a:pt x="38" y="299"/>
                  </a:lnTo>
                  <a:lnTo>
                    <a:pt x="21" y="0"/>
                  </a:lnTo>
                  <a:close/>
                </a:path>
              </a:pathLst>
            </a:custGeom>
            <a:solidFill>
              <a:srgbClr val="685C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702" name="Freeform 549">
              <a:extLst>
                <a:ext uri="{FF2B5EF4-FFF2-40B4-BE49-F238E27FC236}">
                  <a16:creationId xmlns:a16="http://schemas.microsoft.com/office/drawing/2014/main" id="{A38D1490-F1F4-079A-64E1-4F706A3DBA7D}"/>
                </a:ext>
              </a:extLst>
            </p:cNvPr>
            <p:cNvSpPr>
              <a:spLocks/>
            </p:cNvSpPr>
            <p:nvPr/>
          </p:nvSpPr>
          <p:spPr bwMode="auto">
            <a:xfrm>
              <a:off x="9774238" y="4027488"/>
              <a:ext cx="92075" cy="190500"/>
            </a:xfrm>
            <a:custGeom>
              <a:avLst/>
              <a:gdLst>
                <a:gd name="T0" fmla="*/ 2147483646 w 175"/>
                <a:gd name="T1" fmla="*/ 2147483646 h 359"/>
                <a:gd name="T2" fmla="*/ 2147483646 w 175"/>
                <a:gd name="T3" fmla="*/ 2147483646 h 359"/>
                <a:gd name="T4" fmla="*/ 2147483646 w 175"/>
                <a:gd name="T5" fmla="*/ 2147483646 h 359"/>
                <a:gd name="T6" fmla="*/ 2147483646 w 175"/>
                <a:gd name="T7" fmla="*/ 2147483646 h 359"/>
                <a:gd name="T8" fmla="*/ 2147483646 w 175"/>
                <a:gd name="T9" fmla="*/ 2147483646 h 359"/>
                <a:gd name="T10" fmla="*/ 2147483646 w 175"/>
                <a:gd name="T11" fmla="*/ 2147483646 h 359"/>
                <a:gd name="T12" fmla="*/ 2147483646 w 175"/>
                <a:gd name="T13" fmla="*/ 2147483646 h 359"/>
                <a:gd name="T14" fmla="*/ 2147483646 w 175"/>
                <a:gd name="T15" fmla="*/ 2147483646 h 359"/>
                <a:gd name="T16" fmla="*/ 2147483646 w 175"/>
                <a:gd name="T17" fmla="*/ 2147483646 h 359"/>
                <a:gd name="T18" fmla="*/ 2147483646 w 175"/>
                <a:gd name="T19" fmla="*/ 2147483646 h 359"/>
                <a:gd name="T20" fmla="*/ 2147483646 w 175"/>
                <a:gd name="T21" fmla="*/ 2147483646 h 359"/>
                <a:gd name="T22" fmla="*/ 2147483646 w 175"/>
                <a:gd name="T23" fmla="*/ 2147483646 h 359"/>
                <a:gd name="T24" fmla="*/ 2147483646 w 175"/>
                <a:gd name="T25" fmla="*/ 2147483646 h 359"/>
                <a:gd name="T26" fmla="*/ 2147483646 w 175"/>
                <a:gd name="T27" fmla="*/ 2147483646 h 359"/>
                <a:gd name="T28" fmla="*/ 2147483646 w 175"/>
                <a:gd name="T29" fmla="*/ 2147483646 h 359"/>
                <a:gd name="T30" fmla="*/ 2147483646 w 175"/>
                <a:gd name="T31" fmla="*/ 2147483646 h 359"/>
                <a:gd name="T32" fmla="*/ 2147483646 w 175"/>
                <a:gd name="T33" fmla="*/ 2147483646 h 359"/>
                <a:gd name="T34" fmla="*/ 2147483646 w 175"/>
                <a:gd name="T35" fmla="*/ 2147483646 h 359"/>
                <a:gd name="T36" fmla="*/ 2147483646 w 175"/>
                <a:gd name="T37" fmla="*/ 2147483646 h 359"/>
                <a:gd name="T38" fmla="*/ 2147483646 w 175"/>
                <a:gd name="T39" fmla="*/ 2147483646 h 359"/>
                <a:gd name="T40" fmla="*/ 2147483646 w 175"/>
                <a:gd name="T41" fmla="*/ 2147483646 h 359"/>
                <a:gd name="T42" fmla="*/ 2147483646 w 175"/>
                <a:gd name="T43" fmla="*/ 2147483646 h 359"/>
                <a:gd name="T44" fmla="*/ 2147483646 w 175"/>
                <a:gd name="T45" fmla="*/ 2147483646 h 359"/>
                <a:gd name="T46" fmla="*/ 2147483646 w 175"/>
                <a:gd name="T47" fmla="*/ 2147483646 h 359"/>
                <a:gd name="T48" fmla="*/ 2147483646 w 175"/>
                <a:gd name="T49" fmla="*/ 0 h 359"/>
                <a:gd name="T50" fmla="*/ 2147483646 w 175"/>
                <a:gd name="T51" fmla="*/ 0 h 359"/>
                <a:gd name="T52" fmla="*/ 2147483646 w 175"/>
                <a:gd name="T53" fmla="*/ 2147483646 h 359"/>
                <a:gd name="T54" fmla="*/ 2147483646 w 175"/>
                <a:gd name="T55" fmla="*/ 2147483646 h 359"/>
                <a:gd name="T56" fmla="*/ 2147483646 w 175"/>
                <a:gd name="T57" fmla="*/ 2147483646 h 359"/>
                <a:gd name="T58" fmla="*/ 2147483646 w 175"/>
                <a:gd name="T59" fmla="*/ 2147483646 h 359"/>
                <a:gd name="T60" fmla="*/ 2147483646 w 175"/>
                <a:gd name="T61" fmla="*/ 2147483646 h 359"/>
                <a:gd name="T62" fmla="*/ 2147483646 w 175"/>
                <a:gd name="T63" fmla="*/ 2147483646 h 359"/>
                <a:gd name="T64" fmla="*/ 2147483646 w 175"/>
                <a:gd name="T65" fmla="*/ 2147483646 h 359"/>
                <a:gd name="T66" fmla="*/ 2147483646 w 175"/>
                <a:gd name="T67" fmla="*/ 2147483646 h 359"/>
                <a:gd name="T68" fmla="*/ 2147483646 w 175"/>
                <a:gd name="T69" fmla="*/ 2147483646 h 359"/>
                <a:gd name="T70" fmla="*/ 2147483646 w 175"/>
                <a:gd name="T71" fmla="*/ 2147483646 h 359"/>
                <a:gd name="T72" fmla="*/ 0 w 175"/>
                <a:gd name="T73" fmla="*/ 2147483646 h 359"/>
                <a:gd name="T74" fmla="*/ 2147483646 w 175"/>
                <a:gd name="T75" fmla="*/ 2147483646 h 359"/>
                <a:gd name="T76" fmla="*/ 2147483646 w 175"/>
                <a:gd name="T77" fmla="*/ 2147483646 h 35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75" h="359">
                  <a:moveTo>
                    <a:pt x="1" y="350"/>
                  </a:moveTo>
                  <a:lnTo>
                    <a:pt x="1" y="350"/>
                  </a:lnTo>
                  <a:lnTo>
                    <a:pt x="4" y="353"/>
                  </a:lnTo>
                  <a:lnTo>
                    <a:pt x="11" y="355"/>
                  </a:lnTo>
                  <a:lnTo>
                    <a:pt x="31" y="358"/>
                  </a:lnTo>
                  <a:lnTo>
                    <a:pt x="58" y="359"/>
                  </a:lnTo>
                  <a:lnTo>
                    <a:pt x="88" y="358"/>
                  </a:lnTo>
                  <a:lnTo>
                    <a:pt x="119" y="357"/>
                  </a:lnTo>
                  <a:lnTo>
                    <a:pt x="146" y="354"/>
                  </a:lnTo>
                  <a:lnTo>
                    <a:pt x="166" y="350"/>
                  </a:lnTo>
                  <a:lnTo>
                    <a:pt x="171" y="347"/>
                  </a:lnTo>
                  <a:lnTo>
                    <a:pt x="175" y="345"/>
                  </a:lnTo>
                  <a:lnTo>
                    <a:pt x="175" y="339"/>
                  </a:lnTo>
                  <a:lnTo>
                    <a:pt x="174" y="326"/>
                  </a:lnTo>
                  <a:lnTo>
                    <a:pt x="167" y="284"/>
                  </a:lnTo>
                  <a:lnTo>
                    <a:pt x="157" y="229"/>
                  </a:lnTo>
                  <a:lnTo>
                    <a:pt x="143" y="168"/>
                  </a:lnTo>
                  <a:lnTo>
                    <a:pt x="129" y="106"/>
                  </a:lnTo>
                  <a:lnTo>
                    <a:pt x="114" y="53"/>
                  </a:lnTo>
                  <a:lnTo>
                    <a:pt x="107" y="31"/>
                  </a:lnTo>
                  <a:lnTo>
                    <a:pt x="100" y="15"/>
                  </a:lnTo>
                  <a:lnTo>
                    <a:pt x="95" y="4"/>
                  </a:lnTo>
                  <a:lnTo>
                    <a:pt x="92" y="2"/>
                  </a:lnTo>
                  <a:lnTo>
                    <a:pt x="91" y="0"/>
                  </a:lnTo>
                  <a:lnTo>
                    <a:pt x="88" y="2"/>
                  </a:lnTo>
                  <a:lnTo>
                    <a:pt x="86" y="4"/>
                  </a:lnTo>
                  <a:lnTo>
                    <a:pt x="80" y="14"/>
                  </a:lnTo>
                  <a:lnTo>
                    <a:pt x="74" y="31"/>
                  </a:lnTo>
                  <a:lnTo>
                    <a:pt x="67" y="53"/>
                  </a:lnTo>
                  <a:lnTo>
                    <a:pt x="51" y="106"/>
                  </a:lnTo>
                  <a:lnTo>
                    <a:pt x="35" y="169"/>
                  </a:lnTo>
                  <a:lnTo>
                    <a:pt x="20" y="232"/>
                  </a:lnTo>
                  <a:lnTo>
                    <a:pt x="8" y="288"/>
                  </a:lnTo>
                  <a:lnTo>
                    <a:pt x="1" y="331"/>
                  </a:lnTo>
                  <a:lnTo>
                    <a:pt x="0" y="343"/>
                  </a:lnTo>
                  <a:lnTo>
                    <a:pt x="1" y="350"/>
                  </a:lnTo>
                  <a:close/>
                </a:path>
              </a:pathLst>
            </a:custGeom>
            <a:solidFill>
              <a:srgbClr val="9BA62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703" name="Freeform 550">
              <a:extLst>
                <a:ext uri="{FF2B5EF4-FFF2-40B4-BE49-F238E27FC236}">
                  <a16:creationId xmlns:a16="http://schemas.microsoft.com/office/drawing/2014/main" id="{9DB1B567-8203-77A5-FC69-8AD72925A6DB}"/>
                </a:ext>
              </a:extLst>
            </p:cNvPr>
            <p:cNvSpPr>
              <a:spLocks/>
            </p:cNvSpPr>
            <p:nvPr/>
          </p:nvSpPr>
          <p:spPr bwMode="auto">
            <a:xfrm>
              <a:off x="9810750" y="4124326"/>
              <a:ext cx="17463" cy="128588"/>
            </a:xfrm>
            <a:custGeom>
              <a:avLst/>
              <a:gdLst>
                <a:gd name="T0" fmla="*/ 2147483646 w 32"/>
                <a:gd name="T1" fmla="*/ 0 h 244"/>
                <a:gd name="T2" fmla="*/ 0 w 32"/>
                <a:gd name="T3" fmla="*/ 2147483646 h 244"/>
                <a:gd name="T4" fmla="*/ 2147483646 w 32"/>
                <a:gd name="T5" fmla="*/ 2147483646 h 244"/>
                <a:gd name="T6" fmla="*/ 2147483646 w 32"/>
                <a:gd name="T7" fmla="*/ 0 h 2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2" h="244">
                  <a:moveTo>
                    <a:pt x="17" y="0"/>
                  </a:moveTo>
                  <a:lnTo>
                    <a:pt x="0" y="244"/>
                  </a:lnTo>
                  <a:lnTo>
                    <a:pt x="32" y="243"/>
                  </a:lnTo>
                  <a:lnTo>
                    <a:pt x="17" y="0"/>
                  </a:lnTo>
                  <a:close/>
                </a:path>
              </a:pathLst>
            </a:custGeom>
            <a:solidFill>
              <a:srgbClr val="685C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704" name="Freeform 551">
              <a:extLst>
                <a:ext uri="{FF2B5EF4-FFF2-40B4-BE49-F238E27FC236}">
                  <a16:creationId xmlns:a16="http://schemas.microsoft.com/office/drawing/2014/main" id="{D724EAD7-7A58-8934-60A8-28F249C36DEE}"/>
                </a:ext>
              </a:extLst>
            </p:cNvPr>
            <p:cNvSpPr>
              <a:spLocks/>
            </p:cNvSpPr>
            <p:nvPr/>
          </p:nvSpPr>
          <p:spPr bwMode="auto">
            <a:xfrm>
              <a:off x="12061825" y="4027488"/>
              <a:ext cx="92075" cy="190500"/>
            </a:xfrm>
            <a:custGeom>
              <a:avLst/>
              <a:gdLst>
                <a:gd name="T0" fmla="*/ 0 w 174"/>
                <a:gd name="T1" fmla="*/ 2147483646 h 359"/>
                <a:gd name="T2" fmla="*/ 0 w 174"/>
                <a:gd name="T3" fmla="*/ 2147483646 h 359"/>
                <a:gd name="T4" fmla="*/ 2147483646 w 174"/>
                <a:gd name="T5" fmla="*/ 2147483646 h 359"/>
                <a:gd name="T6" fmla="*/ 2147483646 w 174"/>
                <a:gd name="T7" fmla="*/ 2147483646 h 359"/>
                <a:gd name="T8" fmla="*/ 2147483646 w 174"/>
                <a:gd name="T9" fmla="*/ 2147483646 h 359"/>
                <a:gd name="T10" fmla="*/ 2147483646 w 174"/>
                <a:gd name="T11" fmla="*/ 2147483646 h 359"/>
                <a:gd name="T12" fmla="*/ 2147483646 w 174"/>
                <a:gd name="T13" fmla="*/ 2147483646 h 359"/>
                <a:gd name="T14" fmla="*/ 2147483646 w 174"/>
                <a:gd name="T15" fmla="*/ 2147483646 h 359"/>
                <a:gd name="T16" fmla="*/ 2147483646 w 174"/>
                <a:gd name="T17" fmla="*/ 2147483646 h 359"/>
                <a:gd name="T18" fmla="*/ 2147483646 w 174"/>
                <a:gd name="T19" fmla="*/ 2147483646 h 359"/>
                <a:gd name="T20" fmla="*/ 2147483646 w 174"/>
                <a:gd name="T21" fmla="*/ 2147483646 h 359"/>
                <a:gd name="T22" fmla="*/ 2147483646 w 174"/>
                <a:gd name="T23" fmla="*/ 2147483646 h 359"/>
                <a:gd name="T24" fmla="*/ 2147483646 w 174"/>
                <a:gd name="T25" fmla="*/ 2147483646 h 359"/>
                <a:gd name="T26" fmla="*/ 2147483646 w 174"/>
                <a:gd name="T27" fmla="*/ 2147483646 h 359"/>
                <a:gd name="T28" fmla="*/ 2147483646 w 174"/>
                <a:gd name="T29" fmla="*/ 2147483646 h 359"/>
                <a:gd name="T30" fmla="*/ 2147483646 w 174"/>
                <a:gd name="T31" fmla="*/ 2147483646 h 359"/>
                <a:gd name="T32" fmla="*/ 2147483646 w 174"/>
                <a:gd name="T33" fmla="*/ 2147483646 h 359"/>
                <a:gd name="T34" fmla="*/ 2147483646 w 174"/>
                <a:gd name="T35" fmla="*/ 2147483646 h 359"/>
                <a:gd name="T36" fmla="*/ 2147483646 w 174"/>
                <a:gd name="T37" fmla="*/ 2147483646 h 359"/>
                <a:gd name="T38" fmla="*/ 2147483646 w 174"/>
                <a:gd name="T39" fmla="*/ 2147483646 h 359"/>
                <a:gd name="T40" fmla="*/ 2147483646 w 174"/>
                <a:gd name="T41" fmla="*/ 2147483646 h 359"/>
                <a:gd name="T42" fmla="*/ 2147483646 w 174"/>
                <a:gd name="T43" fmla="*/ 2147483646 h 359"/>
                <a:gd name="T44" fmla="*/ 2147483646 w 174"/>
                <a:gd name="T45" fmla="*/ 2147483646 h 359"/>
                <a:gd name="T46" fmla="*/ 2147483646 w 174"/>
                <a:gd name="T47" fmla="*/ 2147483646 h 359"/>
                <a:gd name="T48" fmla="*/ 2147483646 w 174"/>
                <a:gd name="T49" fmla="*/ 0 h 359"/>
                <a:gd name="T50" fmla="*/ 2147483646 w 174"/>
                <a:gd name="T51" fmla="*/ 0 h 359"/>
                <a:gd name="T52" fmla="*/ 2147483646 w 174"/>
                <a:gd name="T53" fmla="*/ 2147483646 h 359"/>
                <a:gd name="T54" fmla="*/ 2147483646 w 174"/>
                <a:gd name="T55" fmla="*/ 2147483646 h 359"/>
                <a:gd name="T56" fmla="*/ 2147483646 w 174"/>
                <a:gd name="T57" fmla="*/ 2147483646 h 359"/>
                <a:gd name="T58" fmla="*/ 2147483646 w 174"/>
                <a:gd name="T59" fmla="*/ 2147483646 h 359"/>
                <a:gd name="T60" fmla="*/ 2147483646 w 174"/>
                <a:gd name="T61" fmla="*/ 2147483646 h 359"/>
                <a:gd name="T62" fmla="*/ 2147483646 w 174"/>
                <a:gd name="T63" fmla="*/ 2147483646 h 359"/>
                <a:gd name="T64" fmla="*/ 2147483646 w 174"/>
                <a:gd name="T65" fmla="*/ 2147483646 h 359"/>
                <a:gd name="T66" fmla="*/ 2147483646 w 174"/>
                <a:gd name="T67" fmla="*/ 2147483646 h 359"/>
                <a:gd name="T68" fmla="*/ 2147483646 w 174"/>
                <a:gd name="T69" fmla="*/ 2147483646 h 359"/>
                <a:gd name="T70" fmla="*/ 2147483646 w 174"/>
                <a:gd name="T71" fmla="*/ 2147483646 h 359"/>
                <a:gd name="T72" fmla="*/ 0 w 174"/>
                <a:gd name="T73" fmla="*/ 2147483646 h 359"/>
                <a:gd name="T74" fmla="*/ 0 w 174"/>
                <a:gd name="T75" fmla="*/ 2147483646 h 359"/>
                <a:gd name="T76" fmla="*/ 0 w 174"/>
                <a:gd name="T77" fmla="*/ 2147483646 h 35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74" h="359">
                  <a:moveTo>
                    <a:pt x="0" y="350"/>
                  </a:moveTo>
                  <a:lnTo>
                    <a:pt x="0" y="350"/>
                  </a:lnTo>
                  <a:lnTo>
                    <a:pt x="4" y="353"/>
                  </a:lnTo>
                  <a:lnTo>
                    <a:pt x="9" y="355"/>
                  </a:lnTo>
                  <a:lnTo>
                    <a:pt x="29" y="358"/>
                  </a:lnTo>
                  <a:lnTo>
                    <a:pt x="58" y="359"/>
                  </a:lnTo>
                  <a:lnTo>
                    <a:pt x="88" y="358"/>
                  </a:lnTo>
                  <a:lnTo>
                    <a:pt x="119" y="357"/>
                  </a:lnTo>
                  <a:lnTo>
                    <a:pt x="146" y="354"/>
                  </a:lnTo>
                  <a:lnTo>
                    <a:pt x="165" y="350"/>
                  </a:lnTo>
                  <a:lnTo>
                    <a:pt x="171" y="347"/>
                  </a:lnTo>
                  <a:lnTo>
                    <a:pt x="174" y="345"/>
                  </a:lnTo>
                  <a:lnTo>
                    <a:pt x="174" y="339"/>
                  </a:lnTo>
                  <a:lnTo>
                    <a:pt x="173" y="326"/>
                  </a:lnTo>
                  <a:lnTo>
                    <a:pt x="166" y="284"/>
                  </a:lnTo>
                  <a:lnTo>
                    <a:pt x="155" y="229"/>
                  </a:lnTo>
                  <a:lnTo>
                    <a:pt x="142" y="168"/>
                  </a:lnTo>
                  <a:lnTo>
                    <a:pt x="127" y="106"/>
                  </a:lnTo>
                  <a:lnTo>
                    <a:pt x="112" y="53"/>
                  </a:lnTo>
                  <a:lnTo>
                    <a:pt x="106" y="31"/>
                  </a:lnTo>
                  <a:lnTo>
                    <a:pt x="100" y="15"/>
                  </a:lnTo>
                  <a:lnTo>
                    <a:pt x="95" y="4"/>
                  </a:lnTo>
                  <a:lnTo>
                    <a:pt x="92" y="2"/>
                  </a:lnTo>
                  <a:lnTo>
                    <a:pt x="90" y="0"/>
                  </a:lnTo>
                  <a:lnTo>
                    <a:pt x="88" y="2"/>
                  </a:lnTo>
                  <a:lnTo>
                    <a:pt x="86" y="4"/>
                  </a:lnTo>
                  <a:lnTo>
                    <a:pt x="79" y="14"/>
                  </a:lnTo>
                  <a:lnTo>
                    <a:pt x="72" y="31"/>
                  </a:lnTo>
                  <a:lnTo>
                    <a:pt x="66" y="53"/>
                  </a:lnTo>
                  <a:lnTo>
                    <a:pt x="50" y="106"/>
                  </a:lnTo>
                  <a:lnTo>
                    <a:pt x="33" y="169"/>
                  </a:lnTo>
                  <a:lnTo>
                    <a:pt x="19" y="232"/>
                  </a:lnTo>
                  <a:lnTo>
                    <a:pt x="8" y="288"/>
                  </a:lnTo>
                  <a:lnTo>
                    <a:pt x="1" y="331"/>
                  </a:lnTo>
                  <a:lnTo>
                    <a:pt x="0" y="343"/>
                  </a:lnTo>
                  <a:lnTo>
                    <a:pt x="0" y="350"/>
                  </a:lnTo>
                  <a:close/>
                </a:path>
              </a:pathLst>
            </a:custGeom>
            <a:solidFill>
              <a:srgbClr val="9BA62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705" name="Freeform 552">
              <a:extLst>
                <a:ext uri="{FF2B5EF4-FFF2-40B4-BE49-F238E27FC236}">
                  <a16:creationId xmlns:a16="http://schemas.microsoft.com/office/drawing/2014/main" id="{41ADB89F-FF39-5B8C-1D1A-95DEFF178EE0}"/>
                </a:ext>
              </a:extLst>
            </p:cNvPr>
            <p:cNvSpPr>
              <a:spLocks/>
            </p:cNvSpPr>
            <p:nvPr/>
          </p:nvSpPr>
          <p:spPr bwMode="auto">
            <a:xfrm>
              <a:off x="12099925" y="4124326"/>
              <a:ext cx="17463" cy="128588"/>
            </a:xfrm>
            <a:custGeom>
              <a:avLst/>
              <a:gdLst>
                <a:gd name="T0" fmla="*/ 2147483646 w 33"/>
                <a:gd name="T1" fmla="*/ 0 h 244"/>
                <a:gd name="T2" fmla="*/ 0 w 33"/>
                <a:gd name="T3" fmla="*/ 2147483646 h 244"/>
                <a:gd name="T4" fmla="*/ 2147483646 w 33"/>
                <a:gd name="T5" fmla="*/ 2147483646 h 244"/>
                <a:gd name="T6" fmla="*/ 2147483646 w 33"/>
                <a:gd name="T7" fmla="*/ 0 h 2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3" h="244">
                  <a:moveTo>
                    <a:pt x="17" y="0"/>
                  </a:moveTo>
                  <a:lnTo>
                    <a:pt x="0" y="244"/>
                  </a:lnTo>
                  <a:lnTo>
                    <a:pt x="33" y="243"/>
                  </a:lnTo>
                  <a:lnTo>
                    <a:pt x="17" y="0"/>
                  </a:lnTo>
                  <a:close/>
                </a:path>
              </a:pathLst>
            </a:custGeom>
            <a:solidFill>
              <a:srgbClr val="685C1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26635" name="İçerik Yer Tutucusu 2">
            <a:extLst>
              <a:ext uri="{FF2B5EF4-FFF2-40B4-BE49-F238E27FC236}">
                <a16:creationId xmlns:a16="http://schemas.microsoft.com/office/drawing/2014/main" id="{04561380-C17F-A2B5-E2A6-453A959D2C89}"/>
              </a:ext>
            </a:extLst>
          </p:cNvPr>
          <p:cNvSpPr txBox="1">
            <a:spLocks/>
          </p:cNvSpPr>
          <p:nvPr/>
        </p:nvSpPr>
        <p:spPr bwMode="auto">
          <a:xfrm>
            <a:off x="1308100" y="1687513"/>
            <a:ext cx="6402388" cy="479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pPr>
            <a:r>
              <a:rPr lang="tr-TR" altLang="tr-TR" sz="1800">
                <a:latin typeface="Open Sans" panose="020B0606030504020204" pitchFamily="34" charset="0"/>
                <a:cs typeface="Open Sans" panose="020B0606030504020204" pitchFamily="34" charset="0"/>
              </a:rPr>
              <a:t>Makine ve Ekipman Değerlemesi</a:t>
            </a:r>
          </a:p>
          <a:p>
            <a:pPr eaLnBrk="1" hangingPunct="1">
              <a:lnSpc>
                <a:spcPct val="100000"/>
              </a:lnSpc>
            </a:pPr>
            <a:r>
              <a:rPr lang="tr-TR" altLang="tr-TR" sz="1800">
                <a:latin typeface="Open Sans" panose="020B0606030504020204" pitchFamily="34" charset="0"/>
                <a:cs typeface="Open Sans" panose="020B0606030504020204" pitchFamily="34" charset="0"/>
              </a:rPr>
              <a:t>İş Makinası / Binek Araç Değerlemesi</a:t>
            </a:r>
          </a:p>
          <a:p>
            <a:pPr eaLnBrk="1" hangingPunct="1">
              <a:lnSpc>
                <a:spcPct val="100000"/>
              </a:lnSpc>
            </a:pPr>
            <a:r>
              <a:rPr lang="tr-TR" altLang="tr-TR" sz="1800">
                <a:latin typeface="Open Sans" panose="020B0606030504020204" pitchFamily="34" charset="0"/>
                <a:cs typeface="Open Sans" panose="020B0606030504020204" pitchFamily="34" charset="0"/>
              </a:rPr>
              <a:t>Demirbaş-Tefrişat Değerlemesi</a:t>
            </a:r>
          </a:p>
          <a:p>
            <a:pPr eaLnBrk="1" hangingPunct="1">
              <a:lnSpc>
                <a:spcPct val="100000"/>
              </a:lnSpc>
            </a:pPr>
            <a:r>
              <a:rPr lang="tr-TR" altLang="tr-TR" sz="1800">
                <a:latin typeface="Open Sans" panose="020B0606030504020204" pitchFamily="34" charset="0"/>
                <a:cs typeface="Open Sans" panose="020B0606030504020204" pitchFamily="34" charset="0"/>
              </a:rPr>
              <a:t>Rüzgar Enerjisi Santrali (RES)</a:t>
            </a:r>
          </a:p>
          <a:p>
            <a:pPr eaLnBrk="1" hangingPunct="1">
              <a:lnSpc>
                <a:spcPct val="100000"/>
              </a:lnSpc>
            </a:pPr>
            <a:r>
              <a:rPr lang="tr-TR" altLang="tr-TR" sz="1800">
                <a:latin typeface="Open Sans" panose="020B0606030504020204" pitchFamily="34" charset="0"/>
                <a:cs typeface="Open Sans" panose="020B0606030504020204" pitchFamily="34" charset="0"/>
              </a:rPr>
              <a:t>Güneş Enerji Tesisi (GES)</a:t>
            </a:r>
          </a:p>
          <a:p>
            <a:pPr eaLnBrk="1" hangingPunct="1">
              <a:lnSpc>
                <a:spcPct val="100000"/>
              </a:lnSpc>
            </a:pPr>
            <a:r>
              <a:rPr lang="tr-TR" altLang="tr-TR" sz="1800">
                <a:latin typeface="Open Sans" panose="020B0606030504020204" pitchFamily="34" charset="0"/>
                <a:cs typeface="Open Sans" panose="020B0606030504020204" pitchFamily="34" charset="0"/>
              </a:rPr>
              <a:t>Hidroelektrik Santrali Değerlemesi (HES)</a:t>
            </a:r>
          </a:p>
          <a:p>
            <a:pPr eaLnBrk="1" hangingPunct="1">
              <a:lnSpc>
                <a:spcPct val="100000"/>
              </a:lnSpc>
            </a:pPr>
            <a:r>
              <a:rPr lang="tr-TR" altLang="tr-TR" sz="1800">
                <a:latin typeface="Open Sans" panose="020B0606030504020204" pitchFamily="34" charset="0"/>
                <a:cs typeface="Open Sans" panose="020B0606030504020204" pitchFamily="34" charset="0"/>
              </a:rPr>
              <a:t>Liman-Marina Tesis Değerlemesi</a:t>
            </a:r>
          </a:p>
          <a:p>
            <a:pPr eaLnBrk="1" hangingPunct="1">
              <a:lnSpc>
                <a:spcPct val="100000"/>
              </a:lnSpc>
            </a:pPr>
            <a:r>
              <a:rPr lang="tr-TR" altLang="tr-TR" sz="1800">
                <a:latin typeface="Open Sans" panose="020B0606030504020204" pitchFamily="34" charset="0"/>
                <a:cs typeface="Open Sans" panose="020B0606030504020204" pitchFamily="34" charset="0"/>
              </a:rPr>
              <a:t>Leasing Firmalarının Talebi ile Makinaların Satın Alınmadan Önce Yerinde Görülmesi Hizmeti</a:t>
            </a:r>
          </a:p>
          <a:p>
            <a:pPr eaLnBrk="1" hangingPunct="1">
              <a:lnSpc>
                <a:spcPct val="100000"/>
              </a:lnSpc>
            </a:pPr>
            <a:r>
              <a:rPr lang="tr-TR" altLang="tr-TR" sz="1800">
                <a:latin typeface="Open Sans" panose="020B0606030504020204" pitchFamily="34" charset="0"/>
                <a:cs typeface="Open Sans" panose="020B0606030504020204" pitchFamily="34" charset="0"/>
              </a:rPr>
              <a:t>Proforma Fatura Kontrolü</a:t>
            </a:r>
          </a:p>
          <a:p>
            <a:pPr eaLnBrk="1" hangingPunct="1">
              <a:lnSpc>
                <a:spcPct val="100000"/>
              </a:lnSpc>
            </a:pPr>
            <a:r>
              <a:rPr lang="tr-TR" altLang="tr-TR" sz="1800">
                <a:latin typeface="Open Sans" panose="020B0606030504020204" pitchFamily="34" charset="0"/>
                <a:cs typeface="Open Sans" panose="020B0606030504020204" pitchFamily="34" charset="0"/>
              </a:rPr>
              <a:t>Mahkeme ve İcra Müdürlüklerine Bilirkişi Raporları</a:t>
            </a:r>
          </a:p>
        </p:txBody>
      </p:sp>
      <p:pic>
        <p:nvPicPr>
          <p:cNvPr id="26636" name="Resim 7">
            <a:extLst>
              <a:ext uri="{FF2B5EF4-FFF2-40B4-BE49-F238E27FC236}">
                <a16:creationId xmlns:a16="http://schemas.microsoft.com/office/drawing/2014/main" id="{DDDA0827-4957-E0ED-1CDF-B163C44D08F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891338" y="4632325"/>
            <a:ext cx="1579562" cy="195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ayt Numarası Yer Tutucusu 1">
            <a:extLst>
              <a:ext uri="{FF2B5EF4-FFF2-40B4-BE49-F238E27FC236}">
                <a16:creationId xmlns:a16="http://schemas.microsoft.com/office/drawing/2014/main" id="{017C82BF-C9F2-3FFB-9CA8-7D100744E766}"/>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nSpc>
                <a:spcPct val="100000"/>
              </a:lnSpc>
              <a:spcBef>
                <a:spcPct val="0"/>
              </a:spcBef>
              <a:buFontTx/>
              <a:buNone/>
            </a:pPr>
            <a:fld id="{F7C10440-A487-4F48-907F-2E0769ABB4DE}" type="slidenum">
              <a:rPr lang="en-US" altLang="tr-TR" sz="1200" smtClean="0">
                <a:solidFill>
                  <a:srgbClr val="898989"/>
                </a:solidFill>
              </a:rPr>
              <a:pPr>
                <a:lnSpc>
                  <a:spcPct val="100000"/>
                </a:lnSpc>
                <a:spcBef>
                  <a:spcPct val="0"/>
                </a:spcBef>
                <a:buFontTx/>
                <a:buNone/>
              </a:pPr>
              <a:t>6</a:t>
            </a:fld>
            <a:endParaRPr lang="en-US" altLang="tr-TR" sz="1200">
              <a:solidFill>
                <a:srgbClr val="898989"/>
              </a:solidFill>
            </a:endParaRPr>
          </a:p>
        </p:txBody>
      </p:sp>
      <p:pic>
        <p:nvPicPr>
          <p:cNvPr id="27651" name="Resim 3">
            <a:extLst>
              <a:ext uri="{FF2B5EF4-FFF2-40B4-BE49-F238E27FC236}">
                <a16:creationId xmlns:a16="http://schemas.microsoft.com/office/drawing/2014/main" id="{6E75D24D-0954-AB89-6F57-A33ECB26AE6B}"/>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7652" name="Group 307">
            <a:extLst>
              <a:ext uri="{FF2B5EF4-FFF2-40B4-BE49-F238E27FC236}">
                <a16:creationId xmlns:a16="http://schemas.microsoft.com/office/drawing/2014/main" id="{AC5C494C-25D5-D4E2-D3FC-6C94694D3C69}"/>
              </a:ext>
            </a:extLst>
          </p:cNvPr>
          <p:cNvGrpSpPr>
            <a:grpSpLocks/>
          </p:cNvGrpSpPr>
          <p:nvPr/>
        </p:nvGrpSpPr>
        <p:grpSpPr bwMode="auto">
          <a:xfrm>
            <a:off x="-3175" y="6743700"/>
            <a:ext cx="12195175" cy="114300"/>
            <a:chOff x="-3175" y="4762500"/>
            <a:chExt cx="12195174" cy="2092323"/>
          </a:xfrm>
        </p:grpSpPr>
        <p:sp>
          <p:nvSpPr>
            <p:cNvPr id="6" name="Rectangle 308">
              <a:extLst>
                <a:ext uri="{FF2B5EF4-FFF2-40B4-BE49-F238E27FC236}">
                  <a16:creationId xmlns:a16="http://schemas.microsoft.com/office/drawing/2014/main" id="{F874E883-37C0-7E16-A943-BC8107639FED}"/>
                </a:ext>
              </a:extLst>
            </p:cNvPr>
            <p:cNvSpPr/>
            <p:nvPr/>
          </p:nvSpPr>
          <p:spPr>
            <a:xfrm>
              <a:off x="-3175" y="4762500"/>
              <a:ext cx="2032000" cy="2092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Rectangle 309">
              <a:extLst>
                <a:ext uri="{FF2B5EF4-FFF2-40B4-BE49-F238E27FC236}">
                  <a16:creationId xmlns:a16="http://schemas.microsoft.com/office/drawing/2014/main" id="{74F76EFD-649C-697C-AC91-3FE9B9F27018}"/>
                </a:ext>
              </a:extLst>
            </p:cNvPr>
            <p:cNvSpPr/>
            <p:nvPr/>
          </p:nvSpPr>
          <p:spPr>
            <a:xfrm>
              <a:off x="2027238" y="4762500"/>
              <a:ext cx="2032000" cy="2092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Rectangle 310">
              <a:extLst>
                <a:ext uri="{FF2B5EF4-FFF2-40B4-BE49-F238E27FC236}">
                  <a16:creationId xmlns:a16="http://schemas.microsoft.com/office/drawing/2014/main" id="{AC3BA8F5-0AD8-7A88-9EA0-6F584DBC6F18}"/>
                </a:ext>
              </a:extLst>
            </p:cNvPr>
            <p:cNvSpPr/>
            <p:nvPr/>
          </p:nvSpPr>
          <p:spPr>
            <a:xfrm>
              <a:off x="4059238" y="4762500"/>
              <a:ext cx="2032000" cy="2092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 name="Rectangle 311">
              <a:extLst>
                <a:ext uri="{FF2B5EF4-FFF2-40B4-BE49-F238E27FC236}">
                  <a16:creationId xmlns:a16="http://schemas.microsoft.com/office/drawing/2014/main" id="{74E269B8-6DD5-089F-3664-1765BCDF1F1B}"/>
                </a:ext>
              </a:extLst>
            </p:cNvPr>
            <p:cNvSpPr/>
            <p:nvPr/>
          </p:nvSpPr>
          <p:spPr>
            <a:xfrm>
              <a:off x="6089650" y="4762500"/>
              <a:ext cx="2032000" cy="2092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0" name="Rectangle 312">
              <a:extLst>
                <a:ext uri="{FF2B5EF4-FFF2-40B4-BE49-F238E27FC236}">
                  <a16:creationId xmlns:a16="http://schemas.microsoft.com/office/drawing/2014/main" id="{73072468-B5FE-91F0-D6F6-243E36497B6E}"/>
                </a:ext>
              </a:extLst>
            </p:cNvPr>
            <p:cNvSpPr/>
            <p:nvPr/>
          </p:nvSpPr>
          <p:spPr>
            <a:xfrm>
              <a:off x="8118474" y="4762500"/>
              <a:ext cx="2032000" cy="2092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1" name="Rectangle 313">
              <a:extLst>
                <a:ext uri="{FF2B5EF4-FFF2-40B4-BE49-F238E27FC236}">
                  <a16:creationId xmlns:a16="http://schemas.microsoft.com/office/drawing/2014/main" id="{E8D0898F-7F2C-1028-DA78-1DF728DD74B5}"/>
                </a:ext>
              </a:extLst>
            </p:cNvPr>
            <p:cNvSpPr/>
            <p:nvPr/>
          </p:nvSpPr>
          <p:spPr>
            <a:xfrm>
              <a:off x="10148887" y="4762500"/>
              <a:ext cx="2043112" cy="20923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cxnSp>
        <p:nvCxnSpPr>
          <p:cNvPr id="12" name="Straight Connector 6">
            <a:extLst>
              <a:ext uri="{FF2B5EF4-FFF2-40B4-BE49-F238E27FC236}">
                <a16:creationId xmlns:a16="http://schemas.microsoft.com/office/drawing/2014/main" id="{88690FBE-EF78-49BB-199C-AE3E36CF3D2F}"/>
              </a:ext>
            </a:extLst>
          </p:cNvPr>
          <p:cNvCxnSpPr/>
          <p:nvPr/>
        </p:nvCxnSpPr>
        <p:spPr>
          <a:xfrm>
            <a:off x="11113" y="1423988"/>
            <a:ext cx="124301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İçerik Yer Tutucusu 2">
            <a:extLst>
              <a:ext uri="{FF2B5EF4-FFF2-40B4-BE49-F238E27FC236}">
                <a16:creationId xmlns:a16="http://schemas.microsoft.com/office/drawing/2014/main" id="{5C49F2C2-0958-DF20-7DC6-A5318E77E6C5}"/>
              </a:ext>
            </a:extLst>
          </p:cNvPr>
          <p:cNvSpPr txBox="1">
            <a:spLocks/>
          </p:cNvSpPr>
          <p:nvPr/>
        </p:nvSpPr>
        <p:spPr>
          <a:xfrm>
            <a:off x="631825" y="842963"/>
            <a:ext cx="4506913" cy="51752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 typeface="Arial" panose="020B0604020202020204" pitchFamily="34" charset="0"/>
              <a:buNone/>
              <a:defRPr/>
            </a:pPr>
            <a:r>
              <a:rPr lang="tr-TR" sz="2200" b="1">
                <a:solidFill>
                  <a:schemeClr val="accent4">
                    <a:lumMod val="75000"/>
                  </a:schemeClr>
                </a:solidFill>
                <a:latin typeface="Open Sans" panose="020B0606030504020204" pitchFamily="34" charset="0"/>
                <a:ea typeface="Open Sans" panose="020B0606030504020204" pitchFamily="34" charset="0"/>
                <a:cs typeface="Open Sans" panose="020B0606030504020204" pitchFamily="34" charset="0"/>
              </a:rPr>
              <a:t>Hizmetlerimiz</a:t>
            </a:r>
          </a:p>
        </p:txBody>
      </p:sp>
      <p:sp>
        <p:nvSpPr>
          <p:cNvPr id="14" name="İçerik Yer Tutucusu 2">
            <a:extLst>
              <a:ext uri="{FF2B5EF4-FFF2-40B4-BE49-F238E27FC236}">
                <a16:creationId xmlns:a16="http://schemas.microsoft.com/office/drawing/2014/main" id="{2ED45B4A-2A7A-7AC1-CF24-6EB5F72EB3FB}"/>
              </a:ext>
            </a:extLst>
          </p:cNvPr>
          <p:cNvSpPr txBox="1">
            <a:spLocks/>
          </p:cNvSpPr>
          <p:nvPr/>
        </p:nvSpPr>
        <p:spPr>
          <a:xfrm>
            <a:off x="1296988" y="1266825"/>
            <a:ext cx="2565400" cy="115728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 typeface="Arial" panose="020B0604020202020204" pitchFamily="34" charset="0"/>
              <a:buNone/>
              <a:defRPr/>
            </a:pPr>
            <a:r>
              <a:rPr lang="tr-TR" sz="1800" b="1">
                <a:solidFill>
                  <a:schemeClr val="bg2">
                    <a:lumMod val="10000"/>
                  </a:schemeClr>
                </a:solidFill>
              </a:rPr>
              <a:t>KENTSEL DÖNÜŞÜM DEĞERLEMESİ</a:t>
            </a:r>
          </a:p>
        </p:txBody>
      </p:sp>
      <p:sp>
        <p:nvSpPr>
          <p:cNvPr id="15" name="Rectangle 7">
            <a:extLst>
              <a:ext uri="{FF2B5EF4-FFF2-40B4-BE49-F238E27FC236}">
                <a16:creationId xmlns:a16="http://schemas.microsoft.com/office/drawing/2014/main" id="{4972AFC4-E769-A99B-2EBE-AC45A366F7FE}"/>
              </a:ext>
            </a:extLst>
          </p:cNvPr>
          <p:cNvSpPr/>
          <p:nvPr/>
        </p:nvSpPr>
        <p:spPr>
          <a:xfrm>
            <a:off x="684213" y="1409700"/>
            <a:ext cx="623887" cy="269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ayt Numarası Yer Tutucusu 1">
            <a:extLst>
              <a:ext uri="{FF2B5EF4-FFF2-40B4-BE49-F238E27FC236}">
                <a16:creationId xmlns:a16="http://schemas.microsoft.com/office/drawing/2014/main" id="{DBDBDD57-E493-426A-7647-585A444B6A10}"/>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nSpc>
                <a:spcPct val="100000"/>
              </a:lnSpc>
              <a:spcBef>
                <a:spcPct val="0"/>
              </a:spcBef>
              <a:buFontTx/>
              <a:buNone/>
            </a:pPr>
            <a:fld id="{BCA957AB-0A83-4F3E-8C7C-EB228EF76276}" type="slidenum">
              <a:rPr lang="en-US" altLang="tr-TR" sz="1200" smtClean="0">
                <a:solidFill>
                  <a:srgbClr val="898989"/>
                </a:solidFill>
              </a:rPr>
              <a:pPr>
                <a:lnSpc>
                  <a:spcPct val="100000"/>
                </a:lnSpc>
                <a:spcBef>
                  <a:spcPct val="0"/>
                </a:spcBef>
                <a:buFontTx/>
                <a:buNone/>
              </a:pPr>
              <a:t>7</a:t>
            </a:fld>
            <a:endParaRPr lang="en-US" altLang="tr-TR" sz="1200">
              <a:solidFill>
                <a:srgbClr val="898989"/>
              </a:solidFill>
            </a:endParaRPr>
          </a:p>
        </p:txBody>
      </p:sp>
      <p:sp>
        <p:nvSpPr>
          <p:cNvPr id="3" name="Freeform 183">
            <a:extLst>
              <a:ext uri="{FF2B5EF4-FFF2-40B4-BE49-F238E27FC236}">
                <a16:creationId xmlns:a16="http://schemas.microsoft.com/office/drawing/2014/main" id="{94CE642B-B9B2-843A-470B-BBB15632A891}"/>
              </a:ext>
            </a:extLst>
          </p:cNvPr>
          <p:cNvSpPr>
            <a:spLocks noEditPoints="1"/>
          </p:cNvSpPr>
          <p:nvPr/>
        </p:nvSpPr>
        <p:spPr bwMode="auto">
          <a:xfrm>
            <a:off x="-1588" y="3535363"/>
            <a:ext cx="12185651" cy="3241675"/>
          </a:xfrm>
          <a:custGeom>
            <a:avLst/>
            <a:gdLst>
              <a:gd name="T0" fmla="*/ 3743 w 4211"/>
              <a:gd name="T1" fmla="*/ 508 h 1254"/>
              <a:gd name="T2" fmla="*/ 3617 w 4211"/>
              <a:gd name="T3" fmla="*/ 207 h 1254"/>
              <a:gd name="T4" fmla="*/ 3276 w 4211"/>
              <a:gd name="T5" fmla="*/ 492 h 1254"/>
              <a:gd name="T6" fmla="*/ 3009 w 4211"/>
              <a:gd name="T7" fmla="*/ 368 h 1254"/>
              <a:gd name="T8" fmla="*/ 2879 w 4211"/>
              <a:gd name="T9" fmla="*/ 454 h 1254"/>
              <a:gd name="T10" fmla="*/ 2692 w 4211"/>
              <a:gd name="T11" fmla="*/ 361 h 1254"/>
              <a:gd name="T12" fmla="*/ 2479 w 4211"/>
              <a:gd name="T13" fmla="*/ 311 h 1254"/>
              <a:gd name="T14" fmla="*/ 2299 w 4211"/>
              <a:gd name="T15" fmla="*/ 698 h 1254"/>
              <a:gd name="T16" fmla="*/ 1966 w 4211"/>
              <a:gd name="T17" fmla="*/ 651 h 1254"/>
              <a:gd name="T18" fmla="*/ 1625 w 4211"/>
              <a:gd name="T19" fmla="*/ 382 h 1254"/>
              <a:gd name="T20" fmla="*/ 1424 w 4211"/>
              <a:gd name="T21" fmla="*/ 558 h 1254"/>
              <a:gd name="T22" fmla="*/ 1102 w 4211"/>
              <a:gd name="T23" fmla="*/ 651 h 1254"/>
              <a:gd name="T24" fmla="*/ 842 w 4211"/>
              <a:gd name="T25" fmla="*/ 606 h 1254"/>
              <a:gd name="T26" fmla="*/ 485 w 4211"/>
              <a:gd name="T27" fmla="*/ 798 h 1254"/>
              <a:gd name="T28" fmla="*/ 11 w 4211"/>
              <a:gd name="T29" fmla="*/ 620 h 1254"/>
              <a:gd name="T30" fmla="*/ 1788 w 4211"/>
              <a:gd name="T31" fmla="*/ 979 h 1254"/>
              <a:gd name="T32" fmla="*/ 1746 w 4211"/>
              <a:gd name="T33" fmla="*/ 729 h 1254"/>
              <a:gd name="T34" fmla="*/ 1788 w 4211"/>
              <a:gd name="T35" fmla="*/ 520 h 1254"/>
              <a:gd name="T36" fmla="*/ 1746 w 4211"/>
              <a:gd name="T37" fmla="*/ 216 h 1254"/>
              <a:gd name="T38" fmla="*/ 1864 w 4211"/>
              <a:gd name="T39" fmla="*/ 881 h 1254"/>
              <a:gd name="T40" fmla="*/ 1864 w 4211"/>
              <a:gd name="T41" fmla="*/ 672 h 1254"/>
              <a:gd name="T42" fmla="*/ 1821 w 4211"/>
              <a:gd name="T43" fmla="*/ 423 h 1254"/>
              <a:gd name="T44" fmla="*/ 1864 w 4211"/>
              <a:gd name="T45" fmla="*/ 368 h 1254"/>
              <a:gd name="T46" fmla="*/ 1899 w 4211"/>
              <a:gd name="T47" fmla="*/ 979 h 1254"/>
              <a:gd name="T48" fmla="*/ 1940 w 4211"/>
              <a:gd name="T49" fmla="*/ 729 h 1254"/>
              <a:gd name="T50" fmla="*/ 1940 w 4211"/>
              <a:gd name="T51" fmla="*/ 520 h 1254"/>
              <a:gd name="T52" fmla="*/ 1899 w 4211"/>
              <a:gd name="T53" fmla="*/ 271 h 1254"/>
              <a:gd name="T54" fmla="*/ 1940 w 4211"/>
              <a:gd name="T55" fmla="*/ 216 h 1254"/>
              <a:gd name="T56" fmla="*/ 2441 w 4211"/>
              <a:gd name="T57" fmla="*/ 1138 h 1254"/>
              <a:gd name="T58" fmla="*/ 2496 w 4211"/>
              <a:gd name="T59" fmla="*/ 397 h 1254"/>
              <a:gd name="T60" fmla="*/ 2576 w 4211"/>
              <a:gd name="T61" fmla="*/ 1138 h 1254"/>
              <a:gd name="T62" fmla="*/ 2600 w 4211"/>
              <a:gd name="T63" fmla="*/ 397 h 1254"/>
              <a:gd name="T64" fmla="*/ 3518 w 4211"/>
              <a:gd name="T65" fmla="*/ 924 h 1254"/>
              <a:gd name="T66" fmla="*/ 3492 w 4211"/>
              <a:gd name="T67" fmla="*/ 803 h 1254"/>
              <a:gd name="T68" fmla="*/ 3518 w 4211"/>
              <a:gd name="T69" fmla="*/ 644 h 1254"/>
              <a:gd name="T70" fmla="*/ 3518 w 4211"/>
              <a:gd name="T71" fmla="*/ 558 h 1254"/>
              <a:gd name="T72" fmla="*/ 3492 w 4211"/>
              <a:gd name="T73" fmla="*/ 461 h 1254"/>
              <a:gd name="T74" fmla="*/ 3518 w 4211"/>
              <a:gd name="T75" fmla="*/ 437 h 1254"/>
              <a:gd name="T76" fmla="*/ 3492 w 4211"/>
              <a:gd name="T77" fmla="*/ 316 h 1254"/>
              <a:gd name="T78" fmla="*/ 3570 w 4211"/>
              <a:gd name="T79" fmla="*/ 948 h 1254"/>
              <a:gd name="T80" fmla="*/ 3570 w 4211"/>
              <a:gd name="T81" fmla="*/ 865 h 1254"/>
              <a:gd name="T82" fmla="*/ 3541 w 4211"/>
              <a:gd name="T83" fmla="*/ 765 h 1254"/>
              <a:gd name="T84" fmla="*/ 3570 w 4211"/>
              <a:gd name="T85" fmla="*/ 741 h 1254"/>
              <a:gd name="T86" fmla="*/ 3541 w 4211"/>
              <a:gd name="T87" fmla="*/ 620 h 1254"/>
              <a:gd name="T88" fmla="*/ 3570 w 4211"/>
              <a:gd name="T89" fmla="*/ 461 h 1254"/>
              <a:gd name="T90" fmla="*/ 3570 w 4211"/>
              <a:gd name="T91" fmla="*/ 378 h 1254"/>
              <a:gd name="T92" fmla="*/ 3541 w 4211"/>
              <a:gd name="T93" fmla="*/ 278 h 1254"/>
              <a:gd name="T94" fmla="*/ 3619 w 4211"/>
              <a:gd name="T95" fmla="*/ 986 h 1254"/>
              <a:gd name="T96" fmla="*/ 3593 w 4211"/>
              <a:gd name="T97" fmla="*/ 865 h 1254"/>
              <a:gd name="T98" fmla="*/ 3619 w 4211"/>
              <a:gd name="T99" fmla="*/ 765 h 1254"/>
              <a:gd name="T100" fmla="*/ 3619 w 4211"/>
              <a:gd name="T101" fmla="*/ 620 h 1254"/>
              <a:gd name="T102" fmla="*/ 3593 w 4211"/>
              <a:gd name="T103" fmla="*/ 520 h 1254"/>
              <a:gd name="T104" fmla="*/ 3619 w 4211"/>
              <a:gd name="T105" fmla="*/ 499 h 1254"/>
              <a:gd name="T106" fmla="*/ 3593 w 4211"/>
              <a:gd name="T107" fmla="*/ 378 h 1254"/>
              <a:gd name="T108" fmla="*/ 3619 w 4211"/>
              <a:gd name="T109" fmla="*/ 278 h 1254"/>
              <a:gd name="T110" fmla="*/ 3669 w 4211"/>
              <a:gd name="T111" fmla="*/ 865 h 1254"/>
              <a:gd name="T112" fmla="*/ 3643 w 4211"/>
              <a:gd name="T113" fmla="*/ 765 h 1254"/>
              <a:gd name="T114" fmla="*/ 3669 w 4211"/>
              <a:gd name="T115" fmla="*/ 741 h 1254"/>
              <a:gd name="T116" fmla="*/ 3643 w 4211"/>
              <a:gd name="T117" fmla="*/ 620 h 1254"/>
              <a:gd name="T118" fmla="*/ 3669 w 4211"/>
              <a:gd name="T119" fmla="*/ 520 h 1254"/>
              <a:gd name="T120" fmla="*/ 3669 w 4211"/>
              <a:gd name="T121" fmla="*/ 378 h 1254"/>
              <a:gd name="T122" fmla="*/ 3643 w 4211"/>
              <a:gd name="T123" fmla="*/ 278 h 1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11" h="1254">
                <a:moveTo>
                  <a:pt x="4107" y="853"/>
                </a:moveTo>
                <a:lnTo>
                  <a:pt x="4107" y="689"/>
                </a:lnTo>
                <a:lnTo>
                  <a:pt x="4038" y="689"/>
                </a:lnTo>
                <a:lnTo>
                  <a:pt x="4038" y="677"/>
                </a:lnTo>
                <a:lnTo>
                  <a:pt x="3967" y="677"/>
                </a:lnTo>
                <a:lnTo>
                  <a:pt x="3967" y="508"/>
                </a:lnTo>
                <a:lnTo>
                  <a:pt x="3743" y="508"/>
                </a:lnTo>
                <a:lnTo>
                  <a:pt x="3743" y="335"/>
                </a:lnTo>
                <a:lnTo>
                  <a:pt x="3712" y="335"/>
                </a:lnTo>
                <a:lnTo>
                  <a:pt x="3712" y="197"/>
                </a:lnTo>
                <a:lnTo>
                  <a:pt x="3653" y="197"/>
                </a:lnTo>
                <a:lnTo>
                  <a:pt x="3653" y="157"/>
                </a:lnTo>
                <a:lnTo>
                  <a:pt x="3617" y="157"/>
                </a:lnTo>
                <a:lnTo>
                  <a:pt x="3617" y="207"/>
                </a:lnTo>
                <a:lnTo>
                  <a:pt x="3440" y="207"/>
                </a:lnTo>
                <a:lnTo>
                  <a:pt x="3440" y="596"/>
                </a:lnTo>
                <a:lnTo>
                  <a:pt x="3388" y="596"/>
                </a:lnTo>
                <a:lnTo>
                  <a:pt x="3388" y="708"/>
                </a:lnTo>
                <a:lnTo>
                  <a:pt x="3362" y="708"/>
                </a:lnTo>
                <a:lnTo>
                  <a:pt x="3362" y="492"/>
                </a:lnTo>
                <a:lnTo>
                  <a:pt x="3276" y="492"/>
                </a:lnTo>
                <a:lnTo>
                  <a:pt x="3276" y="373"/>
                </a:lnTo>
                <a:lnTo>
                  <a:pt x="3146" y="373"/>
                </a:lnTo>
                <a:lnTo>
                  <a:pt x="3146" y="449"/>
                </a:lnTo>
                <a:lnTo>
                  <a:pt x="3078" y="382"/>
                </a:lnTo>
                <a:lnTo>
                  <a:pt x="3028" y="444"/>
                </a:lnTo>
                <a:lnTo>
                  <a:pt x="3009" y="444"/>
                </a:lnTo>
                <a:lnTo>
                  <a:pt x="3009" y="368"/>
                </a:lnTo>
                <a:lnTo>
                  <a:pt x="2959" y="368"/>
                </a:lnTo>
                <a:lnTo>
                  <a:pt x="2959" y="202"/>
                </a:lnTo>
                <a:lnTo>
                  <a:pt x="2924" y="202"/>
                </a:lnTo>
                <a:lnTo>
                  <a:pt x="2924" y="382"/>
                </a:lnTo>
                <a:lnTo>
                  <a:pt x="2896" y="382"/>
                </a:lnTo>
                <a:lnTo>
                  <a:pt x="2896" y="454"/>
                </a:lnTo>
                <a:lnTo>
                  <a:pt x="2879" y="454"/>
                </a:lnTo>
                <a:lnTo>
                  <a:pt x="2879" y="615"/>
                </a:lnTo>
                <a:lnTo>
                  <a:pt x="2806" y="615"/>
                </a:lnTo>
                <a:lnTo>
                  <a:pt x="2806" y="679"/>
                </a:lnTo>
                <a:lnTo>
                  <a:pt x="2746" y="679"/>
                </a:lnTo>
                <a:lnTo>
                  <a:pt x="2746" y="594"/>
                </a:lnTo>
                <a:lnTo>
                  <a:pt x="2692" y="594"/>
                </a:lnTo>
                <a:lnTo>
                  <a:pt x="2692" y="361"/>
                </a:lnTo>
                <a:lnTo>
                  <a:pt x="2626" y="361"/>
                </a:lnTo>
                <a:lnTo>
                  <a:pt x="2626" y="316"/>
                </a:lnTo>
                <a:lnTo>
                  <a:pt x="2557" y="316"/>
                </a:lnTo>
                <a:lnTo>
                  <a:pt x="2557" y="264"/>
                </a:lnTo>
                <a:lnTo>
                  <a:pt x="2522" y="264"/>
                </a:lnTo>
                <a:lnTo>
                  <a:pt x="2522" y="311"/>
                </a:lnTo>
                <a:lnTo>
                  <a:pt x="2479" y="311"/>
                </a:lnTo>
                <a:lnTo>
                  <a:pt x="2479" y="157"/>
                </a:lnTo>
                <a:lnTo>
                  <a:pt x="2413" y="157"/>
                </a:lnTo>
                <a:lnTo>
                  <a:pt x="2413" y="309"/>
                </a:lnTo>
                <a:lnTo>
                  <a:pt x="2339" y="309"/>
                </a:lnTo>
                <a:lnTo>
                  <a:pt x="2339" y="492"/>
                </a:lnTo>
                <a:lnTo>
                  <a:pt x="2299" y="492"/>
                </a:lnTo>
                <a:lnTo>
                  <a:pt x="2299" y="698"/>
                </a:lnTo>
                <a:lnTo>
                  <a:pt x="2127" y="698"/>
                </a:lnTo>
                <a:lnTo>
                  <a:pt x="2127" y="620"/>
                </a:lnTo>
                <a:lnTo>
                  <a:pt x="2018" y="620"/>
                </a:lnTo>
                <a:lnTo>
                  <a:pt x="2018" y="708"/>
                </a:lnTo>
                <a:lnTo>
                  <a:pt x="1999" y="708"/>
                </a:lnTo>
                <a:lnTo>
                  <a:pt x="1999" y="651"/>
                </a:lnTo>
                <a:lnTo>
                  <a:pt x="1966" y="651"/>
                </a:lnTo>
                <a:lnTo>
                  <a:pt x="1966" y="0"/>
                </a:lnTo>
                <a:lnTo>
                  <a:pt x="1710" y="0"/>
                </a:lnTo>
                <a:lnTo>
                  <a:pt x="1710" y="696"/>
                </a:lnTo>
                <a:lnTo>
                  <a:pt x="1632" y="696"/>
                </a:lnTo>
                <a:lnTo>
                  <a:pt x="1632" y="558"/>
                </a:lnTo>
                <a:lnTo>
                  <a:pt x="1625" y="558"/>
                </a:lnTo>
                <a:lnTo>
                  <a:pt x="1625" y="382"/>
                </a:lnTo>
                <a:lnTo>
                  <a:pt x="1554" y="283"/>
                </a:lnTo>
                <a:lnTo>
                  <a:pt x="1554" y="162"/>
                </a:lnTo>
                <a:lnTo>
                  <a:pt x="1530" y="162"/>
                </a:lnTo>
                <a:lnTo>
                  <a:pt x="1530" y="278"/>
                </a:lnTo>
                <a:lnTo>
                  <a:pt x="1469" y="387"/>
                </a:lnTo>
                <a:lnTo>
                  <a:pt x="1469" y="558"/>
                </a:lnTo>
                <a:lnTo>
                  <a:pt x="1424" y="558"/>
                </a:lnTo>
                <a:lnTo>
                  <a:pt x="1424" y="656"/>
                </a:lnTo>
                <a:lnTo>
                  <a:pt x="1388" y="656"/>
                </a:lnTo>
                <a:lnTo>
                  <a:pt x="1388" y="591"/>
                </a:lnTo>
                <a:lnTo>
                  <a:pt x="1197" y="591"/>
                </a:lnTo>
                <a:lnTo>
                  <a:pt x="1197" y="808"/>
                </a:lnTo>
                <a:lnTo>
                  <a:pt x="1102" y="808"/>
                </a:lnTo>
                <a:lnTo>
                  <a:pt x="1102" y="651"/>
                </a:lnTo>
                <a:lnTo>
                  <a:pt x="1052" y="651"/>
                </a:lnTo>
                <a:lnTo>
                  <a:pt x="1052" y="596"/>
                </a:lnTo>
                <a:lnTo>
                  <a:pt x="936" y="596"/>
                </a:lnTo>
                <a:lnTo>
                  <a:pt x="936" y="656"/>
                </a:lnTo>
                <a:lnTo>
                  <a:pt x="887" y="656"/>
                </a:lnTo>
                <a:lnTo>
                  <a:pt x="887" y="606"/>
                </a:lnTo>
                <a:lnTo>
                  <a:pt x="842" y="606"/>
                </a:lnTo>
                <a:lnTo>
                  <a:pt x="842" y="665"/>
                </a:lnTo>
                <a:lnTo>
                  <a:pt x="797" y="665"/>
                </a:lnTo>
                <a:lnTo>
                  <a:pt x="797" y="715"/>
                </a:lnTo>
                <a:lnTo>
                  <a:pt x="579" y="715"/>
                </a:lnTo>
                <a:lnTo>
                  <a:pt x="579" y="914"/>
                </a:lnTo>
                <a:lnTo>
                  <a:pt x="485" y="914"/>
                </a:lnTo>
                <a:lnTo>
                  <a:pt x="485" y="798"/>
                </a:lnTo>
                <a:lnTo>
                  <a:pt x="444" y="798"/>
                </a:lnTo>
                <a:lnTo>
                  <a:pt x="444" y="620"/>
                </a:lnTo>
                <a:lnTo>
                  <a:pt x="243" y="620"/>
                </a:lnTo>
                <a:lnTo>
                  <a:pt x="243" y="720"/>
                </a:lnTo>
                <a:lnTo>
                  <a:pt x="182" y="720"/>
                </a:lnTo>
                <a:lnTo>
                  <a:pt x="182" y="620"/>
                </a:lnTo>
                <a:lnTo>
                  <a:pt x="11" y="620"/>
                </a:lnTo>
                <a:lnTo>
                  <a:pt x="11" y="914"/>
                </a:lnTo>
                <a:lnTo>
                  <a:pt x="0" y="914"/>
                </a:lnTo>
                <a:lnTo>
                  <a:pt x="0" y="1247"/>
                </a:lnTo>
                <a:lnTo>
                  <a:pt x="4211" y="1254"/>
                </a:lnTo>
                <a:lnTo>
                  <a:pt x="4211" y="853"/>
                </a:lnTo>
                <a:lnTo>
                  <a:pt x="4107" y="853"/>
                </a:lnTo>
                <a:close/>
                <a:moveTo>
                  <a:pt x="1788" y="979"/>
                </a:moveTo>
                <a:lnTo>
                  <a:pt x="1746" y="979"/>
                </a:lnTo>
                <a:lnTo>
                  <a:pt x="1746" y="881"/>
                </a:lnTo>
                <a:lnTo>
                  <a:pt x="1788" y="881"/>
                </a:lnTo>
                <a:lnTo>
                  <a:pt x="1788" y="979"/>
                </a:lnTo>
                <a:close/>
                <a:moveTo>
                  <a:pt x="1788" y="827"/>
                </a:moveTo>
                <a:lnTo>
                  <a:pt x="1746" y="827"/>
                </a:lnTo>
                <a:lnTo>
                  <a:pt x="1746" y="729"/>
                </a:lnTo>
                <a:lnTo>
                  <a:pt x="1788" y="729"/>
                </a:lnTo>
                <a:lnTo>
                  <a:pt x="1788" y="827"/>
                </a:lnTo>
                <a:close/>
                <a:moveTo>
                  <a:pt x="1788" y="520"/>
                </a:moveTo>
                <a:lnTo>
                  <a:pt x="1746" y="520"/>
                </a:lnTo>
                <a:lnTo>
                  <a:pt x="1746" y="423"/>
                </a:lnTo>
                <a:lnTo>
                  <a:pt x="1788" y="423"/>
                </a:lnTo>
                <a:lnTo>
                  <a:pt x="1788" y="520"/>
                </a:lnTo>
                <a:close/>
                <a:moveTo>
                  <a:pt x="1788" y="368"/>
                </a:moveTo>
                <a:lnTo>
                  <a:pt x="1746" y="368"/>
                </a:lnTo>
                <a:lnTo>
                  <a:pt x="1746" y="271"/>
                </a:lnTo>
                <a:lnTo>
                  <a:pt x="1788" y="271"/>
                </a:lnTo>
                <a:lnTo>
                  <a:pt x="1788" y="368"/>
                </a:lnTo>
                <a:close/>
                <a:moveTo>
                  <a:pt x="1788" y="216"/>
                </a:moveTo>
                <a:lnTo>
                  <a:pt x="1746" y="216"/>
                </a:lnTo>
                <a:lnTo>
                  <a:pt x="1746" y="116"/>
                </a:lnTo>
                <a:lnTo>
                  <a:pt x="1788" y="116"/>
                </a:lnTo>
                <a:lnTo>
                  <a:pt x="1788" y="216"/>
                </a:lnTo>
                <a:close/>
                <a:moveTo>
                  <a:pt x="1864" y="979"/>
                </a:moveTo>
                <a:lnTo>
                  <a:pt x="1821" y="979"/>
                </a:lnTo>
                <a:lnTo>
                  <a:pt x="1821" y="881"/>
                </a:lnTo>
                <a:lnTo>
                  <a:pt x="1864" y="881"/>
                </a:lnTo>
                <a:lnTo>
                  <a:pt x="1864" y="979"/>
                </a:lnTo>
                <a:close/>
                <a:moveTo>
                  <a:pt x="1864" y="827"/>
                </a:moveTo>
                <a:lnTo>
                  <a:pt x="1821" y="827"/>
                </a:lnTo>
                <a:lnTo>
                  <a:pt x="1821" y="729"/>
                </a:lnTo>
                <a:lnTo>
                  <a:pt x="1864" y="729"/>
                </a:lnTo>
                <a:lnTo>
                  <a:pt x="1864" y="827"/>
                </a:lnTo>
                <a:close/>
                <a:moveTo>
                  <a:pt x="1864" y="672"/>
                </a:moveTo>
                <a:lnTo>
                  <a:pt x="1821" y="672"/>
                </a:lnTo>
                <a:lnTo>
                  <a:pt x="1821" y="575"/>
                </a:lnTo>
                <a:lnTo>
                  <a:pt x="1864" y="575"/>
                </a:lnTo>
                <a:lnTo>
                  <a:pt x="1864" y="672"/>
                </a:lnTo>
                <a:close/>
                <a:moveTo>
                  <a:pt x="1864" y="520"/>
                </a:moveTo>
                <a:lnTo>
                  <a:pt x="1821" y="520"/>
                </a:lnTo>
                <a:lnTo>
                  <a:pt x="1821" y="423"/>
                </a:lnTo>
                <a:lnTo>
                  <a:pt x="1864" y="423"/>
                </a:lnTo>
                <a:lnTo>
                  <a:pt x="1864" y="520"/>
                </a:lnTo>
                <a:close/>
                <a:moveTo>
                  <a:pt x="1864" y="368"/>
                </a:moveTo>
                <a:lnTo>
                  <a:pt x="1821" y="368"/>
                </a:lnTo>
                <a:lnTo>
                  <a:pt x="1821" y="271"/>
                </a:lnTo>
                <a:lnTo>
                  <a:pt x="1864" y="271"/>
                </a:lnTo>
                <a:lnTo>
                  <a:pt x="1864" y="368"/>
                </a:lnTo>
                <a:close/>
                <a:moveTo>
                  <a:pt x="1864" y="216"/>
                </a:moveTo>
                <a:lnTo>
                  <a:pt x="1821" y="216"/>
                </a:lnTo>
                <a:lnTo>
                  <a:pt x="1821" y="116"/>
                </a:lnTo>
                <a:lnTo>
                  <a:pt x="1864" y="116"/>
                </a:lnTo>
                <a:lnTo>
                  <a:pt x="1864" y="216"/>
                </a:lnTo>
                <a:close/>
                <a:moveTo>
                  <a:pt x="1940" y="979"/>
                </a:moveTo>
                <a:lnTo>
                  <a:pt x="1899" y="979"/>
                </a:lnTo>
                <a:lnTo>
                  <a:pt x="1899" y="881"/>
                </a:lnTo>
                <a:lnTo>
                  <a:pt x="1940" y="881"/>
                </a:lnTo>
                <a:lnTo>
                  <a:pt x="1940" y="979"/>
                </a:lnTo>
                <a:close/>
                <a:moveTo>
                  <a:pt x="1940" y="827"/>
                </a:moveTo>
                <a:lnTo>
                  <a:pt x="1899" y="827"/>
                </a:lnTo>
                <a:lnTo>
                  <a:pt x="1899" y="729"/>
                </a:lnTo>
                <a:lnTo>
                  <a:pt x="1940" y="729"/>
                </a:lnTo>
                <a:lnTo>
                  <a:pt x="1940" y="827"/>
                </a:lnTo>
                <a:close/>
                <a:moveTo>
                  <a:pt x="1940" y="672"/>
                </a:moveTo>
                <a:lnTo>
                  <a:pt x="1899" y="672"/>
                </a:lnTo>
                <a:lnTo>
                  <a:pt x="1899" y="575"/>
                </a:lnTo>
                <a:lnTo>
                  <a:pt x="1940" y="575"/>
                </a:lnTo>
                <a:lnTo>
                  <a:pt x="1940" y="672"/>
                </a:lnTo>
                <a:close/>
                <a:moveTo>
                  <a:pt x="1940" y="520"/>
                </a:moveTo>
                <a:lnTo>
                  <a:pt x="1899" y="520"/>
                </a:lnTo>
                <a:lnTo>
                  <a:pt x="1899" y="423"/>
                </a:lnTo>
                <a:lnTo>
                  <a:pt x="1940" y="423"/>
                </a:lnTo>
                <a:lnTo>
                  <a:pt x="1940" y="520"/>
                </a:lnTo>
                <a:close/>
                <a:moveTo>
                  <a:pt x="1940" y="368"/>
                </a:moveTo>
                <a:lnTo>
                  <a:pt x="1899" y="368"/>
                </a:lnTo>
                <a:lnTo>
                  <a:pt x="1899" y="271"/>
                </a:lnTo>
                <a:lnTo>
                  <a:pt x="1940" y="271"/>
                </a:lnTo>
                <a:lnTo>
                  <a:pt x="1940" y="368"/>
                </a:lnTo>
                <a:close/>
                <a:moveTo>
                  <a:pt x="1940" y="216"/>
                </a:moveTo>
                <a:lnTo>
                  <a:pt x="1899" y="216"/>
                </a:lnTo>
                <a:lnTo>
                  <a:pt x="1899" y="116"/>
                </a:lnTo>
                <a:lnTo>
                  <a:pt x="1940" y="116"/>
                </a:lnTo>
                <a:lnTo>
                  <a:pt x="1940" y="216"/>
                </a:lnTo>
                <a:close/>
                <a:moveTo>
                  <a:pt x="2418" y="1138"/>
                </a:moveTo>
                <a:lnTo>
                  <a:pt x="2401" y="1138"/>
                </a:lnTo>
                <a:lnTo>
                  <a:pt x="2401" y="397"/>
                </a:lnTo>
                <a:lnTo>
                  <a:pt x="2418" y="397"/>
                </a:lnTo>
                <a:lnTo>
                  <a:pt x="2418" y="1138"/>
                </a:lnTo>
                <a:close/>
                <a:moveTo>
                  <a:pt x="2458" y="1138"/>
                </a:moveTo>
                <a:lnTo>
                  <a:pt x="2441" y="1138"/>
                </a:lnTo>
                <a:lnTo>
                  <a:pt x="2441" y="397"/>
                </a:lnTo>
                <a:lnTo>
                  <a:pt x="2458" y="397"/>
                </a:lnTo>
                <a:lnTo>
                  <a:pt x="2458" y="1138"/>
                </a:lnTo>
                <a:close/>
                <a:moveTo>
                  <a:pt x="2496" y="1138"/>
                </a:moveTo>
                <a:lnTo>
                  <a:pt x="2481" y="1138"/>
                </a:lnTo>
                <a:lnTo>
                  <a:pt x="2481" y="397"/>
                </a:lnTo>
                <a:lnTo>
                  <a:pt x="2496" y="397"/>
                </a:lnTo>
                <a:lnTo>
                  <a:pt x="2496" y="1138"/>
                </a:lnTo>
                <a:close/>
                <a:moveTo>
                  <a:pt x="2536" y="1138"/>
                </a:moveTo>
                <a:lnTo>
                  <a:pt x="2522" y="1138"/>
                </a:lnTo>
                <a:lnTo>
                  <a:pt x="2522" y="397"/>
                </a:lnTo>
                <a:lnTo>
                  <a:pt x="2536" y="397"/>
                </a:lnTo>
                <a:lnTo>
                  <a:pt x="2536" y="1138"/>
                </a:lnTo>
                <a:close/>
                <a:moveTo>
                  <a:pt x="2576" y="1138"/>
                </a:moveTo>
                <a:lnTo>
                  <a:pt x="2562" y="1138"/>
                </a:lnTo>
                <a:lnTo>
                  <a:pt x="2562" y="397"/>
                </a:lnTo>
                <a:lnTo>
                  <a:pt x="2576" y="397"/>
                </a:lnTo>
                <a:lnTo>
                  <a:pt x="2576" y="1138"/>
                </a:lnTo>
                <a:close/>
                <a:moveTo>
                  <a:pt x="2616" y="1138"/>
                </a:moveTo>
                <a:lnTo>
                  <a:pt x="2600" y="1138"/>
                </a:lnTo>
                <a:lnTo>
                  <a:pt x="2600" y="397"/>
                </a:lnTo>
                <a:lnTo>
                  <a:pt x="2616" y="397"/>
                </a:lnTo>
                <a:lnTo>
                  <a:pt x="2616" y="1138"/>
                </a:lnTo>
                <a:close/>
                <a:moveTo>
                  <a:pt x="3518" y="924"/>
                </a:moveTo>
                <a:lnTo>
                  <a:pt x="3492" y="924"/>
                </a:lnTo>
                <a:lnTo>
                  <a:pt x="3492" y="886"/>
                </a:lnTo>
                <a:lnTo>
                  <a:pt x="3518" y="886"/>
                </a:lnTo>
                <a:lnTo>
                  <a:pt x="3518" y="924"/>
                </a:lnTo>
                <a:close/>
                <a:moveTo>
                  <a:pt x="3518" y="865"/>
                </a:moveTo>
                <a:lnTo>
                  <a:pt x="3492" y="865"/>
                </a:lnTo>
                <a:lnTo>
                  <a:pt x="3492" y="827"/>
                </a:lnTo>
                <a:lnTo>
                  <a:pt x="3518" y="827"/>
                </a:lnTo>
                <a:lnTo>
                  <a:pt x="3518" y="865"/>
                </a:lnTo>
                <a:close/>
                <a:moveTo>
                  <a:pt x="3518" y="803"/>
                </a:moveTo>
                <a:lnTo>
                  <a:pt x="3492" y="803"/>
                </a:lnTo>
                <a:lnTo>
                  <a:pt x="3492" y="765"/>
                </a:lnTo>
                <a:lnTo>
                  <a:pt x="3518" y="765"/>
                </a:lnTo>
                <a:lnTo>
                  <a:pt x="3518" y="803"/>
                </a:lnTo>
                <a:close/>
                <a:moveTo>
                  <a:pt x="3518" y="682"/>
                </a:moveTo>
                <a:lnTo>
                  <a:pt x="3492" y="682"/>
                </a:lnTo>
                <a:lnTo>
                  <a:pt x="3492" y="644"/>
                </a:lnTo>
                <a:lnTo>
                  <a:pt x="3518" y="644"/>
                </a:lnTo>
                <a:lnTo>
                  <a:pt x="3518" y="682"/>
                </a:lnTo>
                <a:close/>
                <a:moveTo>
                  <a:pt x="3518" y="620"/>
                </a:moveTo>
                <a:lnTo>
                  <a:pt x="3492" y="620"/>
                </a:lnTo>
                <a:lnTo>
                  <a:pt x="3492" y="582"/>
                </a:lnTo>
                <a:lnTo>
                  <a:pt x="3518" y="582"/>
                </a:lnTo>
                <a:lnTo>
                  <a:pt x="3518" y="620"/>
                </a:lnTo>
                <a:close/>
                <a:moveTo>
                  <a:pt x="3518" y="558"/>
                </a:moveTo>
                <a:lnTo>
                  <a:pt x="3492" y="558"/>
                </a:lnTo>
                <a:lnTo>
                  <a:pt x="3492" y="520"/>
                </a:lnTo>
                <a:lnTo>
                  <a:pt x="3518" y="520"/>
                </a:lnTo>
                <a:lnTo>
                  <a:pt x="3518" y="558"/>
                </a:lnTo>
                <a:close/>
                <a:moveTo>
                  <a:pt x="3518" y="499"/>
                </a:moveTo>
                <a:lnTo>
                  <a:pt x="3492" y="499"/>
                </a:lnTo>
                <a:lnTo>
                  <a:pt x="3492" y="461"/>
                </a:lnTo>
                <a:lnTo>
                  <a:pt x="3518" y="461"/>
                </a:lnTo>
                <a:lnTo>
                  <a:pt x="3518" y="499"/>
                </a:lnTo>
                <a:close/>
                <a:moveTo>
                  <a:pt x="3518" y="437"/>
                </a:moveTo>
                <a:lnTo>
                  <a:pt x="3492" y="437"/>
                </a:lnTo>
                <a:lnTo>
                  <a:pt x="3492" y="399"/>
                </a:lnTo>
                <a:lnTo>
                  <a:pt x="3518" y="399"/>
                </a:lnTo>
                <a:lnTo>
                  <a:pt x="3518" y="437"/>
                </a:lnTo>
                <a:close/>
                <a:moveTo>
                  <a:pt x="3518" y="378"/>
                </a:moveTo>
                <a:lnTo>
                  <a:pt x="3492" y="378"/>
                </a:lnTo>
                <a:lnTo>
                  <a:pt x="3492" y="337"/>
                </a:lnTo>
                <a:lnTo>
                  <a:pt x="3518" y="337"/>
                </a:lnTo>
                <a:lnTo>
                  <a:pt x="3518" y="378"/>
                </a:lnTo>
                <a:close/>
                <a:moveTo>
                  <a:pt x="3518" y="316"/>
                </a:moveTo>
                <a:lnTo>
                  <a:pt x="3492" y="316"/>
                </a:lnTo>
                <a:lnTo>
                  <a:pt x="3492" y="278"/>
                </a:lnTo>
                <a:lnTo>
                  <a:pt x="3518" y="278"/>
                </a:lnTo>
                <a:lnTo>
                  <a:pt x="3518" y="316"/>
                </a:lnTo>
                <a:close/>
                <a:moveTo>
                  <a:pt x="3570" y="986"/>
                </a:moveTo>
                <a:lnTo>
                  <a:pt x="3541" y="986"/>
                </a:lnTo>
                <a:lnTo>
                  <a:pt x="3541" y="948"/>
                </a:lnTo>
                <a:lnTo>
                  <a:pt x="3570" y="948"/>
                </a:lnTo>
                <a:lnTo>
                  <a:pt x="3570" y="986"/>
                </a:lnTo>
                <a:close/>
                <a:moveTo>
                  <a:pt x="3570" y="924"/>
                </a:moveTo>
                <a:lnTo>
                  <a:pt x="3541" y="924"/>
                </a:lnTo>
                <a:lnTo>
                  <a:pt x="3541" y="886"/>
                </a:lnTo>
                <a:lnTo>
                  <a:pt x="3570" y="886"/>
                </a:lnTo>
                <a:lnTo>
                  <a:pt x="3570" y="924"/>
                </a:lnTo>
                <a:close/>
                <a:moveTo>
                  <a:pt x="3570" y="865"/>
                </a:moveTo>
                <a:lnTo>
                  <a:pt x="3541" y="865"/>
                </a:lnTo>
                <a:lnTo>
                  <a:pt x="3541" y="827"/>
                </a:lnTo>
                <a:lnTo>
                  <a:pt x="3570" y="827"/>
                </a:lnTo>
                <a:lnTo>
                  <a:pt x="3570" y="865"/>
                </a:lnTo>
                <a:close/>
                <a:moveTo>
                  <a:pt x="3570" y="803"/>
                </a:moveTo>
                <a:lnTo>
                  <a:pt x="3541" y="803"/>
                </a:lnTo>
                <a:lnTo>
                  <a:pt x="3541" y="765"/>
                </a:lnTo>
                <a:lnTo>
                  <a:pt x="3570" y="765"/>
                </a:lnTo>
                <a:lnTo>
                  <a:pt x="3570" y="803"/>
                </a:lnTo>
                <a:close/>
                <a:moveTo>
                  <a:pt x="3570" y="741"/>
                </a:moveTo>
                <a:lnTo>
                  <a:pt x="3541" y="741"/>
                </a:lnTo>
                <a:lnTo>
                  <a:pt x="3541" y="703"/>
                </a:lnTo>
                <a:lnTo>
                  <a:pt x="3570" y="703"/>
                </a:lnTo>
                <a:lnTo>
                  <a:pt x="3570" y="741"/>
                </a:lnTo>
                <a:close/>
                <a:moveTo>
                  <a:pt x="3570" y="682"/>
                </a:moveTo>
                <a:lnTo>
                  <a:pt x="3541" y="682"/>
                </a:lnTo>
                <a:lnTo>
                  <a:pt x="3541" y="644"/>
                </a:lnTo>
                <a:lnTo>
                  <a:pt x="3570" y="644"/>
                </a:lnTo>
                <a:lnTo>
                  <a:pt x="3570" y="682"/>
                </a:lnTo>
                <a:close/>
                <a:moveTo>
                  <a:pt x="3570" y="620"/>
                </a:moveTo>
                <a:lnTo>
                  <a:pt x="3541" y="620"/>
                </a:lnTo>
                <a:lnTo>
                  <a:pt x="3541" y="582"/>
                </a:lnTo>
                <a:lnTo>
                  <a:pt x="3570" y="582"/>
                </a:lnTo>
                <a:lnTo>
                  <a:pt x="3570" y="620"/>
                </a:lnTo>
                <a:close/>
                <a:moveTo>
                  <a:pt x="3570" y="499"/>
                </a:moveTo>
                <a:lnTo>
                  <a:pt x="3541" y="499"/>
                </a:lnTo>
                <a:lnTo>
                  <a:pt x="3541" y="461"/>
                </a:lnTo>
                <a:lnTo>
                  <a:pt x="3570" y="461"/>
                </a:lnTo>
                <a:lnTo>
                  <a:pt x="3570" y="499"/>
                </a:lnTo>
                <a:close/>
                <a:moveTo>
                  <a:pt x="3570" y="437"/>
                </a:moveTo>
                <a:lnTo>
                  <a:pt x="3541" y="437"/>
                </a:lnTo>
                <a:lnTo>
                  <a:pt x="3541" y="399"/>
                </a:lnTo>
                <a:lnTo>
                  <a:pt x="3570" y="399"/>
                </a:lnTo>
                <a:lnTo>
                  <a:pt x="3570" y="437"/>
                </a:lnTo>
                <a:close/>
                <a:moveTo>
                  <a:pt x="3570" y="378"/>
                </a:moveTo>
                <a:lnTo>
                  <a:pt x="3541" y="378"/>
                </a:lnTo>
                <a:lnTo>
                  <a:pt x="3541" y="337"/>
                </a:lnTo>
                <a:lnTo>
                  <a:pt x="3570" y="337"/>
                </a:lnTo>
                <a:lnTo>
                  <a:pt x="3570" y="378"/>
                </a:lnTo>
                <a:close/>
                <a:moveTo>
                  <a:pt x="3570" y="316"/>
                </a:moveTo>
                <a:lnTo>
                  <a:pt x="3541" y="316"/>
                </a:lnTo>
                <a:lnTo>
                  <a:pt x="3541" y="278"/>
                </a:lnTo>
                <a:lnTo>
                  <a:pt x="3570" y="278"/>
                </a:lnTo>
                <a:lnTo>
                  <a:pt x="3570" y="316"/>
                </a:lnTo>
                <a:close/>
                <a:moveTo>
                  <a:pt x="3619" y="986"/>
                </a:moveTo>
                <a:lnTo>
                  <a:pt x="3593" y="986"/>
                </a:lnTo>
                <a:lnTo>
                  <a:pt x="3593" y="948"/>
                </a:lnTo>
                <a:lnTo>
                  <a:pt x="3619" y="948"/>
                </a:lnTo>
                <a:lnTo>
                  <a:pt x="3619" y="986"/>
                </a:lnTo>
                <a:close/>
                <a:moveTo>
                  <a:pt x="3619" y="924"/>
                </a:moveTo>
                <a:lnTo>
                  <a:pt x="3593" y="924"/>
                </a:lnTo>
                <a:lnTo>
                  <a:pt x="3593" y="886"/>
                </a:lnTo>
                <a:lnTo>
                  <a:pt x="3619" y="886"/>
                </a:lnTo>
                <a:lnTo>
                  <a:pt x="3619" y="924"/>
                </a:lnTo>
                <a:close/>
                <a:moveTo>
                  <a:pt x="3619" y="865"/>
                </a:moveTo>
                <a:lnTo>
                  <a:pt x="3593" y="865"/>
                </a:lnTo>
                <a:lnTo>
                  <a:pt x="3593" y="827"/>
                </a:lnTo>
                <a:lnTo>
                  <a:pt x="3619" y="827"/>
                </a:lnTo>
                <a:lnTo>
                  <a:pt x="3619" y="865"/>
                </a:lnTo>
                <a:close/>
                <a:moveTo>
                  <a:pt x="3619" y="803"/>
                </a:moveTo>
                <a:lnTo>
                  <a:pt x="3593" y="803"/>
                </a:lnTo>
                <a:lnTo>
                  <a:pt x="3593" y="765"/>
                </a:lnTo>
                <a:lnTo>
                  <a:pt x="3619" y="765"/>
                </a:lnTo>
                <a:lnTo>
                  <a:pt x="3619" y="803"/>
                </a:lnTo>
                <a:close/>
                <a:moveTo>
                  <a:pt x="3619" y="682"/>
                </a:moveTo>
                <a:lnTo>
                  <a:pt x="3593" y="682"/>
                </a:lnTo>
                <a:lnTo>
                  <a:pt x="3593" y="644"/>
                </a:lnTo>
                <a:lnTo>
                  <a:pt x="3619" y="644"/>
                </a:lnTo>
                <a:lnTo>
                  <a:pt x="3619" y="682"/>
                </a:lnTo>
                <a:close/>
                <a:moveTo>
                  <a:pt x="3619" y="620"/>
                </a:moveTo>
                <a:lnTo>
                  <a:pt x="3593" y="620"/>
                </a:lnTo>
                <a:lnTo>
                  <a:pt x="3593" y="582"/>
                </a:lnTo>
                <a:lnTo>
                  <a:pt x="3619" y="582"/>
                </a:lnTo>
                <a:lnTo>
                  <a:pt x="3619" y="620"/>
                </a:lnTo>
                <a:close/>
                <a:moveTo>
                  <a:pt x="3619" y="558"/>
                </a:moveTo>
                <a:lnTo>
                  <a:pt x="3593" y="558"/>
                </a:lnTo>
                <a:lnTo>
                  <a:pt x="3593" y="520"/>
                </a:lnTo>
                <a:lnTo>
                  <a:pt x="3619" y="520"/>
                </a:lnTo>
                <a:lnTo>
                  <a:pt x="3619" y="558"/>
                </a:lnTo>
                <a:close/>
                <a:moveTo>
                  <a:pt x="3619" y="499"/>
                </a:moveTo>
                <a:lnTo>
                  <a:pt x="3593" y="499"/>
                </a:lnTo>
                <a:lnTo>
                  <a:pt x="3593" y="461"/>
                </a:lnTo>
                <a:lnTo>
                  <a:pt x="3619" y="461"/>
                </a:lnTo>
                <a:lnTo>
                  <a:pt x="3619" y="499"/>
                </a:lnTo>
                <a:close/>
                <a:moveTo>
                  <a:pt x="3619" y="437"/>
                </a:moveTo>
                <a:lnTo>
                  <a:pt x="3593" y="437"/>
                </a:lnTo>
                <a:lnTo>
                  <a:pt x="3593" y="399"/>
                </a:lnTo>
                <a:lnTo>
                  <a:pt x="3619" y="399"/>
                </a:lnTo>
                <a:lnTo>
                  <a:pt x="3619" y="437"/>
                </a:lnTo>
                <a:close/>
                <a:moveTo>
                  <a:pt x="3619" y="378"/>
                </a:moveTo>
                <a:lnTo>
                  <a:pt x="3593" y="378"/>
                </a:lnTo>
                <a:lnTo>
                  <a:pt x="3593" y="337"/>
                </a:lnTo>
                <a:lnTo>
                  <a:pt x="3619" y="337"/>
                </a:lnTo>
                <a:lnTo>
                  <a:pt x="3619" y="378"/>
                </a:lnTo>
                <a:close/>
                <a:moveTo>
                  <a:pt x="3619" y="316"/>
                </a:moveTo>
                <a:lnTo>
                  <a:pt x="3593" y="316"/>
                </a:lnTo>
                <a:lnTo>
                  <a:pt x="3593" y="278"/>
                </a:lnTo>
                <a:lnTo>
                  <a:pt x="3619" y="278"/>
                </a:lnTo>
                <a:lnTo>
                  <a:pt x="3619" y="316"/>
                </a:lnTo>
                <a:close/>
                <a:moveTo>
                  <a:pt x="3669" y="986"/>
                </a:moveTo>
                <a:lnTo>
                  <a:pt x="3643" y="986"/>
                </a:lnTo>
                <a:lnTo>
                  <a:pt x="3643" y="948"/>
                </a:lnTo>
                <a:lnTo>
                  <a:pt x="3669" y="948"/>
                </a:lnTo>
                <a:lnTo>
                  <a:pt x="3669" y="986"/>
                </a:lnTo>
                <a:close/>
                <a:moveTo>
                  <a:pt x="3669" y="865"/>
                </a:moveTo>
                <a:lnTo>
                  <a:pt x="3643" y="865"/>
                </a:lnTo>
                <a:lnTo>
                  <a:pt x="3643" y="827"/>
                </a:lnTo>
                <a:lnTo>
                  <a:pt x="3669" y="827"/>
                </a:lnTo>
                <a:lnTo>
                  <a:pt x="3669" y="865"/>
                </a:lnTo>
                <a:close/>
                <a:moveTo>
                  <a:pt x="3669" y="803"/>
                </a:moveTo>
                <a:lnTo>
                  <a:pt x="3643" y="803"/>
                </a:lnTo>
                <a:lnTo>
                  <a:pt x="3643" y="765"/>
                </a:lnTo>
                <a:lnTo>
                  <a:pt x="3669" y="765"/>
                </a:lnTo>
                <a:lnTo>
                  <a:pt x="3669" y="803"/>
                </a:lnTo>
                <a:close/>
                <a:moveTo>
                  <a:pt x="3669" y="741"/>
                </a:moveTo>
                <a:lnTo>
                  <a:pt x="3643" y="741"/>
                </a:lnTo>
                <a:lnTo>
                  <a:pt x="3643" y="703"/>
                </a:lnTo>
                <a:lnTo>
                  <a:pt x="3669" y="703"/>
                </a:lnTo>
                <a:lnTo>
                  <a:pt x="3669" y="741"/>
                </a:lnTo>
                <a:close/>
                <a:moveTo>
                  <a:pt x="3669" y="682"/>
                </a:moveTo>
                <a:lnTo>
                  <a:pt x="3643" y="682"/>
                </a:lnTo>
                <a:lnTo>
                  <a:pt x="3643" y="644"/>
                </a:lnTo>
                <a:lnTo>
                  <a:pt x="3669" y="644"/>
                </a:lnTo>
                <a:lnTo>
                  <a:pt x="3669" y="682"/>
                </a:lnTo>
                <a:close/>
                <a:moveTo>
                  <a:pt x="3669" y="620"/>
                </a:moveTo>
                <a:lnTo>
                  <a:pt x="3643" y="620"/>
                </a:lnTo>
                <a:lnTo>
                  <a:pt x="3643" y="582"/>
                </a:lnTo>
                <a:lnTo>
                  <a:pt x="3669" y="582"/>
                </a:lnTo>
                <a:lnTo>
                  <a:pt x="3669" y="620"/>
                </a:lnTo>
                <a:close/>
                <a:moveTo>
                  <a:pt x="3669" y="558"/>
                </a:moveTo>
                <a:lnTo>
                  <a:pt x="3643" y="558"/>
                </a:lnTo>
                <a:lnTo>
                  <a:pt x="3643" y="520"/>
                </a:lnTo>
                <a:lnTo>
                  <a:pt x="3669" y="520"/>
                </a:lnTo>
                <a:lnTo>
                  <a:pt x="3669" y="558"/>
                </a:lnTo>
                <a:close/>
                <a:moveTo>
                  <a:pt x="3669" y="499"/>
                </a:moveTo>
                <a:lnTo>
                  <a:pt x="3643" y="499"/>
                </a:lnTo>
                <a:lnTo>
                  <a:pt x="3643" y="461"/>
                </a:lnTo>
                <a:lnTo>
                  <a:pt x="3669" y="461"/>
                </a:lnTo>
                <a:lnTo>
                  <a:pt x="3669" y="499"/>
                </a:lnTo>
                <a:close/>
                <a:moveTo>
                  <a:pt x="3669" y="378"/>
                </a:moveTo>
                <a:lnTo>
                  <a:pt x="3643" y="378"/>
                </a:lnTo>
                <a:lnTo>
                  <a:pt x="3643" y="337"/>
                </a:lnTo>
                <a:lnTo>
                  <a:pt x="3669" y="337"/>
                </a:lnTo>
                <a:lnTo>
                  <a:pt x="3669" y="378"/>
                </a:lnTo>
                <a:close/>
                <a:moveTo>
                  <a:pt x="3669" y="316"/>
                </a:moveTo>
                <a:lnTo>
                  <a:pt x="3643" y="316"/>
                </a:lnTo>
                <a:lnTo>
                  <a:pt x="3643" y="278"/>
                </a:lnTo>
                <a:lnTo>
                  <a:pt x="3669" y="278"/>
                </a:lnTo>
                <a:lnTo>
                  <a:pt x="3669" y="316"/>
                </a:lnTo>
                <a:close/>
              </a:path>
            </a:pathLst>
          </a:custGeom>
          <a:solidFill>
            <a:schemeClr val="tx2">
              <a:lumMod val="60000"/>
              <a:lumOff val="40000"/>
              <a:alpha val="15000"/>
            </a:schemeClr>
          </a:solidFill>
          <a:ln>
            <a:noFill/>
          </a:ln>
        </p:spPr>
        <p:txBody>
          <a:bodyPr/>
          <a:lstStyle/>
          <a:p>
            <a:pPr eaLnBrk="1" fontAlgn="auto" hangingPunct="1">
              <a:spcBef>
                <a:spcPts val="0"/>
              </a:spcBef>
              <a:spcAft>
                <a:spcPts val="0"/>
              </a:spcAft>
              <a:defRPr/>
            </a:pPr>
            <a:endParaRPr lang="en-US" sz="1351">
              <a:latin typeface="+mn-lt"/>
            </a:endParaRPr>
          </a:p>
        </p:txBody>
      </p:sp>
      <p:cxnSp>
        <p:nvCxnSpPr>
          <p:cNvPr id="512" name="Straight Connector 6">
            <a:extLst>
              <a:ext uri="{FF2B5EF4-FFF2-40B4-BE49-F238E27FC236}">
                <a16:creationId xmlns:a16="http://schemas.microsoft.com/office/drawing/2014/main" id="{9E552438-7A2B-2449-1DDC-872AD9ED1AE9}"/>
              </a:ext>
            </a:extLst>
          </p:cNvPr>
          <p:cNvCxnSpPr/>
          <p:nvPr/>
        </p:nvCxnSpPr>
        <p:spPr>
          <a:xfrm>
            <a:off x="11113" y="1423988"/>
            <a:ext cx="124301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13" name="İçerik Yer Tutucusu 2">
            <a:extLst>
              <a:ext uri="{FF2B5EF4-FFF2-40B4-BE49-F238E27FC236}">
                <a16:creationId xmlns:a16="http://schemas.microsoft.com/office/drawing/2014/main" id="{E6846E78-CAA9-AB87-7662-C18C81D60B64}"/>
              </a:ext>
            </a:extLst>
          </p:cNvPr>
          <p:cNvSpPr txBox="1">
            <a:spLocks/>
          </p:cNvSpPr>
          <p:nvPr/>
        </p:nvSpPr>
        <p:spPr>
          <a:xfrm>
            <a:off x="631825" y="842963"/>
            <a:ext cx="4506913" cy="51752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 typeface="Arial" panose="020B0604020202020204" pitchFamily="34" charset="0"/>
              <a:buNone/>
              <a:defRPr/>
            </a:pPr>
            <a:r>
              <a:rPr lang="tr-TR" sz="2200" b="1">
                <a:solidFill>
                  <a:schemeClr val="accent4">
                    <a:lumMod val="75000"/>
                  </a:schemeClr>
                </a:solidFill>
                <a:latin typeface="Open Sans" panose="020B0606030504020204" pitchFamily="34" charset="0"/>
                <a:ea typeface="Open Sans" panose="020B0606030504020204" pitchFamily="34" charset="0"/>
                <a:cs typeface="Open Sans" panose="020B0606030504020204" pitchFamily="34" charset="0"/>
              </a:rPr>
              <a:t>Hizmetlerimiz</a:t>
            </a:r>
          </a:p>
        </p:txBody>
      </p:sp>
      <p:sp>
        <p:nvSpPr>
          <p:cNvPr id="514" name="İçerik Yer Tutucusu 2">
            <a:extLst>
              <a:ext uri="{FF2B5EF4-FFF2-40B4-BE49-F238E27FC236}">
                <a16:creationId xmlns:a16="http://schemas.microsoft.com/office/drawing/2014/main" id="{6594C042-E05C-5BED-2425-9F0AB409BB67}"/>
              </a:ext>
            </a:extLst>
          </p:cNvPr>
          <p:cNvSpPr txBox="1">
            <a:spLocks/>
          </p:cNvSpPr>
          <p:nvPr/>
        </p:nvSpPr>
        <p:spPr>
          <a:xfrm>
            <a:off x="1296988" y="1266825"/>
            <a:ext cx="9850437" cy="39211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 typeface="Arial" panose="020B0604020202020204" pitchFamily="34" charset="0"/>
              <a:buNone/>
              <a:defRPr/>
            </a:pPr>
            <a:r>
              <a:rPr lang="tr-TR" sz="1800" b="1">
                <a:solidFill>
                  <a:schemeClr val="bg2">
                    <a:lumMod val="10000"/>
                  </a:schemeClr>
                </a:solidFill>
              </a:rPr>
              <a:t>ÖZEL PROJELER</a:t>
            </a:r>
          </a:p>
        </p:txBody>
      </p:sp>
      <p:sp>
        <p:nvSpPr>
          <p:cNvPr id="515" name="Rectangle 7">
            <a:extLst>
              <a:ext uri="{FF2B5EF4-FFF2-40B4-BE49-F238E27FC236}">
                <a16:creationId xmlns:a16="http://schemas.microsoft.com/office/drawing/2014/main" id="{CEC71993-CE7E-D150-8951-5C950EF45E62}"/>
              </a:ext>
            </a:extLst>
          </p:cNvPr>
          <p:cNvSpPr/>
          <p:nvPr/>
        </p:nvSpPr>
        <p:spPr>
          <a:xfrm>
            <a:off x="684213" y="1409700"/>
            <a:ext cx="623887" cy="269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nvGrpSpPr>
          <p:cNvPr id="28680" name="Group 307">
            <a:extLst>
              <a:ext uri="{FF2B5EF4-FFF2-40B4-BE49-F238E27FC236}">
                <a16:creationId xmlns:a16="http://schemas.microsoft.com/office/drawing/2014/main" id="{6BFB3CB9-52BC-72D1-C824-5077E88F528E}"/>
              </a:ext>
            </a:extLst>
          </p:cNvPr>
          <p:cNvGrpSpPr>
            <a:grpSpLocks/>
          </p:cNvGrpSpPr>
          <p:nvPr/>
        </p:nvGrpSpPr>
        <p:grpSpPr bwMode="auto">
          <a:xfrm>
            <a:off x="-3175" y="6743700"/>
            <a:ext cx="12195175" cy="114300"/>
            <a:chOff x="-3175" y="4762500"/>
            <a:chExt cx="12195174" cy="2092323"/>
          </a:xfrm>
        </p:grpSpPr>
        <p:sp>
          <p:nvSpPr>
            <p:cNvPr id="518" name="Rectangle 308">
              <a:extLst>
                <a:ext uri="{FF2B5EF4-FFF2-40B4-BE49-F238E27FC236}">
                  <a16:creationId xmlns:a16="http://schemas.microsoft.com/office/drawing/2014/main" id="{AD4E2D2E-7319-78DF-BBBE-FFA7F4C47353}"/>
                </a:ext>
              </a:extLst>
            </p:cNvPr>
            <p:cNvSpPr/>
            <p:nvPr/>
          </p:nvSpPr>
          <p:spPr>
            <a:xfrm>
              <a:off x="-3175" y="4762500"/>
              <a:ext cx="2032000" cy="2092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19" name="Rectangle 309">
              <a:extLst>
                <a:ext uri="{FF2B5EF4-FFF2-40B4-BE49-F238E27FC236}">
                  <a16:creationId xmlns:a16="http://schemas.microsoft.com/office/drawing/2014/main" id="{D3DF62FB-B380-82AA-093C-33863BF5EBDD}"/>
                </a:ext>
              </a:extLst>
            </p:cNvPr>
            <p:cNvSpPr/>
            <p:nvPr/>
          </p:nvSpPr>
          <p:spPr>
            <a:xfrm>
              <a:off x="2027238" y="4762500"/>
              <a:ext cx="2032000" cy="2092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20" name="Rectangle 310">
              <a:extLst>
                <a:ext uri="{FF2B5EF4-FFF2-40B4-BE49-F238E27FC236}">
                  <a16:creationId xmlns:a16="http://schemas.microsoft.com/office/drawing/2014/main" id="{18DAAF5C-EF14-D6B4-A3C2-2345D145C11B}"/>
                </a:ext>
              </a:extLst>
            </p:cNvPr>
            <p:cNvSpPr/>
            <p:nvPr/>
          </p:nvSpPr>
          <p:spPr>
            <a:xfrm>
              <a:off x="4059238" y="4762500"/>
              <a:ext cx="2032000" cy="2092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21" name="Rectangle 311">
              <a:extLst>
                <a:ext uri="{FF2B5EF4-FFF2-40B4-BE49-F238E27FC236}">
                  <a16:creationId xmlns:a16="http://schemas.microsoft.com/office/drawing/2014/main" id="{2991B42C-EB0C-96CB-B52B-DA93B6F490D2}"/>
                </a:ext>
              </a:extLst>
            </p:cNvPr>
            <p:cNvSpPr/>
            <p:nvPr/>
          </p:nvSpPr>
          <p:spPr>
            <a:xfrm>
              <a:off x="6089650" y="4762500"/>
              <a:ext cx="2032000" cy="2092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22" name="Rectangle 312">
              <a:extLst>
                <a:ext uri="{FF2B5EF4-FFF2-40B4-BE49-F238E27FC236}">
                  <a16:creationId xmlns:a16="http://schemas.microsoft.com/office/drawing/2014/main" id="{BC876D81-460B-5DDC-9E7E-23A58129CFFA}"/>
                </a:ext>
              </a:extLst>
            </p:cNvPr>
            <p:cNvSpPr/>
            <p:nvPr/>
          </p:nvSpPr>
          <p:spPr>
            <a:xfrm>
              <a:off x="8118474" y="4762500"/>
              <a:ext cx="2032000" cy="2092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23" name="Rectangle 313">
              <a:extLst>
                <a:ext uri="{FF2B5EF4-FFF2-40B4-BE49-F238E27FC236}">
                  <a16:creationId xmlns:a16="http://schemas.microsoft.com/office/drawing/2014/main" id="{9A3BA76B-C70D-FB78-D0E4-9AC89033A217}"/>
                </a:ext>
              </a:extLst>
            </p:cNvPr>
            <p:cNvSpPr/>
            <p:nvPr/>
          </p:nvSpPr>
          <p:spPr>
            <a:xfrm>
              <a:off x="10148887" y="4762500"/>
              <a:ext cx="2043112" cy="20923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28681" name="Grup 768">
            <a:extLst>
              <a:ext uri="{FF2B5EF4-FFF2-40B4-BE49-F238E27FC236}">
                <a16:creationId xmlns:a16="http://schemas.microsoft.com/office/drawing/2014/main" id="{DD356794-FD39-D32C-5F59-42E8BAFE7EA1}"/>
              </a:ext>
            </a:extLst>
          </p:cNvPr>
          <p:cNvGrpSpPr>
            <a:grpSpLocks/>
          </p:cNvGrpSpPr>
          <p:nvPr/>
        </p:nvGrpSpPr>
        <p:grpSpPr bwMode="auto">
          <a:xfrm>
            <a:off x="6018213" y="3343275"/>
            <a:ext cx="6157912" cy="3424238"/>
            <a:chOff x="5378549" y="971242"/>
            <a:chExt cx="5106627" cy="2840038"/>
          </a:xfrm>
        </p:grpSpPr>
        <p:grpSp>
          <p:nvGrpSpPr>
            <p:cNvPr id="535" name="Group 103">
              <a:extLst>
                <a:ext uri="{FF2B5EF4-FFF2-40B4-BE49-F238E27FC236}">
                  <a16:creationId xmlns:a16="http://schemas.microsoft.com/office/drawing/2014/main" id="{CE4EDE21-5A73-848C-96B3-9FECFBCC4384}"/>
                </a:ext>
              </a:extLst>
            </p:cNvPr>
            <p:cNvGrpSpPr/>
            <p:nvPr>
              <p:custDataLst>
                <p:tags r:id="rId1"/>
              </p:custDataLst>
            </p:nvPr>
          </p:nvGrpSpPr>
          <p:grpSpPr>
            <a:xfrm>
              <a:off x="5378549" y="2020226"/>
              <a:ext cx="1715468" cy="1775172"/>
              <a:chOff x="5489575" y="2000250"/>
              <a:chExt cx="623888" cy="645602"/>
            </a:xfrm>
            <a:solidFill>
              <a:schemeClr val="accent3">
                <a:lumMod val="75000"/>
              </a:schemeClr>
            </a:solidFill>
          </p:grpSpPr>
          <p:sp>
            <p:nvSpPr>
              <p:cNvPr id="536" name="Freeform 174">
                <a:extLst>
                  <a:ext uri="{FF2B5EF4-FFF2-40B4-BE49-F238E27FC236}">
                    <a16:creationId xmlns:a16="http://schemas.microsoft.com/office/drawing/2014/main" id="{8A547394-4FEE-0B2E-BB66-A2D79ED7235E}"/>
                  </a:ext>
                </a:extLst>
              </p:cNvPr>
              <p:cNvSpPr>
                <a:spLocks/>
              </p:cNvSpPr>
              <p:nvPr/>
            </p:nvSpPr>
            <p:spPr bwMode="auto">
              <a:xfrm>
                <a:off x="5540375" y="2184400"/>
                <a:ext cx="39688" cy="185738"/>
              </a:xfrm>
              <a:custGeom>
                <a:avLst/>
                <a:gdLst>
                  <a:gd name="T0" fmla="*/ 16 w 70"/>
                  <a:gd name="T1" fmla="*/ 0 h 330"/>
                  <a:gd name="T2" fmla="*/ 0 w 70"/>
                  <a:gd name="T3" fmla="*/ 330 h 330"/>
                  <a:gd name="T4" fmla="*/ 70 w 70"/>
                  <a:gd name="T5" fmla="*/ 330 h 330"/>
                  <a:gd name="T6" fmla="*/ 48 w 70"/>
                  <a:gd name="T7" fmla="*/ 0 h 330"/>
                  <a:gd name="T8" fmla="*/ 16 w 70"/>
                  <a:gd name="T9" fmla="*/ 0 h 330"/>
                </a:gdLst>
                <a:ahLst/>
                <a:cxnLst>
                  <a:cxn ang="0">
                    <a:pos x="T0" y="T1"/>
                  </a:cxn>
                  <a:cxn ang="0">
                    <a:pos x="T2" y="T3"/>
                  </a:cxn>
                  <a:cxn ang="0">
                    <a:pos x="T4" y="T5"/>
                  </a:cxn>
                  <a:cxn ang="0">
                    <a:pos x="T6" y="T7"/>
                  </a:cxn>
                  <a:cxn ang="0">
                    <a:pos x="T8" y="T9"/>
                  </a:cxn>
                </a:cxnLst>
                <a:rect l="0" t="0" r="r" b="b"/>
                <a:pathLst>
                  <a:path w="70" h="330">
                    <a:moveTo>
                      <a:pt x="16" y="0"/>
                    </a:moveTo>
                    <a:lnTo>
                      <a:pt x="0" y="330"/>
                    </a:lnTo>
                    <a:lnTo>
                      <a:pt x="70" y="330"/>
                    </a:lnTo>
                    <a:lnTo>
                      <a:pt x="48" y="0"/>
                    </a:lnTo>
                    <a:lnTo>
                      <a:pt x="16" y="0"/>
                    </a:lnTo>
                    <a:close/>
                  </a:path>
                </a:pathLst>
              </a:custGeom>
              <a:grpFill/>
              <a:ln>
                <a:noFill/>
              </a:ln>
            </p:spPr>
            <p:txBody>
              <a:bodyPr/>
              <a:lstStyle/>
              <a:p>
                <a:pPr eaLnBrk="1" fontAlgn="auto" hangingPunct="1">
                  <a:spcBef>
                    <a:spcPts val="0"/>
                  </a:spcBef>
                  <a:spcAft>
                    <a:spcPts val="0"/>
                  </a:spcAft>
                  <a:defRPr/>
                </a:pPr>
                <a:endParaRPr lang="en-US">
                  <a:latin typeface="+mn-lt"/>
                </a:endParaRPr>
              </a:p>
            </p:txBody>
          </p:sp>
          <p:sp>
            <p:nvSpPr>
              <p:cNvPr id="537" name="Freeform 175">
                <a:extLst>
                  <a:ext uri="{FF2B5EF4-FFF2-40B4-BE49-F238E27FC236}">
                    <a16:creationId xmlns:a16="http://schemas.microsoft.com/office/drawing/2014/main" id="{ADB72C40-9DDE-530E-4F3B-C3C3C5B2DF8C}"/>
                  </a:ext>
                </a:extLst>
              </p:cNvPr>
              <p:cNvSpPr>
                <a:spLocks/>
              </p:cNvSpPr>
              <p:nvPr/>
            </p:nvSpPr>
            <p:spPr bwMode="auto">
              <a:xfrm>
                <a:off x="5910263" y="2153727"/>
                <a:ext cx="98425" cy="492125"/>
              </a:xfrm>
              <a:custGeom>
                <a:avLst/>
                <a:gdLst>
                  <a:gd name="T0" fmla="*/ 49 w 170"/>
                  <a:gd name="T1" fmla="*/ 0 h 872"/>
                  <a:gd name="T2" fmla="*/ 0 w 170"/>
                  <a:gd name="T3" fmla="*/ 872 h 872"/>
                  <a:gd name="T4" fmla="*/ 170 w 170"/>
                  <a:gd name="T5" fmla="*/ 872 h 872"/>
                  <a:gd name="T6" fmla="*/ 126 w 170"/>
                  <a:gd name="T7" fmla="*/ 0 h 872"/>
                  <a:gd name="T8" fmla="*/ 49 w 170"/>
                  <a:gd name="T9" fmla="*/ 0 h 872"/>
                </a:gdLst>
                <a:ahLst/>
                <a:cxnLst>
                  <a:cxn ang="0">
                    <a:pos x="T0" y="T1"/>
                  </a:cxn>
                  <a:cxn ang="0">
                    <a:pos x="T2" y="T3"/>
                  </a:cxn>
                  <a:cxn ang="0">
                    <a:pos x="T4" y="T5"/>
                  </a:cxn>
                  <a:cxn ang="0">
                    <a:pos x="T6" y="T7"/>
                  </a:cxn>
                  <a:cxn ang="0">
                    <a:pos x="T8" y="T9"/>
                  </a:cxn>
                </a:cxnLst>
                <a:rect l="0" t="0" r="r" b="b"/>
                <a:pathLst>
                  <a:path w="170" h="872">
                    <a:moveTo>
                      <a:pt x="49" y="0"/>
                    </a:moveTo>
                    <a:lnTo>
                      <a:pt x="0" y="872"/>
                    </a:lnTo>
                    <a:lnTo>
                      <a:pt x="170" y="872"/>
                    </a:lnTo>
                    <a:lnTo>
                      <a:pt x="126" y="0"/>
                    </a:lnTo>
                    <a:lnTo>
                      <a:pt x="49" y="0"/>
                    </a:lnTo>
                    <a:close/>
                  </a:path>
                </a:pathLst>
              </a:custGeom>
              <a:grpFill/>
              <a:ln>
                <a:noFill/>
              </a:ln>
            </p:spPr>
            <p:txBody>
              <a:bodyPr/>
              <a:lstStyle/>
              <a:p>
                <a:pPr eaLnBrk="1" fontAlgn="auto" hangingPunct="1">
                  <a:spcBef>
                    <a:spcPts val="0"/>
                  </a:spcBef>
                  <a:spcAft>
                    <a:spcPts val="0"/>
                  </a:spcAft>
                  <a:defRPr/>
                </a:pPr>
                <a:endParaRPr lang="en-US">
                  <a:latin typeface="+mn-lt"/>
                </a:endParaRPr>
              </a:p>
            </p:txBody>
          </p:sp>
          <p:sp>
            <p:nvSpPr>
              <p:cNvPr id="538" name="Freeform 176">
                <a:extLst>
                  <a:ext uri="{FF2B5EF4-FFF2-40B4-BE49-F238E27FC236}">
                    <a16:creationId xmlns:a16="http://schemas.microsoft.com/office/drawing/2014/main" id="{06BD2656-9303-9ED1-5CD4-5876BCA7231C}"/>
                  </a:ext>
                </a:extLst>
              </p:cNvPr>
              <p:cNvSpPr>
                <a:spLocks/>
              </p:cNvSpPr>
              <p:nvPr/>
            </p:nvSpPr>
            <p:spPr bwMode="auto">
              <a:xfrm>
                <a:off x="5489575" y="2362200"/>
                <a:ext cx="417513" cy="282575"/>
              </a:xfrm>
              <a:custGeom>
                <a:avLst/>
                <a:gdLst>
                  <a:gd name="T0" fmla="*/ 1 w 718"/>
                  <a:gd name="T1" fmla="*/ 166 h 502"/>
                  <a:gd name="T2" fmla="*/ 3 w 718"/>
                  <a:gd name="T3" fmla="*/ 502 h 502"/>
                  <a:gd name="T4" fmla="*/ 699 w 718"/>
                  <a:gd name="T5" fmla="*/ 502 h 502"/>
                  <a:gd name="T6" fmla="*/ 718 w 718"/>
                  <a:gd name="T7" fmla="*/ 160 h 502"/>
                  <a:gd name="T8" fmla="*/ 487 w 718"/>
                  <a:gd name="T9" fmla="*/ 160 h 502"/>
                  <a:gd name="T10" fmla="*/ 484 w 718"/>
                  <a:gd name="T11" fmla="*/ 0 h 502"/>
                  <a:gd name="T12" fmla="*/ 366 w 718"/>
                  <a:gd name="T13" fmla="*/ 0 h 502"/>
                  <a:gd name="T14" fmla="*/ 267 w 718"/>
                  <a:gd name="T15" fmla="*/ 0 h 502"/>
                  <a:gd name="T16" fmla="*/ 219 w 718"/>
                  <a:gd name="T17" fmla="*/ 0 h 502"/>
                  <a:gd name="T18" fmla="*/ 148 w 718"/>
                  <a:gd name="T19" fmla="*/ 0 h 502"/>
                  <a:gd name="T20" fmla="*/ 125 w 718"/>
                  <a:gd name="T21" fmla="*/ 0 h 502"/>
                  <a:gd name="T22" fmla="*/ 84 w 718"/>
                  <a:gd name="T23" fmla="*/ 0 h 502"/>
                  <a:gd name="T24" fmla="*/ 56 w 718"/>
                  <a:gd name="T25" fmla="*/ 0 h 502"/>
                  <a:gd name="T26" fmla="*/ 0 w 718"/>
                  <a:gd name="T27" fmla="*/ 0 h 502"/>
                  <a:gd name="T28" fmla="*/ 0 w 718"/>
                  <a:gd name="T29" fmla="*/ 83 h 502"/>
                  <a:gd name="T30" fmla="*/ 1 w 718"/>
                  <a:gd name="T31" fmla="*/ 16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18" h="502">
                    <a:moveTo>
                      <a:pt x="1" y="166"/>
                    </a:moveTo>
                    <a:lnTo>
                      <a:pt x="3" y="502"/>
                    </a:lnTo>
                    <a:lnTo>
                      <a:pt x="699" y="502"/>
                    </a:lnTo>
                    <a:lnTo>
                      <a:pt x="718" y="160"/>
                    </a:lnTo>
                    <a:lnTo>
                      <a:pt x="487" y="160"/>
                    </a:lnTo>
                    <a:lnTo>
                      <a:pt x="484" y="0"/>
                    </a:lnTo>
                    <a:lnTo>
                      <a:pt x="366" y="0"/>
                    </a:lnTo>
                    <a:lnTo>
                      <a:pt x="267" y="0"/>
                    </a:lnTo>
                    <a:lnTo>
                      <a:pt x="219" y="0"/>
                    </a:lnTo>
                    <a:lnTo>
                      <a:pt x="148" y="0"/>
                    </a:lnTo>
                    <a:lnTo>
                      <a:pt x="125" y="0"/>
                    </a:lnTo>
                    <a:lnTo>
                      <a:pt x="84" y="0"/>
                    </a:lnTo>
                    <a:lnTo>
                      <a:pt x="56" y="0"/>
                    </a:lnTo>
                    <a:lnTo>
                      <a:pt x="0" y="0"/>
                    </a:lnTo>
                    <a:lnTo>
                      <a:pt x="0" y="83"/>
                    </a:lnTo>
                    <a:lnTo>
                      <a:pt x="1" y="166"/>
                    </a:lnTo>
                    <a:close/>
                  </a:path>
                </a:pathLst>
              </a:custGeom>
              <a:grpFill/>
              <a:ln>
                <a:noFill/>
              </a:ln>
            </p:spPr>
            <p:txBody>
              <a:bodyPr/>
              <a:lstStyle/>
              <a:p>
                <a:pPr eaLnBrk="1" fontAlgn="auto" hangingPunct="1">
                  <a:spcBef>
                    <a:spcPts val="0"/>
                  </a:spcBef>
                  <a:spcAft>
                    <a:spcPts val="0"/>
                  </a:spcAft>
                  <a:defRPr/>
                </a:pPr>
                <a:endParaRPr lang="en-US">
                  <a:latin typeface="+mn-lt"/>
                </a:endParaRPr>
              </a:p>
            </p:txBody>
          </p:sp>
          <p:sp>
            <p:nvSpPr>
              <p:cNvPr id="539" name="Freeform 177">
                <a:extLst>
                  <a:ext uri="{FF2B5EF4-FFF2-40B4-BE49-F238E27FC236}">
                    <a16:creationId xmlns:a16="http://schemas.microsoft.com/office/drawing/2014/main" id="{D08EB65F-18C5-1A6C-875A-68C3EFA304E8}"/>
                  </a:ext>
                </a:extLst>
              </p:cNvPr>
              <p:cNvSpPr>
                <a:spLocks/>
              </p:cNvSpPr>
              <p:nvPr/>
            </p:nvSpPr>
            <p:spPr bwMode="auto">
              <a:xfrm>
                <a:off x="6011863" y="2452688"/>
                <a:ext cx="101600" cy="192088"/>
              </a:xfrm>
              <a:custGeom>
                <a:avLst/>
                <a:gdLst>
                  <a:gd name="T0" fmla="*/ 0 w 174"/>
                  <a:gd name="T1" fmla="*/ 0 h 342"/>
                  <a:gd name="T2" fmla="*/ 17 w 174"/>
                  <a:gd name="T3" fmla="*/ 342 h 342"/>
                  <a:gd name="T4" fmla="*/ 174 w 174"/>
                  <a:gd name="T5" fmla="*/ 342 h 342"/>
                  <a:gd name="T6" fmla="*/ 174 w 174"/>
                  <a:gd name="T7" fmla="*/ 0 h 342"/>
                  <a:gd name="T8" fmla="*/ 0 w 174"/>
                  <a:gd name="T9" fmla="*/ 0 h 342"/>
                </a:gdLst>
                <a:ahLst/>
                <a:cxnLst>
                  <a:cxn ang="0">
                    <a:pos x="T0" y="T1"/>
                  </a:cxn>
                  <a:cxn ang="0">
                    <a:pos x="T2" y="T3"/>
                  </a:cxn>
                  <a:cxn ang="0">
                    <a:pos x="T4" y="T5"/>
                  </a:cxn>
                  <a:cxn ang="0">
                    <a:pos x="T6" y="T7"/>
                  </a:cxn>
                  <a:cxn ang="0">
                    <a:pos x="T8" y="T9"/>
                  </a:cxn>
                </a:cxnLst>
                <a:rect l="0" t="0" r="r" b="b"/>
                <a:pathLst>
                  <a:path w="174" h="342">
                    <a:moveTo>
                      <a:pt x="0" y="0"/>
                    </a:moveTo>
                    <a:lnTo>
                      <a:pt x="17" y="342"/>
                    </a:lnTo>
                    <a:lnTo>
                      <a:pt x="174" y="342"/>
                    </a:lnTo>
                    <a:lnTo>
                      <a:pt x="174" y="0"/>
                    </a:lnTo>
                    <a:lnTo>
                      <a:pt x="0" y="0"/>
                    </a:lnTo>
                    <a:close/>
                  </a:path>
                </a:pathLst>
              </a:custGeom>
              <a:grpFill/>
              <a:ln>
                <a:noFill/>
              </a:ln>
            </p:spPr>
            <p:txBody>
              <a:bodyPr/>
              <a:lstStyle/>
              <a:p>
                <a:pPr eaLnBrk="1" fontAlgn="auto" hangingPunct="1">
                  <a:spcBef>
                    <a:spcPts val="0"/>
                  </a:spcBef>
                  <a:spcAft>
                    <a:spcPts val="0"/>
                  </a:spcAft>
                  <a:defRPr/>
                </a:pPr>
                <a:endParaRPr lang="en-US">
                  <a:latin typeface="+mn-lt"/>
                </a:endParaRPr>
              </a:p>
            </p:txBody>
          </p:sp>
          <p:sp>
            <p:nvSpPr>
              <p:cNvPr id="540" name="Rectangle 178">
                <a:extLst>
                  <a:ext uri="{FF2B5EF4-FFF2-40B4-BE49-F238E27FC236}">
                    <a16:creationId xmlns:a16="http://schemas.microsoft.com/office/drawing/2014/main" id="{16FD0383-2B05-5AFA-EDFB-50248EAB8644}"/>
                  </a:ext>
                </a:extLst>
              </p:cNvPr>
              <p:cNvSpPr>
                <a:spLocks noChangeArrowheads="1"/>
              </p:cNvSpPr>
              <p:nvPr/>
            </p:nvSpPr>
            <p:spPr bwMode="auto">
              <a:xfrm>
                <a:off x="5624513" y="2430463"/>
                <a:ext cx="98425" cy="23813"/>
              </a:xfrm>
              <a:prstGeom prst="rect">
                <a:avLst/>
              </a:prstGeom>
              <a:grpFill/>
              <a:ln>
                <a:noFill/>
              </a:ln>
            </p:spPr>
            <p:txBody>
              <a:bodyPr/>
              <a:lstStyle/>
              <a:p>
                <a:pPr eaLnBrk="1" fontAlgn="auto" hangingPunct="1">
                  <a:spcBef>
                    <a:spcPts val="0"/>
                  </a:spcBef>
                  <a:spcAft>
                    <a:spcPts val="0"/>
                  </a:spcAft>
                  <a:defRPr/>
                </a:pPr>
                <a:endParaRPr lang="en-US">
                  <a:latin typeface="+mn-lt"/>
                </a:endParaRPr>
              </a:p>
            </p:txBody>
          </p:sp>
          <p:sp>
            <p:nvSpPr>
              <p:cNvPr id="541" name="Freeform 179">
                <a:extLst>
                  <a:ext uri="{FF2B5EF4-FFF2-40B4-BE49-F238E27FC236}">
                    <a16:creationId xmlns:a16="http://schemas.microsoft.com/office/drawing/2014/main" id="{53E3D787-EBC0-E4EE-7ED8-862F8E8E8732}"/>
                  </a:ext>
                </a:extLst>
              </p:cNvPr>
              <p:cNvSpPr>
                <a:spLocks/>
              </p:cNvSpPr>
              <p:nvPr/>
            </p:nvSpPr>
            <p:spPr bwMode="auto">
              <a:xfrm>
                <a:off x="5592763" y="2184400"/>
                <a:ext cx="39688" cy="185738"/>
              </a:xfrm>
              <a:custGeom>
                <a:avLst/>
                <a:gdLst>
                  <a:gd name="T0" fmla="*/ 16 w 70"/>
                  <a:gd name="T1" fmla="*/ 0 h 330"/>
                  <a:gd name="T2" fmla="*/ 0 w 70"/>
                  <a:gd name="T3" fmla="*/ 330 h 330"/>
                  <a:gd name="T4" fmla="*/ 70 w 70"/>
                  <a:gd name="T5" fmla="*/ 330 h 330"/>
                  <a:gd name="T6" fmla="*/ 48 w 70"/>
                  <a:gd name="T7" fmla="*/ 0 h 330"/>
                  <a:gd name="T8" fmla="*/ 16 w 70"/>
                  <a:gd name="T9" fmla="*/ 0 h 330"/>
                </a:gdLst>
                <a:ahLst/>
                <a:cxnLst>
                  <a:cxn ang="0">
                    <a:pos x="T0" y="T1"/>
                  </a:cxn>
                  <a:cxn ang="0">
                    <a:pos x="T2" y="T3"/>
                  </a:cxn>
                  <a:cxn ang="0">
                    <a:pos x="T4" y="T5"/>
                  </a:cxn>
                  <a:cxn ang="0">
                    <a:pos x="T6" y="T7"/>
                  </a:cxn>
                  <a:cxn ang="0">
                    <a:pos x="T8" y="T9"/>
                  </a:cxn>
                </a:cxnLst>
                <a:rect l="0" t="0" r="r" b="b"/>
                <a:pathLst>
                  <a:path w="70" h="330">
                    <a:moveTo>
                      <a:pt x="16" y="0"/>
                    </a:moveTo>
                    <a:lnTo>
                      <a:pt x="0" y="330"/>
                    </a:lnTo>
                    <a:lnTo>
                      <a:pt x="70" y="330"/>
                    </a:lnTo>
                    <a:lnTo>
                      <a:pt x="48" y="0"/>
                    </a:lnTo>
                    <a:lnTo>
                      <a:pt x="16" y="0"/>
                    </a:lnTo>
                    <a:close/>
                  </a:path>
                </a:pathLst>
              </a:custGeom>
              <a:grpFill/>
              <a:ln>
                <a:noFill/>
              </a:ln>
            </p:spPr>
            <p:txBody>
              <a:bodyPr/>
              <a:lstStyle/>
              <a:p>
                <a:pPr eaLnBrk="1" fontAlgn="auto" hangingPunct="1">
                  <a:spcBef>
                    <a:spcPts val="0"/>
                  </a:spcBef>
                  <a:spcAft>
                    <a:spcPts val="0"/>
                  </a:spcAft>
                  <a:defRPr/>
                </a:pPr>
                <a:endParaRPr lang="en-US">
                  <a:latin typeface="+mn-lt"/>
                </a:endParaRPr>
              </a:p>
            </p:txBody>
          </p:sp>
          <p:sp>
            <p:nvSpPr>
              <p:cNvPr id="542" name="Freeform 180">
                <a:extLst>
                  <a:ext uri="{FF2B5EF4-FFF2-40B4-BE49-F238E27FC236}">
                    <a16:creationId xmlns:a16="http://schemas.microsoft.com/office/drawing/2014/main" id="{837F500E-1ECF-CDE1-6D06-011345D45F5A}"/>
                  </a:ext>
                </a:extLst>
              </p:cNvPr>
              <p:cNvSpPr>
                <a:spLocks/>
              </p:cNvSpPr>
              <p:nvPr/>
            </p:nvSpPr>
            <p:spPr bwMode="auto">
              <a:xfrm>
                <a:off x="5651500" y="2000250"/>
                <a:ext cx="298450" cy="153988"/>
              </a:xfrm>
              <a:custGeom>
                <a:avLst/>
                <a:gdLst>
                  <a:gd name="T0" fmla="*/ 270 w 514"/>
                  <a:gd name="T1" fmla="*/ 263 h 273"/>
                  <a:gd name="T2" fmla="*/ 174 w 514"/>
                  <a:gd name="T3" fmla="*/ 251 h 273"/>
                  <a:gd name="T4" fmla="*/ 172 w 514"/>
                  <a:gd name="T5" fmla="*/ 252 h 273"/>
                  <a:gd name="T6" fmla="*/ 67 w 514"/>
                  <a:gd name="T7" fmla="*/ 205 h 273"/>
                  <a:gd name="T8" fmla="*/ 8 w 514"/>
                  <a:gd name="T9" fmla="*/ 169 h 273"/>
                  <a:gd name="T10" fmla="*/ 44 w 514"/>
                  <a:gd name="T11" fmla="*/ 106 h 273"/>
                  <a:gd name="T12" fmla="*/ 75 w 514"/>
                  <a:gd name="T13" fmla="*/ 108 h 273"/>
                  <a:gd name="T14" fmla="*/ 125 w 514"/>
                  <a:gd name="T15" fmla="*/ 74 h 273"/>
                  <a:gd name="T16" fmla="*/ 126 w 514"/>
                  <a:gd name="T17" fmla="*/ 74 h 273"/>
                  <a:gd name="T18" fmla="*/ 204 w 514"/>
                  <a:gd name="T19" fmla="*/ 15 h 273"/>
                  <a:gd name="T20" fmla="*/ 343 w 514"/>
                  <a:gd name="T21" fmla="*/ 66 h 273"/>
                  <a:gd name="T22" fmla="*/ 404 w 514"/>
                  <a:gd name="T23" fmla="*/ 72 h 273"/>
                  <a:gd name="T24" fmla="*/ 447 w 514"/>
                  <a:gd name="T25" fmla="*/ 113 h 273"/>
                  <a:gd name="T26" fmla="*/ 478 w 514"/>
                  <a:gd name="T27" fmla="*/ 117 h 273"/>
                  <a:gd name="T28" fmla="*/ 503 w 514"/>
                  <a:gd name="T29" fmla="*/ 185 h 273"/>
                  <a:gd name="T30" fmla="*/ 438 w 514"/>
                  <a:gd name="T31" fmla="*/ 211 h 273"/>
                  <a:gd name="T32" fmla="*/ 326 w 514"/>
                  <a:gd name="T33" fmla="*/ 238 h 273"/>
                  <a:gd name="T34" fmla="*/ 322 w 514"/>
                  <a:gd name="T35" fmla="*/ 236 h 273"/>
                  <a:gd name="T36" fmla="*/ 270 w 514"/>
                  <a:gd name="T37" fmla="*/ 26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4" h="273">
                    <a:moveTo>
                      <a:pt x="270" y="263"/>
                    </a:moveTo>
                    <a:cubicBezTo>
                      <a:pt x="237" y="273"/>
                      <a:pt x="202" y="267"/>
                      <a:pt x="174" y="251"/>
                    </a:cubicBezTo>
                    <a:cubicBezTo>
                      <a:pt x="173" y="251"/>
                      <a:pt x="173" y="252"/>
                      <a:pt x="172" y="252"/>
                    </a:cubicBezTo>
                    <a:cubicBezTo>
                      <a:pt x="130" y="263"/>
                      <a:pt x="86" y="243"/>
                      <a:pt x="67" y="205"/>
                    </a:cubicBezTo>
                    <a:cubicBezTo>
                      <a:pt x="41" y="211"/>
                      <a:pt x="15" y="195"/>
                      <a:pt x="8" y="169"/>
                    </a:cubicBezTo>
                    <a:cubicBezTo>
                      <a:pt x="0" y="142"/>
                      <a:pt x="16" y="114"/>
                      <a:pt x="44" y="106"/>
                    </a:cubicBezTo>
                    <a:cubicBezTo>
                      <a:pt x="54" y="104"/>
                      <a:pt x="65" y="104"/>
                      <a:pt x="75" y="108"/>
                    </a:cubicBezTo>
                    <a:cubicBezTo>
                      <a:pt x="87" y="92"/>
                      <a:pt x="104" y="80"/>
                      <a:pt x="125" y="74"/>
                    </a:cubicBezTo>
                    <a:cubicBezTo>
                      <a:pt x="125" y="74"/>
                      <a:pt x="126" y="74"/>
                      <a:pt x="126" y="74"/>
                    </a:cubicBezTo>
                    <a:cubicBezTo>
                      <a:pt x="143" y="46"/>
                      <a:pt x="170" y="24"/>
                      <a:pt x="204" y="15"/>
                    </a:cubicBezTo>
                    <a:cubicBezTo>
                      <a:pt x="258" y="0"/>
                      <a:pt x="313" y="22"/>
                      <a:pt x="343" y="66"/>
                    </a:cubicBezTo>
                    <a:cubicBezTo>
                      <a:pt x="362" y="61"/>
                      <a:pt x="384" y="62"/>
                      <a:pt x="404" y="72"/>
                    </a:cubicBezTo>
                    <a:cubicBezTo>
                      <a:pt x="423" y="81"/>
                      <a:pt x="438" y="96"/>
                      <a:pt x="447" y="113"/>
                    </a:cubicBezTo>
                    <a:cubicBezTo>
                      <a:pt x="457" y="111"/>
                      <a:pt x="468" y="113"/>
                      <a:pt x="478" y="117"/>
                    </a:cubicBezTo>
                    <a:cubicBezTo>
                      <a:pt x="503" y="129"/>
                      <a:pt x="514" y="159"/>
                      <a:pt x="503" y="185"/>
                    </a:cubicBezTo>
                    <a:cubicBezTo>
                      <a:pt x="491" y="209"/>
                      <a:pt x="463" y="220"/>
                      <a:pt x="438" y="211"/>
                    </a:cubicBezTo>
                    <a:cubicBezTo>
                      <a:pt x="413" y="244"/>
                      <a:pt x="366" y="257"/>
                      <a:pt x="326" y="238"/>
                    </a:cubicBezTo>
                    <a:cubicBezTo>
                      <a:pt x="325" y="238"/>
                      <a:pt x="323" y="237"/>
                      <a:pt x="322" y="236"/>
                    </a:cubicBezTo>
                    <a:cubicBezTo>
                      <a:pt x="307" y="249"/>
                      <a:pt x="290" y="258"/>
                      <a:pt x="270" y="263"/>
                    </a:cubicBezTo>
                    <a:close/>
                  </a:path>
                </a:pathLst>
              </a:custGeom>
              <a:grpFill/>
              <a:ln>
                <a:noFill/>
              </a:ln>
            </p:spPr>
            <p:txBody>
              <a:bodyPr/>
              <a:lstStyle/>
              <a:p>
                <a:pPr eaLnBrk="1" fontAlgn="auto" hangingPunct="1">
                  <a:spcBef>
                    <a:spcPts val="0"/>
                  </a:spcBef>
                  <a:spcAft>
                    <a:spcPts val="0"/>
                  </a:spcAft>
                  <a:defRPr/>
                </a:pPr>
                <a:endParaRPr lang="en-US">
                  <a:latin typeface="+mn-lt"/>
                </a:endParaRPr>
              </a:p>
            </p:txBody>
          </p:sp>
          <p:sp>
            <p:nvSpPr>
              <p:cNvPr id="543" name="Freeform 181">
                <a:extLst>
                  <a:ext uri="{FF2B5EF4-FFF2-40B4-BE49-F238E27FC236}">
                    <a16:creationId xmlns:a16="http://schemas.microsoft.com/office/drawing/2014/main" id="{8A6CE5AD-1198-73DD-57CC-2F6392EF8F11}"/>
                  </a:ext>
                </a:extLst>
              </p:cNvPr>
              <p:cNvSpPr>
                <a:spLocks/>
              </p:cNvSpPr>
              <p:nvPr/>
            </p:nvSpPr>
            <p:spPr bwMode="auto">
              <a:xfrm>
                <a:off x="5922963" y="2074863"/>
                <a:ext cx="50800" cy="69850"/>
              </a:xfrm>
              <a:custGeom>
                <a:avLst/>
                <a:gdLst>
                  <a:gd name="T0" fmla="*/ 0 w 88"/>
                  <a:gd name="T1" fmla="*/ 81 h 124"/>
                  <a:gd name="T2" fmla="*/ 43 w 88"/>
                  <a:gd name="T3" fmla="*/ 124 h 124"/>
                  <a:gd name="T4" fmla="*/ 80 w 88"/>
                  <a:gd name="T5" fmla="*/ 124 h 124"/>
                  <a:gd name="T6" fmla="*/ 31 w 88"/>
                  <a:gd name="T7" fmla="*/ 0 h 124"/>
                  <a:gd name="T8" fmla="*/ 37 w 88"/>
                  <a:gd name="T9" fmla="*/ 53 h 124"/>
                  <a:gd name="T10" fmla="*/ 0 w 88"/>
                  <a:gd name="T11" fmla="*/ 81 h 124"/>
                </a:gdLst>
                <a:ahLst/>
                <a:cxnLst>
                  <a:cxn ang="0">
                    <a:pos x="T0" y="T1"/>
                  </a:cxn>
                  <a:cxn ang="0">
                    <a:pos x="T2" y="T3"/>
                  </a:cxn>
                  <a:cxn ang="0">
                    <a:pos x="T4" y="T5"/>
                  </a:cxn>
                  <a:cxn ang="0">
                    <a:pos x="T6" y="T7"/>
                  </a:cxn>
                  <a:cxn ang="0">
                    <a:pos x="T8" y="T9"/>
                  </a:cxn>
                  <a:cxn ang="0">
                    <a:pos x="T10" y="T11"/>
                  </a:cxn>
                </a:cxnLst>
                <a:rect l="0" t="0" r="r" b="b"/>
                <a:pathLst>
                  <a:path w="88" h="124">
                    <a:moveTo>
                      <a:pt x="0" y="81"/>
                    </a:moveTo>
                    <a:cubicBezTo>
                      <a:pt x="20" y="78"/>
                      <a:pt x="31" y="88"/>
                      <a:pt x="43" y="124"/>
                    </a:cubicBezTo>
                    <a:lnTo>
                      <a:pt x="80" y="124"/>
                    </a:lnTo>
                    <a:cubicBezTo>
                      <a:pt x="88" y="55"/>
                      <a:pt x="69" y="20"/>
                      <a:pt x="31" y="0"/>
                    </a:cubicBezTo>
                    <a:cubicBezTo>
                      <a:pt x="42" y="14"/>
                      <a:pt x="45" y="35"/>
                      <a:pt x="37" y="53"/>
                    </a:cubicBezTo>
                    <a:cubicBezTo>
                      <a:pt x="29" y="68"/>
                      <a:pt x="16" y="78"/>
                      <a:pt x="0" y="81"/>
                    </a:cubicBezTo>
                    <a:close/>
                  </a:path>
                </a:pathLst>
              </a:custGeom>
              <a:grpFill/>
              <a:ln>
                <a:noFill/>
              </a:ln>
            </p:spPr>
            <p:txBody>
              <a:bodyPr/>
              <a:lstStyle/>
              <a:p>
                <a:pPr eaLnBrk="1" fontAlgn="auto" hangingPunct="1">
                  <a:spcBef>
                    <a:spcPts val="0"/>
                  </a:spcBef>
                  <a:spcAft>
                    <a:spcPts val="0"/>
                  </a:spcAft>
                  <a:defRPr/>
                </a:pPr>
                <a:endParaRPr lang="en-US">
                  <a:latin typeface="+mn-lt"/>
                </a:endParaRPr>
              </a:p>
            </p:txBody>
          </p:sp>
        </p:grpSp>
        <p:grpSp>
          <p:nvGrpSpPr>
            <p:cNvPr id="28684" name="Grup 543">
              <a:extLst>
                <a:ext uri="{FF2B5EF4-FFF2-40B4-BE49-F238E27FC236}">
                  <a16:creationId xmlns:a16="http://schemas.microsoft.com/office/drawing/2014/main" id="{0D550933-C339-08FA-6495-38D3846F7DCF}"/>
                </a:ext>
              </a:extLst>
            </p:cNvPr>
            <p:cNvGrpSpPr>
              <a:grpSpLocks/>
            </p:cNvGrpSpPr>
            <p:nvPr/>
          </p:nvGrpSpPr>
          <p:grpSpPr bwMode="auto">
            <a:xfrm>
              <a:off x="8568570" y="1945598"/>
              <a:ext cx="748096" cy="1859397"/>
              <a:chOff x="6465440" y="861337"/>
              <a:chExt cx="1211263" cy="2460625"/>
            </a:xfrm>
          </p:grpSpPr>
          <p:sp>
            <p:nvSpPr>
              <p:cNvPr id="28853" name="Rectangle 167">
                <a:extLst>
                  <a:ext uri="{FF2B5EF4-FFF2-40B4-BE49-F238E27FC236}">
                    <a16:creationId xmlns:a16="http://schemas.microsoft.com/office/drawing/2014/main" id="{34FFB758-C1A8-38B5-4219-3FD1D210A967}"/>
                  </a:ext>
                </a:extLst>
              </p:cNvPr>
              <p:cNvSpPr>
                <a:spLocks noChangeArrowheads="1"/>
              </p:cNvSpPr>
              <p:nvPr/>
            </p:nvSpPr>
            <p:spPr bwMode="auto">
              <a:xfrm>
                <a:off x="6505127" y="1368707"/>
                <a:ext cx="1108075" cy="1933575"/>
              </a:xfrm>
              <a:prstGeom prst="rect">
                <a:avLst/>
              </a:prstGeom>
              <a:solidFill>
                <a:srgbClr val="9FAAB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54" name="Rectangle 168">
                <a:extLst>
                  <a:ext uri="{FF2B5EF4-FFF2-40B4-BE49-F238E27FC236}">
                    <a16:creationId xmlns:a16="http://schemas.microsoft.com/office/drawing/2014/main" id="{0DF7715F-FB45-243E-DACF-A22D85E880A6}"/>
                  </a:ext>
                </a:extLst>
              </p:cNvPr>
              <p:cNvSpPr>
                <a:spLocks noChangeArrowheads="1"/>
              </p:cNvSpPr>
              <p:nvPr/>
            </p:nvSpPr>
            <p:spPr bwMode="auto">
              <a:xfrm>
                <a:off x="7424290" y="1521737"/>
                <a:ext cx="98425" cy="16986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55" name="Freeform 169">
                <a:extLst>
                  <a:ext uri="{FF2B5EF4-FFF2-40B4-BE49-F238E27FC236}">
                    <a16:creationId xmlns:a16="http://schemas.microsoft.com/office/drawing/2014/main" id="{E328AD26-1A4E-DFCD-9E98-4FFA24C70CD2}"/>
                  </a:ext>
                </a:extLst>
              </p:cNvPr>
              <p:cNvSpPr>
                <a:spLocks/>
              </p:cNvSpPr>
              <p:nvPr/>
            </p:nvSpPr>
            <p:spPr bwMode="auto">
              <a:xfrm>
                <a:off x="7424290" y="1521737"/>
                <a:ext cx="98425" cy="169863"/>
              </a:xfrm>
              <a:custGeom>
                <a:avLst/>
                <a:gdLst>
                  <a:gd name="T0" fmla="*/ 0 w 62"/>
                  <a:gd name="T1" fmla="*/ 2147483646 h 107"/>
                  <a:gd name="T2" fmla="*/ 2147483646 w 62"/>
                  <a:gd name="T3" fmla="*/ 2147483646 h 107"/>
                  <a:gd name="T4" fmla="*/ 0 w 62"/>
                  <a:gd name="T5" fmla="*/ 0 h 107"/>
                  <a:gd name="T6" fmla="*/ 0 w 62"/>
                  <a:gd name="T7" fmla="*/ 2147483646 h 10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2" h="107">
                    <a:moveTo>
                      <a:pt x="0" y="107"/>
                    </a:moveTo>
                    <a:lnTo>
                      <a:pt x="62" y="107"/>
                    </a:lnTo>
                    <a:lnTo>
                      <a:pt x="0" y="0"/>
                    </a:lnTo>
                    <a:lnTo>
                      <a:pt x="0" y="10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56" name="Rectangle 170">
                <a:extLst>
                  <a:ext uri="{FF2B5EF4-FFF2-40B4-BE49-F238E27FC236}">
                    <a16:creationId xmlns:a16="http://schemas.microsoft.com/office/drawing/2014/main" id="{7830AF55-5FB5-7D4C-0EB9-16805870CF5B}"/>
                  </a:ext>
                </a:extLst>
              </p:cNvPr>
              <p:cNvSpPr>
                <a:spLocks noChangeArrowheads="1"/>
              </p:cNvSpPr>
              <p:nvPr/>
            </p:nvSpPr>
            <p:spPr bwMode="auto">
              <a:xfrm>
                <a:off x="7144890" y="1521737"/>
                <a:ext cx="103188" cy="16986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57" name="Freeform 171">
                <a:extLst>
                  <a:ext uri="{FF2B5EF4-FFF2-40B4-BE49-F238E27FC236}">
                    <a16:creationId xmlns:a16="http://schemas.microsoft.com/office/drawing/2014/main" id="{ED82A68A-3C8F-9E5F-3F24-2BA6456EE8CD}"/>
                  </a:ext>
                </a:extLst>
              </p:cNvPr>
              <p:cNvSpPr>
                <a:spLocks/>
              </p:cNvSpPr>
              <p:nvPr/>
            </p:nvSpPr>
            <p:spPr bwMode="auto">
              <a:xfrm>
                <a:off x="7144890" y="1521737"/>
                <a:ext cx="103188" cy="169863"/>
              </a:xfrm>
              <a:custGeom>
                <a:avLst/>
                <a:gdLst>
                  <a:gd name="T0" fmla="*/ 0 w 65"/>
                  <a:gd name="T1" fmla="*/ 2147483646 h 107"/>
                  <a:gd name="T2" fmla="*/ 2147483646 w 65"/>
                  <a:gd name="T3" fmla="*/ 2147483646 h 107"/>
                  <a:gd name="T4" fmla="*/ 0 w 65"/>
                  <a:gd name="T5" fmla="*/ 0 h 107"/>
                  <a:gd name="T6" fmla="*/ 0 w 65"/>
                  <a:gd name="T7" fmla="*/ 2147483646 h 10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5" h="107">
                    <a:moveTo>
                      <a:pt x="0" y="107"/>
                    </a:moveTo>
                    <a:lnTo>
                      <a:pt x="65" y="107"/>
                    </a:lnTo>
                    <a:lnTo>
                      <a:pt x="0" y="0"/>
                    </a:lnTo>
                    <a:lnTo>
                      <a:pt x="0" y="10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58" name="Rectangle 172">
                <a:extLst>
                  <a:ext uri="{FF2B5EF4-FFF2-40B4-BE49-F238E27FC236}">
                    <a16:creationId xmlns:a16="http://schemas.microsoft.com/office/drawing/2014/main" id="{B8543FCC-4AC3-D802-F187-F23B4710A2F0}"/>
                  </a:ext>
                </a:extLst>
              </p:cNvPr>
              <p:cNvSpPr>
                <a:spLocks noChangeArrowheads="1"/>
              </p:cNvSpPr>
              <p:nvPr/>
            </p:nvSpPr>
            <p:spPr bwMode="auto">
              <a:xfrm>
                <a:off x="6870252" y="1521737"/>
                <a:ext cx="98425" cy="16986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59" name="Freeform 173">
                <a:extLst>
                  <a:ext uri="{FF2B5EF4-FFF2-40B4-BE49-F238E27FC236}">
                    <a16:creationId xmlns:a16="http://schemas.microsoft.com/office/drawing/2014/main" id="{A696FEEF-F53B-3564-0ACC-540DF1876ACF}"/>
                  </a:ext>
                </a:extLst>
              </p:cNvPr>
              <p:cNvSpPr>
                <a:spLocks/>
              </p:cNvSpPr>
              <p:nvPr/>
            </p:nvSpPr>
            <p:spPr bwMode="auto">
              <a:xfrm>
                <a:off x="6870252" y="1521737"/>
                <a:ext cx="98425" cy="169863"/>
              </a:xfrm>
              <a:custGeom>
                <a:avLst/>
                <a:gdLst>
                  <a:gd name="T0" fmla="*/ 0 w 62"/>
                  <a:gd name="T1" fmla="*/ 2147483646 h 107"/>
                  <a:gd name="T2" fmla="*/ 2147483646 w 62"/>
                  <a:gd name="T3" fmla="*/ 2147483646 h 107"/>
                  <a:gd name="T4" fmla="*/ 0 w 62"/>
                  <a:gd name="T5" fmla="*/ 0 h 107"/>
                  <a:gd name="T6" fmla="*/ 0 w 62"/>
                  <a:gd name="T7" fmla="*/ 2147483646 h 10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2" h="107">
                    <a:moveTo>
                      <a:pt x="0" y="107"/>
                    </a:moveTo>
                    <a:lnTo>
                      <a:pt x="62" y="107"/>
                    </a:lnTo>
                    <a:lnTo>
                      <a:pt x="0" y="0"/>
                    </a:lnTo>
                    <a:lnTo>
                      <a:pt x="0" y="10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60" name="Rectangle 174">
                <a:extLst>
                  <a:ext uri="{FF2B5EF4-FFF2-40B4-BE49-F238E27FC236}">
                    <a16:creationId xmlns:a16="http://schemas.microsoft.com/office/drawing/2014/main" id="{95573F0A-CD83-6441-9276-916061372972}"/>
                  </a:ext>
                </a:extLst>
              </p:cNvPr>
              <p:cNvSpPr>
                <a:spLocks noChangeArrowheads="1"/>
              </p:cNvSpPr>
              <p:nvPr/>
            </p:nvSpPr>
            <p:spPr bwMode="auto">
              <a:xfrm>
                <a:off x="6595615" y="1521737"/>
                <a:ext cx="98425" cy="16986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61" name="Freeform 175">
                <a:extLst>
                  <a:ext uri="{FF2B5EF4-FFF2-40B4-BE49-F238E27FC236}">
                    <a16:creationId xmlns:a16="http://schemas.microsoft.com/office/drawing/2014/main" id="{3E4F36D5-5668-C186-EAAE-E3D73451A6E0}"/>
                  </a:ext>
                </a:extLst>
              </p:cNvPr>
              <p:cNvSpPr>
                <a:spLocks/>
              </p:cNvSpPr>
              <p:nvPr/>
            </p:nvSpPr>
            <p:spPr bwMode="auto">
              <a:xfrm>
                <a:off x="6595615" y="1521737"/>
                <a:ext cx="98425" cy="169863"/>
              </a:xfrm>
              <a:custGeom>
                <a:avLst/>
                <a:gdLst>
                  <a:gd name="T0" fmla="*/ 0 w 62"/>
                  <a:gd name="T1" fmla="*/ 2147483646 h 107"/>
                  <a:gd name="T2" fmla="*/ 2147483646 w 62"/>
                  <a:gd name="T3" fmla="*/ 2147483646 h 107"/>
                  <a:gd name="T4" fmla="*/ 0 w 62"/>
                  <a:gd name="T5" fmla="*/ 0 h 107"/>
                  <a:gd name="T6" fmla="*/ 0 w 62"/>
                  <a:gd name="T7" fmla="*/ 2147483646 h 10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2" h="107">
                    <a:moveTo>
                      <a:pt x="0" y="107"/>
                    </a:moveTo>
                    <a:lnTo>
                      <a:pt x="62" y="107"/>
                    </a:lnTo>
                    <a:lnTo>
                      <a:pt x="0" y="0"/>
                    </a:lnTo>
                    <a:lnTo>
                      <a:pt x="0" y="10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62" name="Rectangle 176">
                <a:extLst>
                  <a:ext uri="{FF2B5EF4-FFF2-40B4-BE49-F238E27FC236}">
                    <a16:creationId xmlns:a16="http://schemas.microsoft.com/office/drawing/2014/main" id="{491F0D10-64C7-4DDD-A302-CBD256457DB6}"/>
                  </a:ext>
                </a:extLst>
              </p:cNvPr>
              <p:cNvSpPr>
                <a:spLocks noChangeArrowheads="1"/>
              </p:cNvSpPr>
              <p:nvPr/>
            </p:nvSpPr>
            <p:spPr bwMode="auto">
              <a:xfrm>
                <a:off x="7424290" y="1778912"/>
                <a:ext cx="98425" cy="16510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63" name="Freeform 177">
                <a:extLst>
                  <a:ext uri="{FF2B5EF4-FFF2-40B4-BE49-F238E27FC236}">
                    <a16:creationId xmlns:a16="http://schemas.microsoft.com/office/drawing/2014/main" id="{741016A3-EA10-839A-0602-E88E358823EC}"/>
                  </a:ext>
                </a:extLst>
              </p:cNvPr>
              <p:cNvSpPr>
                <a:spLocks/>
              </p:cNvSpPr>
              <p:nvPr/>
            </p:nvSpPr>
            <p:spPr bwMode="auto">
              <a:xfrm>
                <a:off x="7424290" y="1778912"/>
                <a:ext cx="98425" cy="165100"/>
              </a:xfrm>
              <a:custGeom>
                <a:avLst/>
                <a:gdLst>
                  <a:gd name="T0" fmla="*/ 0 w 62"/>
                  <a:gd name="T1" fmla="*/ 2147483646 h 104"/>
                  <a:gd name="T2" fmla="*/ 2147483646 w 62"/>
                  <a:gd name="T3" fmla="*/ 2147483646 h 104"/>
                  <a:gd name="T4" fmla="*/ 0 w 62"/>
                  <a:gd name="T5" fmla="*/ 0 h 104"/>
                  <a:gd name="T6" fmla="*/ 0 w 62"/>
                  <a:gd name="T7" fmla="*/ 2147483646 h 10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2" h="104">
                    <a:moveTo>
                      <a:pt x="0" y="104"/>
                    </a:moveTo>
                    <a:lnTo>
                      <a:pt x="62" y="104"/>
                    </a:lnTo>
                    <a:lnTo>
                      <a:pt x="0" y="0"/>
                    </a:lnTo>
                    <a:lnTo>
                      <a:pt x="0" y="104"/>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64" name="Rectangle 178">
                <a:extLst>
                  <a:ext uri="{FF2B5EF4-FFF2-40B4-BE49-F238E27FC236}">
                    <a16:creationId xmlns:a16="http://schemas.microsoft.com/office/drawing/2014/main" id="{0DFF4E5F-8431-3ECF-19E2-27489CB4642C}"/>
                  </a:ext>
                </a:extLst>
              </p:cNvPr>
              <p:cNvSpPr>
                <a:spLocks noChangeArrowheads="1"/>
              </p:cNvSpPr>
              <p:nvPr/>
            </p:nvSpPr>
            <p:spPr bwMode="auto">
              <a:xfrm>
                <a:off x="7144890" y="1778912"/>
                <a:ext cx="103188" cy="16510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65" name="Freeform 179">
                <a:extLst>
                  <a:ext uri="{FF2B5EF4-FFF2-40B4-BE49-F238E27FC236}">
                    <a16:creationId xmlns:a16="http://schemas.microsoft.com/office/drawing/2014/main" id="{89EFBDCB-A013-8950-7EC9-B42E06C1579A}"/>
                  </a:ext>
                </a:extLst>
              </p:cNvPr>
              <p:cNvSpPr>
                <a:spLocks/>
              </p:cNvSpPr>
              <p:nvPr/>
            </p:nvSpPr>
            <p:spPr bwMode="auto">
              <a:xfrm>
                <a:off x="7144890" y="1778912"/>
                <a:ext cx="103188" cy="165100"/>
              </a:xfrm>
              <a:custGeom>
                <a:avLst/>
                <a:gdLst>
                  <a:gd name="T0" fmla="*/ 0 w 65"/>
                  <a:gd name="T1" fmla="*/ 2147483646 h 104"/>
                  <a:gd name="T2" fmla="*/ 2147483646 w 65"/>
                  <a:gd name="T3" fmla="*/ 2147483646 h 104"/>
                  <a:gd name="T4" fmla="*/ 0 w 65"/>
                  <a:gd name="T5" fmla="*/ 0 h 104"/>
                  <a:gd name="T6" fmla="*/ 0 w 65"/>
                  <a:gd name="T7" fmla="*/ 2147483646 h 10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5" h="104">
                    <a:moveTo>
                      <a:pt x="0" y="104"/>
                    </a:moveTo>
                    <a:lnTo>
                      <a:pt x="65" y="104"/>
                    </a:lnTo>
                    <a:lnTo>
                      <a:pt x="0" y="0"/>
                    </a:lnTo>
                    <a:lnTo>
                      <a:pt x="0" y="104"/>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66" name="Rectangle 180">
                <a:extLst>
                  <a:ext uri="{FF2B5EF4-FFF2-40B4-BE49-F238E27FC236}">
                    <a16:creationId xmlns:a16="http://schemas.microsoft.com/office/drawing/2014/main" id="{02EF5572-6C6F-C206-78EA-805CE2CD073A}"/>
                  </a:ext>
                </a:extLst>
              </p:cNvPr>
              <p:cNvSpPr>
                <a:spLocks noChangeArrowheads="1"/>
              </p:cNvSpPr>
              <p:nvPr/>
            </p:nvSpPr>
            <p:spPr bwMode="auto">
              <a:xfrm>
                <a:off x="6870252" y="1778912"/>
                <a:ext cx="98425" cy="16510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67" name="Freeform 181">
                <a:extLst>
                  <a:ext uri="{FF2B5EF4-FFF2-40B4-BE49-F238E27FC236}">
                    <a16:creationId xmlns:a16="http://schemas.microsoft.com/office/drawing/2014/main" id="{53B134B5-D988-DCCA-A65C-37922348FA7B}"/>
                  </a:ext>
                </a:extLst>
              </p:cNvPr>
              <p:cNvSpPr>
                <a:spLocks/>
              </p:cNvSpPr>
              <p:nvPr/>
            </p:nvSpPr>
            <p:spPr bwMode="auto">
              <a:xfrm>
                <a:off x="6870252" y="1778912"/>
                <a:ext cx="98425" cy="165100"/>
              </a:xfrm>
              <a:custGeom>
                <a:avLst/>
                <a:gdLst>
                  <a:gd name="T0" fmla="*/ 0 w 62"/>
                  <a:gd name="T1" fmla="*/ 2147483646 h 104"/>
                  <a:gd name="T2" fmla="*/ 2147483646 w 62"/>
                  <a:gd name="T3" fmla="*/ 2147483646 h 104"/>
                  <a:gd name="T4" fmla="*/ 0 w 62"/>
                  <a:gd name="T5" fmla="*/ 0 h 104"/>
                  <a:gd name="T6" fmla="*/ 0 w 62"/>
                  <a:gd name="T7" fmla="*/ 2147483646 h 10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2" h="104">
                    <a:moveTo>
                      <a:pt x="0" y="104"/>
                    </a:moveTo>
                    <a:lnTo>
                      <a:pt x="62" y="104"/>
                    </a:lnTo>
                    <a:lnTo>
                      <a:pt x="0" y="0"/>
                    </a:lnTo>
                    <a:lnTo>
                      <a:pt x="0" y="104"/>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68" name="Rectangle 182">
                <a:extLst>
                  <a:ext uri="{FF2B5EF4-FFF2-40B4-BE49-F238E27FC236}">
                    <a16:creationId xmlns:a16="http://schemas.microsoft.com/office/drawing/2014/main" id="{6DFCF6BE-519F-4F8D-BC5C-C07F55D6762F}"/>
                  </a:ext>
                </a:extLst>
              </p:cNvPr>
              <p:cNvSpPr>
                <a:spLocks noChangeArrowheads="1"/>
              </p:cNvSpPr>
              <p:nvPr/>
            </p:nvSpPr>
            <p:spPr bwMode="auto">
              <a:xfrm>
                <a:off x="6595615" y="1778912"/>
                <a:ext cx="98425" cy="16510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69" name="Freeform 183">
                <a:extLst>
                  <a:ext uri="{FF2B5EF4-FFF2-40B4-BE49-F238E27FC236}">
                    <a16:creationId xmlns:a16="http://schemas.microsoft.com/office/drawing/2014/main" id="{9948E29A-9B74-1C54-758C-1F246E3EAC44}"/>
                  </a:ext>
                </a:extLst>
              </p:cNvPr>
              <p:cNvSpPr>
                <a:spLocks/>
              </p:cNvSpPr>
              <p:nvPr/>
            </p:nvSpPr>
            <p:spPr bwMode="auto">
              <a:xfrm>
                <a:off x="6595615" y="1778912"/>
                <a:ext cx="98425" cy="165100"/>
              </a:xfrm>
              <a:custGeom>
                <a:avLst/>
                <a:gdLst>
                  <a:gd name="T0" fmla="*/ 0 w 62"/>
                  <a:gd name="T1" fmla="*/ 2147483646 h 104"/>
                  <a:gd name="T2" fmla="*/ 2147483646 w 62"/>
                  <a:gd name="T3" fmla="*/ 2147483646 h 104"/>
                  <a:gd name="T4" fmla="*/ 0 w 62"/>
                  <a:gd name="T5" fmla="*/ 0 h 104"/>
                  <a:gd name="T6" fmla="*/ 0 w 62"/>
                  <a:gd name="T7" fmla="*/ 2147483646 h 10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2" h="104">
                    <a:moveTo>
                      <a:pt x="0" y="104"/>
                    </a:moveTo>
                    <a:lnTo>
                      <a:pt x="62" y="104"/>
                    </a:lnTo>
                    <a:lnTo>
                      <a:pt x="0" y="0"/>
                    </a:lnTo>
                    <a:lnTo>
                      <a:pt x="0" y="104"/>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70" name="Rectangle 184">
                <a:extLst>
                  <a:ext uri="{FF2B5EF4-FFF2-40B4-BE49-F238E27FC236}">
                    <a16:creationId xmlns:a16="http://schemas.microsoft.com/office/drawing/2014/main" id="{6B50A522-E2D3-C168-6CB9-1F5A505C171E}"/>
                  </a:ext>
                </a:extLst>
              </p:cNvPr>
              <p:cNvSpPr>
                <a:spLocks noChangeArrowheads="1"/>
              </p:cNvSpPr>
              <p:nvPr/>
            </p:nvSpPr>
            <p:spPr bwMode="auto">
              <a:xfrm>
                <a:off x="7424290" y="2029737"/>
                <a:ext cx="98425" cy="16986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71" name="Freeform 185">
                <a:extLst>
                  <a:ext uri="{FF2B5EF4-FFF2-40B4-BE49-F238E27FC236}">
                    <a16:creationId xmlns:a16="http://schemas.microsoft.com/office/drawing/2014/main" id="{BC911D04-D522-CCE3-EB11-3DB0CCEA1712}"/>
                  </a:ext>
                </a:extLst>
              </p:cNvPr>
              <p:cNvSpPr>
                <a:spLocks/>
              </p:cNvSpPr>
              <p:nvPr/>
            </p:nvSpPr>
            <p:spPr bwMode="auto">
              <a:xfrm>
                <a:off x="7424290" y="2029737"/>
                <a:ext cx="98425" cy="169863"/>
              </a:xfrm>
              <a:custGeom>
                <a:avLst/>
                <a:gdLst>
                  <a:gd name="T0" fmla="*/ 0 w 62"/>
                  <a:gd name="T1" fmla="*/ 2147483646 h 107"/>
                  <a:gd name="T2" fmla="*/ 2147483646 w 62"/>
                  <a:gd name="T3" fmla="*/ 2147483646 h 107"/>
                  <a:gd name="T4" fmla="*/ 0 w 62"/>
                  <a:gd name="T5" fmla="*/ 0 h 107"/>
                  <a:gd name="T6" fmla="*/ 0 w 62"/>
                  <a:gd name="T7" fmla="*/ 2147483646 h 10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2" h="107">
                    <a:moveTo>
                      <a:pt x="0" y="107"/>
                    </a:moveTo>
                    <a:lnTo>
                      <a:pt x="62" y="107"/>
                    </a:lnTo>
                    <a:lnTo>
                      <a:pt x="0" y="0"/>
                    </a:lnTo>
                    <a:lnTo>
                      <a:pt x="0" y="10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72" name="Rectangle 186">
                <a:extLst>
                  <a:ext uri="{FF2B5EF4-FFF2-40B4-BE49-F238E27FC236}">
                    <a16:creationId xmlns:a16="http://schemas.microsoft.com/office/drawing/2014/main" id="{7173382E-D750-BD8D-DA6B-A43DE9DC1360}"/>
                  </a:ext>
                </a:extLst>
              </p:cNvPr>
              <p:cNvSpPr>
                <a:spLocks noChangeArrowheads="1"/>
              </p:cNvSpPr>
              <p:nvPr/>
            </p:nvSpPr>
            <p:spPr bwMode="auto">
              <a:xfrm>
                <a:off x="7144890" y="2029737"/>
                <a:ext cx="103188" cy="16986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73" name="Freeform 187">
                <a:extLst>
                  <a:ext uri="{FF2B5EF4-FFF2-40B4-BE49-F238E27FC236}">
                    <a16:creationId xmlns:a16="http://schemas.microsoft.com/office/drawing/2014/main" id="{E1B2F171-55A8-5D92-3AE7-9F1B67FF077D}"/>
                  </a:ext>
                </a:extLst>
              </p:cNvPr>
              <p:cNvSpPr>
                <a:spLocks/>
              </p:cNvSpPr>
              <p:nvPr/>
            </p:nvSpPr>
            <p:spPr bwMode="auto">
              <a:xfrm>
                <a:off x="7144890" y="2029737"/>
                <a:ext cx="103188" cy="169863"/>
              </a:xfrm>
              <a:custGeom>
                <a:avLst/>
                <a:gdLst>
                  <a:gd name="T0" fmla="*/ 0 w 65"/>
                  <a:gd name="T1" fmla="*/ 2147483646 h 107"/>
                  <a:gd name="T2" fmla="*/ 2147483646 w 65"/>
                  <a:gd name="T3" fmla="*/ 2147483646 h 107"/>
                  <a:gd name="T4" fmla="*/ 0 w 65"/>
                  <a:gd name="T5" fmla="*/ 0 h 107"/>
                  <a:gd name="T6" fmla="*/ 0 w 65"/>
                  <a:gd name="T7" fmla="*/ 2147483646 h 10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5" h="107">
                    <a:moveTo>
                      <a:pt x="0" y="107"/>
                    </a:moveTo>
                    <a:lnTo>
                      <a:pt x="65" y="107"/>
                    </a:lnTo>
                    <a:lnTo>
                      <a:pt x="0" y="0"/>
                    </a:lnTo>
                    <a:lnTo>
                      <a:pt x="0" y="10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74" name="Rectangle 188">
                <a:extLst>
                  <a:ext uri="{FF2B5EF4-FFF2-40B4-BE49-F238E27FC236}">
                    <a16:creationId xmlns:a16="http://schemas.microsoft.com/office/drawing/2014/main" id="{F1550FA7-893C-6D1B-16F4-CB64856E8078}"/>
                  </a:ext>
                </a:extLst>
              </p:cNvPr>
              <p:cNvSpPr>
                <a:spLocks noChangeArrowheads="1"/>
              </p:cNvSpPr>
              <p:nvPr/>
            </p:nvSpPr>
            <p:spPr bwMode="auto">
              <a:xfrm>
                <a:off x="6870252" y="2029737"/>
                <a:ext cx="98425" cy="16986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75" name="Freeform 189">
                <a:extLst>
                  <a:ext uri="{FF2B5EF4-FFF2-40B4-BE49-F238E27FC236}">
                    <a16:creationId xmlns:a16="http://schemas.microsoft.com/office/drawing/2014/main" id="{C18F453C-408A-7218-1A23-BB32002F8A2B}"/>
                  </a:ext>
                </a:extLst>
              </p:cNvPr>
              <p:cNvSpPr>
                <a:spLocks/>
              </p:cNvSpPr>
              <p:nvPr/>
            </p:nvSpPr>
            <p:spPr bwMode="auto">
              <a:xfrm>
                <a:off x="6870252" y="2029737"/>
                <a:ext cx="98425" cy="169863"/>
              </a:xfrm>
              <a:custGeom>
                <a:avLst/>
                <a:gdLst>
                  <a:gd name="T0" fmla="*/ 0 w 62"/>
                  <a:gd name="T1" fmla="*/ 2147483646 h 107"/>
                  <a:gd name="T2" fmla="*/ 2147483646 w 62"/>
                  <a:gd name="T3" fmla="*/ 2147483646 h 107"/>
                  <a:gd name="T4" fmla="*/ 0 w 62"/>
                  <a:gd name="T5" fmla="*/ 0 h 107"/>
                  <a:gd name="T6" fmla="*/ 0 w 62"/>
                  <a:gd name="T7" fmla="*/ 2147483646 h 10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2" h="107">
                    <a:moveTo>
                      <a:pt x="0" y="107"/>
                    </a:moveTo>
                    <a:lnTo>
                      <a:pt x="62" y="107"/>
                    </a:lnTo>
                    <a:lnTo>
                      <a:pt x="0" y="0"/>
                    </a:lnTo>
                    <a:lnTo>
                      <a:pt x="0" y="10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76" name="Rectangle 190">
                <a:extLst>
                  <a:ext uri="{FF2B5EF4-FFF2-40B4-BE49-F238E27FC236}">
                    <a16:creationId xmlns:a16="http://schemas.microsoft.com/office/drawing/2014/main" id="{1A310566-0F91-2B3A-F48B-BEE66F40AE10}"/>
                  </a:ext>
                </a:extLst>
              </p:cNvPr>
              <p:cNvSpPr>
                <a:spLocks noChangeArrowheads="1"/>
              </p:cNvSpPr>
              <p:nvPr/>
            </p:nvSpPr>
            <p:spPr bwMode="auto">
              <a:xfrm>
                <a:off x="6595615" y="2029737"/>
                <a:ext cx="98425" cy="16986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77" name="Freeform 191">
                <a:extLst>
                  <a:ext uri="{FF2B5EF4-FFF2-40B4-BE49-F238E27FC236}">
                    <a16:creationId xmlns:a16="http://schemas.microsoft.com/office/drawing/2014/main" id="{FB1006F1-9779-21F0-D69A-4BE0CDF23CF3}"/>
                  </a:ext>
                </a:extLst>
              </p:cNvPr>
              <p:cNvSpPr>
                <a:spLocks/>
              </p:cNvSpPr>
              <p:nvPr/>
            </p:nvSpPr>
            <p:spPr bwMode="auto">
              <a:xfrm>
                <a:off x="6595615" y="2029737"/>
                <a:ext cx="98425" cy="169863"/>
              </a:xfrm>
              <a:custGeom>
                <a:avLst/>
                <a:gdLst>
                  <a:gd name="T0" fmla="*/ 0 w 62"/>
                  <a:gd name="T1" fmla="*/ 2147483646 h 107"/>
                  <a:gd name="T2" fmla="*/ 2147483646 w 62"/>
                  <a:gd name="T3" fmla="*/ 2147483646 h 107"/>
                  <a:gd name="T4" fmla="*/ 0 w 62"/>
                  <a:gd name="T5" fmla="*/ 0 h 107"/>
                  <a:gd name="T6" fmla="*/ 0 w 62"/>
                  <a:gd name="T7" fmla="*/ 2147483646 h 10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2" h="107">
                    <a:moveTo>
                      <a:pt x="0" y="107"/>
                    </a:moveTo>
                    <a:lnTo>
                      <a:pt x="62" y="107"/>
                    </a:lnTo>
                    <a:lnTo>
                      <a:pt x="0" y="0"/>
                    </a:lnTo>
                    <a:lnTo>
                      <a:pt x="0" y="10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78" name="Rectangle 192">
                <a:extLst>
                  <a:ext uri="{FF2B5EF4-FFF2-40B4-BE49-F238E27FC236}">
                    <a16:creationId xmlns:a16="http://schemas.microsoft.com/office/drawing/2014/main" id="{75D2D32E-4491-8FFE-9DF2-407779F4D407}"/>
                  </a:ext>
                </a:extLst>
              </p:cNvPr>
              <p:cNvSpPr>
                <a:spLocks noChangeArrowheads="1"/>
              </p:cNvSpPr>
              <p:nvPr/>
            </p:nvSpPr>
            <p:spPr bwMode="auto">
              <a:xfrm>
                <a:off x="7424290" y="2285324"/>
                <a:ext cx="98425" cy="166688"/>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79" name="Freeform 193">
                <a:extLst>
                  <a:ext uri="{FF2B5EF4-FFF2-40B4-BE49-F238E27FC236}">
                    <a16:creationId xmlns:a16="http://schemas.microsoft.com/office/drawing/2014/main" id="{A265EF14-8C48-915E-2C72-2221DC5402F1}"/>
                  </a:ext>
                </a:extLst>
              </p:cNvPr>
              <p:cNvSpPr>
                <a:spLocks/>
              </p:cNvSpPr>
              <p:nvPr/>
            </p:nvSpPr>
            <p:spPr bwMode="auto">
              <a:xfrm>
                <a:off x="7424290" y="2285324"/>
                <a:ext cx="98425" cy="166688"/>
              </a:xfrm>
              <a:custGeom>
                <a:avLst/>
                <a:gdLst>
                  <a:gd name="T0" fmla="*/ 0 w 62"/>
                  <a:gd name="T1" fmla="*/ 2147483646 h 105"/>
                  <a:gd name="T2" fmla="*/ 2147483646 w 62"/>
                  <a:gd name="T3" fmla="*/ 2147483646 h 105"/>
                  <a:gd name="T4" fmla="*/ 0 w 62"/>
                  <a:gd name="T5" fmla="*/ 0 h 105"/>
                  <a:gd name="T6" fmla="*/ 0 w 62"/>
                  <a:gd name="T7" fmla="*/ 2147483646 h 10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2" h="105">
                    <a:moveTo>
                      <a:pt x="0" y="105"/>
                    </a:moveTo>
                    <a:lnTo>
                      <a:pt x="62" y="105"/>
                    </a:lnTo>
                    <a:lnTo>
                      <a:pt x="0" y="0"/>
                    </a:lnTo>
                    <a:lnTo>
                      <a:pt x="0" y="105"/>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80" name="Rectangle 194">
                <a:extLst>
                  <a:ext uri="{FF2B5EF4-FFF2-40B4-BE49-F238E27FC236}">
                    <a16:creationId xmlns:a16="http://schemas.microsoft.com/office/drawing/2014/main" id="{E6E90E25-6C9B-2672-FD92-217195482DE0}"/>
                  </a:ext>
                </a:extLst>
              </p:cNvPr>
              <p:cNvSpPr>
                <a:spLocks noChangeArrowheads="1"/>
              </p:cNvSpPr>
              <p:nvPr/>
            </p:nvSpPr>
            <p:spPr bwMode="auto">
              <a:xfrm>
                <a:off x="7144890" y="2285324"/>
                <a:ext cx="103188" cy="166688"/>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81" name="Freeform 195">
                <a:extLst>
                  <a:ext uri="{FF2B5EF4-FFF2-40B4-BE49-F238E27FC236}">
                    <a16:creationId xmlns:a16="http://schemas.microsoft.com/office/drawing/2014/main" id="{CAE16274-28E2-3769-369A-988766B75CE4}"/>
                  </a:ext>
                </a:extLst>
              </p:cNvPr>
              <p:cNvSpPr>
                <a:spLocks/>
              </p:cNvSpPr>
              <p:nvPr/>
            </p:nvSpPr>
            <p:spPr bwMode="auto">
              <a:xfrm>
                <a:off x="7144890" y="2285324"/>
                <a:ext cx="103188" cy="166688"/>
              </a:xfrm>
              <a:custGeom>
                <a:avLst/>
                <a:gdLst>
                  <a:gd name="T0" fmla="*/ 0 w 65"/>
                  <a:gd name="T1" fmla="*/ 2147483646 h 105"/>
                  <a:gd name="T2" fmla="*/ 2147483646 w 65"/>
                  <a:gd name="T3" fmla="*/ 2147483646 h 105"/>
                  <a:gd name="T4" fmla="*/ 0 w 65"/>
                  <a:gd name="T5" fmla="*/ 0 h 105"/>
                  <a:gd name="T6" fmla="*/ 0 w 65"/>
                  <a:gd name="T7" fmla="*/ 2147483646 h 10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5" h="105">
                    <a:moveTo>
                      <a:pt x="0" y="105"/>
                    </a:moveTo>
                    <a:lnTo>
                      <a:pt x="65" y="105"/>
                    </a:lnTo>
                    <a:lnTo>
                      <a:pt x="0" y="0"/>
                    </a:lnTo>
                    <a:lnTo>
                      <a:pt x="0" y="105"/>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82" name="Rectangle 196">
                <a:extLst>
                  <a:ext uri="{FF2B5EF4-FFF2-40B4-BE49-F238E27FC236}">
                    <a16:creationId xmlns:a16="http://schemas.microsoft.com/office/drawing/2014/main" id="{844E58A6-FCF9-023C-1207-89FA4328C888}"/>
                  </a:ext>
                </a:extLst>
              </p:cNvPr>
              <p:cNvSpPr>
                <a:spLocks noChangeArrowheads="1"/>
              </p:cNvSpPr>
              <p:nvPr/>
            </p:nvSpPr>
            <p:spPr bwMode="auto">
              <a:xfrm>
                <a:off x="6870252" y="2285324"/>
                <a:ext cx="98425" cy="166688"/>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83" name="Freeform 197">
                <a:extLst>
                  <a:ext uri="{FF2B5EF4-FFF2-40B4-BE49-F238E27FC236}">
                    <a16:creationId xmlns:a16="http://schemas.microsoft.com/office/drawing/2014/main" id="{4626A84A-B1E1-EC20-EBDF-D542C67D124C}"/>
                  </a:ext>
                </a:extLst>
              </p:cNvPr>
              <p:cNvSpPr>
                <a:spLocks/>
              </p:cNvSpPr>
              <p:nvPr/>
            </p:nvSpPr>
            <p:spPr bwMode="auto">
              <a:xfrm>
                <a:off x="6870252" y="2285324"/>
                <a:ext cx="98425" cy="166688"/>
              </a:xfrm>
              <a:custGeom>
                <a:avLst/>
                <a:gdLst>
                  <a:gd name="T0" fmla="*/ 0 w 62"/>
                  <a:gd name="T1" fmla="*/ 2147483646 h 105"/>
                  <a:gd name="T2" fmla="*/ 2147483646 w 62"/>
                  <a:gd name="T3" fmla="*/ 2147483646 h 105"/>
                  <a:gd name="T4" fmla="*/ 0 w 62"/>
                  <a:gd name="T5" fmla="*/ 0 h 105"/>
                  <a:gd name="T6" fmla="*/ 0 w 62"/>
                  <a:gd name="T7" fmla="*/ 2147483646 h 10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2" h="105">
                    <a:moveTo>
                      <a:pt x="0" y="105"/>
                    </a:moveTo>
                    <a:lnTo>
                      <a:pt x="62" y="105"/>
                    </a:lnTo>
                    <a:lnTo>
                      <a:pt x="0" y="0"/>
                    </a:lnTo>
                    <a:lnTo>
                      <a:pt x="0" y="105"/>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84" name="Rectangle 198">
                <a:extLst>
                  <a:ext uri="{FF2B5EF4-FFF2-40B4-BE49-F238E27FC236}">
                    <a16:creationId xmlns:a16="http://schemas.microsoft.com/office/drawing/2014/main" id="{AE805265-4764-6001-BFBE-69EF18361D03}"/>
                  </a:ext>
                </a:extLst>
              </p:cNvPr>
              <p:cNvSpPr>
                <a:spLocks noChangeArrowheads="1"/>
              </p:cNvSpPr>
              <p:nvPr/>
            </p:nvSpPr>
            <p:spPr bwMode="auto">
              <a:xfrm>
                <a:off x="6595615" y="2285324"/>
                <a:ext cx="98425" cy="166688"/>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85" name="Freeform 199">
                <a:extLst>
                  <a:ext uri="{FF2B5EF4-FFF2-40B4-BE49-F238E27FC236}">
                    <a16:creationId xmlns:a16="http://schemas.microsoft.com/office/drawing/2014/main" id="{E766A1D3-5E34-B97B-A783-CF5D339B9175}"/>
                  </a:ext>
                </a:extLst>
              </p:cNvPr>
              <p:cNvSpPr>
                <a:spLocks/>
              </p:cNvSpPr>
              <p:nvPr/>
            </p:nvSpPr>
            <p:spPr bwMode="auto">
              <a:xfrm>
                <a:off x="6595615" y="2285324"/>
                <a:ext cx="98425" cy="166688"/>
              </a:xfrm>
              <a:custGeom>
                <a:avLst/>
                <a:gdLst>
                  <a:gd name="T0" fmla="*/ 0 w 62"/>
                  <a:gd name="T1" fmla="*/ 2147483646 h 105"/>
                  <a:gd name="T2" fmla="*/ 2147483646 w 62"/>
                  <a:gd name="T3" fmla="*/ 2147483646 h 105"/>
                  <a:gd name="T4" fmla="*/ 0 w 62"/>
                  <a:gd name="T5" fmla="*/ 0 h 105"/>
                  <a:gd name="T6" fmla="*/ 0 w 62"/>
                  <a:gd name="T7" fmla="*/ 2147483646 h 10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2" h="105">
                    <a:moveTo>
                      <a:pt x="0" y="105"/>
                    </a:moveTo>
                    <a:lnTo>
                      <a:pt x="62" y="105"/>
                    </a:lnTo>
                    <a:lnTo>
                      <a:pt x="0" y="0"/>
                    </a:lnTo>
                    <a:lnTo>
                      <a:pt x="0" y="105"/>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86" name="Rectangle 200">
                <a:extLst>
                  <a:ext uri="{FF2B5EF4-FFF2-40B4-BE49-F238E27FC236}">
                    <a16:creationId xmlns:a16="http://schemas.microsoft.com/office/drawing/2014/main" id="{CF4447E8-5B4E-F19E-D1EC-AB6C456A9090}"/>
                  </a:ext>
                </a:extLst>
              </p:cNvPr>
              <p:cNvSpPr>
                <a:spLocks noChangeArrowheads="1"/>
              </p:cNvSpPr>
              <p:nvPr/>
            </p:nvSpPr>
            <p:spPr bwMode="auto">
              <a:xfrm>
                <a:off x="7424290" y="2537737"/>
                <a:ext cx="98425" cy="16986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87" name="Freeform 201">
                <a:extLst>
                  <a:ext uri="{FF2B5EF4-FFF2-40B4-BE49-F238E27FC236}">
                    <a16:creationId xmlns:a16="http://schemas.microsoft.com/office/drawing/2014/main" id="{22E94C5B-CE83-5F4C-AED9-D090C4BA63C8}"/>
                  </a:ext>
                </a:extLst>
              </p:cNvPr>
              <p:cNvSpPr>
                <a:spLocks/>
              </p:cNvSpPr>
              <p:nvPr/>
            </p:nvSpPr>
            <p:spPr bwMode="auto">
              <a:xfrm>
                <a:off x="7424290" y="2537737"/>
                <a:ext cx="98425" cy="169863"/>
              </a:xfrm>
              <a:custGeom>
                <a:avLst/>
                <a:gdLst>
                  <a:gd name="T0" fmla="*/ 0 w 62"/>
                  <a:gd name="T1" fmla="*/ 2147483646 h 107"/>
                  <a:gd name="T2" fmla="*/ 2147483646 w 62"/>
                  <a:gd name="T3" fmla="*/ 2147483646 h 107"/>
                  <a:gd name="T4" fmla="*/ 0 w 62"/>
                  <a:gd name="T5" fmla="*/ 0 h 107"/>
                  <a:gd name="T6" fmla="*/ 0 w 62"/>
                  <a:gd name="T7" fmla="*/ 2147483646 h 10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2" h="107">
                    <a:moveTo>
                      <a:pt x="0" y="107"/>
                    </a:moveTo>
                    <a:lnTo>
                      <a:pt x="62" y="107"/>
                    </a:lnTo>
                    <a:lnTo>
                      <a:pt x="0" y="0"/>
                    </a:lnTo>
                    <a:lnTo>
                      <a:pt x="0" y="10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88" name="Rectangle 202">
                <a:extLst>
                  <a:ext uri="{FF2B5EF4-FFF2-40B4-BE49-F238E27FC236}">
                    <a16:creationId xmlns:a16="http://schemas.microsoft.com/office/drawing/2014/main" id="{92636A2C-2D3D-C1EB-BB2D-3A9FFB817298}"/>
                  </a:ext>
                </a:extLst>
              </p:cNvPr>
              <p:cNvSpPr>
                <a:spLocks noChangeArrowheads="1"/>
              </p:cNvSpPr>
              <p:nvPr/>
            </p:nvSpPr>
            <p:spPr bwMode="auto">
              <a:xfrm>
                <a:off x="7144890" y="2537737"/>
                <a:ext cx="103188" cy="16986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89" name="Freeform 203">
                <a:extLst>
                  <a:ext uri="{FF2B5EF4-FFF2-40B4-BE49-F238E27FC236}">
                    <a16:creationId xmlns:a16="http://schemas.microsoft.com/office/drawing/2014/main" id="{23B2257C-9DE5-FEB6-968F-34B0CD54D9F2}"/>
                  </a:ext>
                </a:extLst>
              </p:cNvPr>
              <p:cNvSpPr>
                <a:spLocks/>
              </p:cNvSpPr>
              <p:nvPr/>
            </p:nvSpPr>
            <p:spPr bwMode="auto">
              <a:xfrm>
                <a:off x="7144890" y="2537737"/>
                <a:ext cx="103188" cy="169863"/>
              </a:xfrm>
              <a:custGeom>
                <a:avLst/>
                <a:gdLst>
                  <a:gd name="T0" fmla="*/ 0 w 65"/>
                  <a:gd name="T1" fmla="*/ 2147483646 h 107"/>
                  <a:gd name="T2" fmla="*/ 2147483646 w 65"/>
                  <a:gd name="T3" fmla="*/ 2147483646 h 107"/>
                  <a:gd name="T4" fmla="*/ 0 w 65"/>
                  <a:gd name="T5" fmla="*/ 0 h 107"/>
                  <a:gd name="T6" fmla="*/ 0 w 65"/>
                  <a:gd name="T7" fmla="*/ 2147483646 h 10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5" h="107">
                    <a:moveTo>
                      <a:pt x="0" y="107"/>
                    </a:moveTo>
                    <a:lnTo>
                      <a:pt x="65" y="107"/>
                    </a:lnTo>
                    <a:lnTo>
                      <a:pt x="0" y="0"/>
                    </a:lnTo>
                    <a:lnTo>
                      <a:pt x="0" y="10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90" name="Rectangle 204">
                <a:extLst>
                  <a:ext uri="{FF2B5EF4-FFF2-40B4-BE49-F238E27FC236}">
                    <a16:creationId xmlns:a16="http://schemas.microsoft.com/office/drawing/2014/main" id="{94EB5F4C-F36C-2208-92C8-2A114A6CAA52}"/>
                  </a:ext>
                </a:extLst>
              </p:cNvPr>
              <p:cNvSpPr>
                <a:spLocks noChangeArrowheads="1"/>
              </p:cNvSpPr>
              <p:nvPr/>
            </p:nvSpPr>
            <p:spPr bwMode="auto">
              <a:xfrm>
                <a:off x="6870252" y="2537737"/>
                <a:ext cx="98425" cy="16986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91" name="Freeform 205">
                <a:extLst>
                  <a:ext uri="{FF2B5EF4-FFF2-40B4-BE49-F238E27FC236}">
                    <a16:creationId xmlns:a16="http://schemas.microsoft.com/office/drawing/2014/main" id="{D634E212-3B63-D1AB-723B-114711D76B4E}"/>
                  </a:ext>
                </a:extLst>
              </p:cNvPr>
              <p:cNvSpPr>
                <a:spLocks/>
              </p:cNvSpPr>
              <p:nvPr/>
            </p:nvSpPr>
            <p:spPr bwMode="auto">
              <a:xfrm>
                <a:off x="6870252" y="2537737"/>
                <a:ext cx="98425" cy="169863"/>
              </a:xfrm>
              <a:custGeom>
                <a:avLst/>
                <a:gdLst>
                  <a:gd name="T0" fmla="*/ 0 w 62"/>
                  <a:gd name="T1" fmla="*/ 2147483646 h 107"/>
                  <a:gd name="T2" fmla="*/ 2147483646 w 62"/>
                  <a:gd name="T3" fmla="*/ 2147483646 h 107"/>
                  <a:gd name="T4" fmla="*/ 0 w 62"/>
                  <a:gd name="T5" fmla="*/ 0 h 107"/>
                  <a:gd name="T6" fmla="*/ 0 w 62"/>
                  <a:gd name="T7" fmla="*/ 2147483646 h 10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2" h="107">
                    <a:moveTo>
                      <a:pt x="0" y="107"/>
                    </a:moveTo>
                    <a:lnTo>
                      <a:pt x="62" y="107"/>
                    </a:lnTo>
                    <a:lnTo>
                      <a:pt x="0" y="0"/>
                    </a:lnTo>
                    <a:lnTo>
                      <a:pt x="0" y="10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92" name="Rectangle 206">
                <a:extLst>
                  <a:ext uri="{FF2B5EF4-FFF2-40B4-BE49-F238E27FC236}">
                    <a16:creationId xmlns:a16="http://schemas.microsoft.com/office/drawing/2014/main" id="{FEAA5997-3A79-C5DD-2160-04FE8E6C9B7F}"/>
                  </a:ext>
                </a:extLst>
              </p:cNvPr>
              <p:cNvSpPr>
                <a:spLocks noChangeArrowheads="1"/>
              </p:cNvSpPr>
              <p:nvPr/>
            </p:nvSpPr>
            <p:spPr bwMode="auto">
              <a:xfrm>
                <a:off x="6595615" y="2537737"/>
                <a:ext cx="98425" cy="16986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93" name="Freeform 207">
                <a:extLst>
                  <a:ext uri="{FF2B5EF4-FFF2-40B4-BE49-F238E27FC236}">
                    <a16:creationId xmlns:a16="http://schemas.microsoft.com/office/drawing/2014/main" id="{35C8DBCF-DFF7-0E21-FB62-63E092D32D5C}"/>
                  </a:ext>
                </a:extLst>
              </p:cNvPr>
              <p:cNvSpPr>
                <a:spLocks/>
              </p:cNvSpPr>
              <p:nvPr/>
            </p:nvSpPr>
            <p:spPr bwMode="auto">
              <a:xfrm>
                <a:off x="6595615" y="2537737"/>
                <a:ext cx="98425" cy="169863"/>
              </a:xfrm>
              <a:custGeom>
                <a:avLst/>
                <a:gdLst>
                  <a:gd name="T0" fmla="*/ 0 w 62"/>
                  <a:gd name="T1" fmla="*/ 2147483646 h 107"/>
                  <a:gd name="T2" fmla="*/ 2147483646 w 62"/>
                  <a:gd name="T3" fmla="*/ 2147483646 h 107"/>
                  <a:gd name="T4" fmla="*/ 0 w 62"/>
                  <a:gd name="T5" fmla="*/ 0 h 107"/>
                  <a:gd name="T6" fmla="*/ 0 w 62"/>
                  <a:gd name="T7" fmla="*/ 2147483646 h 10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2" h="107">
                    <a:moveTo>
                      <a:pt x="0" y="107"/>
                    </a:moveTo>
                    <a:lnTo>
                      <a:pt x="62" y="107"/>
                    </a:lnTo>
                    <a:lnTo>
                      <a:pt x="0" y="0"/>
                    </a:lnTo>
                    <a:lnTo>
                      <a:pt x="0" y="10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94" name="Rectangle 208">
                <a:extLst>
                  <a:ext uri="{FF2B5EF4-FFF2-40B4-BE49-F238E27FC236}">
                    <a16:creationId xmlns:a16="http://schemas.microsoft.com/office/drawing/2014/main" id="{D24B2FA3-D23B-DBB5-95BB-8FADEA697C2B}"/>
                  </a:ext>
                </a:extLst>
              </p:cNvPr>
              <p:cNvSpPr>
                <a:spLocks noChangeArrowheads="1"/>
              </p:cNvSpPr>
              <p:nvPr/>
            </p:nvSpPr>
            <p:spPr bwMode="auto">
              <a:xfrm>
                <a:off x="7424290" y="2793324"/>
                <a:ext cx="98425" cy="166688"/>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95" name="Freeform 209">
                <a:extLst>
                  <a:ext uri="{FF2B5EF4-FFF2-40B4-BE49-F238E27FC236}">
                    <a16:creationId xmlns:a16="http://schemas.microsoft.com/office/drawing/2014/main" id="{62A011AC-7F37-BCEE-00B0-245039B9D50A}"/>
                  </a:ext>
                </a:extLst>
              </p:cNvPr>
              <p:cNvSpPr>
                <a:spLocks/>
              </p:cNvSpPr>
              <p:nvPr/>
            </p:nvSpPr>
            <p:spPr bwMode="auto">
              <a:xfrm>
                <a:off x="7424290" y="2793324"/>
                <a:ext cx="98425" cy="166688"/>
              </a:xfrm>
              <a:custGeom>
                <a:avLst/>
                <a:gdLst>
                  <a:gd name="T0" fmla="*/ 0 w 62"/>
                  <a:gd name="T1" fmla="*/ 2147483646 h 105"/>
                  <a:gd name="T2" fmla="*/ 2147483646 w 62"/>
                  <a:gd name="T3" fmla="*/ 2147483646 h 105"/>
                  <a:gd name="T4" fmla="*/ 0 w 62"/>
                  <a:gd name="T5" fmla="*/ 0 h 105"/>
                  <a:gd name="T6" fmla="*/ 0 w 62"/>
                  <a:gd name="T7" fmla="*/ 2147483646 h 10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2" h="105">
                    <a:moveTo>
                      <a:pt x="0" y="105"/>
                    </a:moveTo>
                    <a:lnTo>
                      <a:pt x="62" y="105"/>
                    </a:lnTo>
                    <a:lnTo>
                      <a:pt x="0" y="0"/>
                    </a:lnTo>
                    <a:lnTo>
                      <a:pt x="0" y="105"/>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96" name="Rectangle 210">
                <a:extLst>
                  <a:ext uri="{FF2B5EF4-FFF2-40B4-BE49-F238E27FC236}">
                    <a16:creationId xmlns:a16="http://schemas.microsoft.com/office/drawing/2014/main" id="{979551B8-251D-6ECE-58C7-0EFA4E53BA9D}"/>
                  </a:ext>
                </a:extLst>
              </p:cNvPr>
              <p:cNvSpPr>
                <a:spLocks noChangeArrowheads="1"/>
              </p:cNvSpPr>
              <p:nvPr/>
            </p:nvSpPr>
            <p:spPr bwMode="auto">
              <a:xfrm>
                <a:off x="7144890" y="2793324"/>
                <a:ext cx="103188" cy="166688"/>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97" name="Freeform 211">
                <a:extLst>
                  <a:ext uri="{FF2B5EF4-FFF2-40B4-BE49-F238E27FC236}">
                    <a16:creationId xmlns:a16="http://schemas.microsoft.com/office/drawing/2014/main" id="{4493F7E5-5463-D3A4-2A8C-8F1E2B50A108}"/>
                  </a:ext>
                </a:extLst>
              </p:cNvPr>
              <p:cNvSpPr>
                <a:spLocks/>
              </p:cNvSpPr>
              <p:nvPr/>
            </p:nvSpPr>
            <p:spPr bwMode="auto">
              <a:xfrm>
                <a:off x="7144890" y="2793324"/>
                <a:ext cx="103188" cy="166688"/>
              </a:xfrm>
              <a:custGeom>
                <a:avLst/>
                <a:gdLst>
                  <a:gd name="T0" fmla="*/ 0 w 65"/>
                  <a:gd name="T1" fmla="*/ 2147483646 h 105"/>
                  <a:gd name="T2" fmla="*/ 2147483646 w 65"/>
                  <a:gd name="T3" fmla="*/ 2147483646 h 105"/>
                  <a:gd name="T4" fmla="*/ 0 w 65"/>
                  <a:gd name="T5" fmla="*/ 0 h 105"/>
                  <a:gd name="T6" fmla="*/ 0 w 65"/>
                  <a:gd name="T7" fmla="*/ 2147483646 h 10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5" h="105">
                    <a:moveTo>
                      <a:pt x="0" y="105"/>
                    </a:moveTo>
                    <a:lnTo>
                      <a:pt x="65" y="105"/>
                    </a:lnTo>
                    <a:lnTo>
                      <a:pt x="0" y="0"/>
                    </a:lnTo>
                    <a:lnTo>
                      <a:pt x="0" y="105"/>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98" name="Rectangle 212">
                <a:extLst>
                  <a:ext uri="{FF2B5EF4-FFF2-40B4-BE49-F238E27FC236}">
                    <a16:creationId xmlns:a16="http://schemas.microsoft.com/office/drawing/2014/main" id="{CDD2E74D-6FF0-71CF-BDD3-ED6B32032218}"/>
                  </a:ext>
                </a:extLst>
              </p:cNvPr>
              <p:cNvSpPr>
                <a:spLocks noChangeArrowheads="1"/>
              </p:cNvSpPr>
              <p:nvPr/>
            </p:nvSpPr>
            <p:spPr bwMode="auto">
              <a:xfrm>
                <a:off x="6870252" y="2793324"/>
                <a:ext cx="98425" cy="166688"/>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99" name="Freeform 213">
                <a:extLst>
                  <a:ext uri="{FF2B5EF4-FFF2-40B4-BE49-F238E27FC236}">
                    <a16:creationId xmlns:a16="http://schemas.microsoft.com/office/drawing/2014/main" id="{A77BB2FC-8851-A049-0B54-6FD75C81081A}"/>
                  </a:ext>
                </a:extLst>
              </p:cNvPr>
              <p:cNvSpPr>
                <a:spLocks/>
              </p:cNvSpPr>
              <p:nvPr/>
            </p:nvSpPr>
            <p:spPr bwMode="auto">
              <a:xfrm>
                <a:off x="6870252" y="2793324"/>
                <a:ext cx="98425" cy="166688"/>
              </a:xfrm>
              <a:custGeom>
                <a:avLst/>
                <a:gdLst>
                  <a:gd name="T0" fmla="*/ 0 w 62"/>
                  <a:gd name="T1" fmla="*/ 2147483646 h 105"/>
                  <a:gd name="T2" fmla="*/ 2147483646 w 62"/>
                  <a:gd name="T3" fmla="*/ 2147483646 h 105"/>
                  <a:gd name="T4" fmla="*/ 0 w 62"/>
                  <a:gd name="T5" fmla="*/ 0 h 105"/>
                  <a:gd name="T6" fmla="*/ 0 w 62"/>
                  <a:gd name="T7" fmla="*/ 2147483646 h 10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2" h="105">
                    <a:moveTo>
                      <a:pt x="0" y="105"/>
                    </a:moveTo>
                    <a:lnTo>
                      <a:pt x="62" y="105"/>
                    </a:lnTo>
                    <a:lnTo>
                      <a:pt x="0" y="0"/>
                    </a:lnTo>
                    <a:lnTo>
                      <a:pt x="0" y="105"/>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900" name="Rectangle 214">
                <a:extLst>
                  <a:ext uri="{FF2B5EF4-FFF2-40B4-BE49-F238E27FC236}">
                    <a16:creationId xmlns:a16="http://schemas.microsoft.com/office/drawing/2014/main" id="{93CDC1C1-669D-4BAD-4C37-186DA1B2E2E9}"/>
                  </a:ext>
                </a:extLst>
              </p:cNvPr>
              <p:cNvSpPr>
                <a:spLocks noChangeArrowheads="1"/>
              </p:cNvSpPr>
              <p:nvPr/>
            </p:nvSpPr>
            <p:spPr bwMode="auto">
              <a:xfrm>
                <a:off x="6595615" y="2793324"/>
                <a:ext cx="98425" cy="166688"/>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901" name="Freeform 216">
                <a:extLst>
                  <a:ext uri="{FF2B5EF4-FFF2-40B4-BE49-F238E27FC236}">
                    <a16:creationId xmlns:a16="http://schemas.microsoft.com/office/drawing/2014/main" id="{E93B6574-110C-E84D-E3AB-FA104EEB3B1C}"/>
                  </a:ext>
                </a:extLst>
              </p:cNvPr>
              <p:cNvSpPr>
                <a:spLocks/>
              </p:cNvSpPr>
              <p:nvPr/>
            </p:nvSpPr>
            <p:spPr bwMode="auto">
              <a:xfrm>
                <a:off x="6595615" y="2793324"/>
                <a:ext cx="98425" cy="166688"/>
              </a:xfrm>
              <a:custGeom>
                <a:avLst/>
                <a:gdLst>
                  <a:gd name="T0" fmla="*/ 0 w 62"/>
                  <a:gd name="T1" fmla="*/ 2147483646 h 105"/>
                  <a:gd name="T2" fmla="*/ 2147483646 w 62"/>
                  <a:gd name="T3" fmla="*/ 2147483646 h 105"/>
                  <a:gd name="T4" fmla="*/ 0 w 62"/>
                  <a:gd name="T5" fmla="*/ 0 h 105"/>
                  <a:gd name="T6" fmla="*/ 0 w 62"/>
                  <a:gd name="T7" fmla="*/ 2147483646 h 10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2" h="105">
                    <a:moveTo>
                      <a:pt x="0" y="105"/>
                    </a:moveTo>
                    <a:lnTo>
                      <a:pt x="62" y="105"/>
                    </a:lnTo>
                    <a:lnTo>
                      <a:pt x="0" y="0"/>
                    </a:lnTo>
                    <a:lnTo>
                      <a:pt x="0" y="105"/>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902" name="Rectangle 217">
                <a:extLst>
                  <a:ext uri="{FF2B5EF4-FFF2-40B4-BE49-F238E27FC236}">
                    <a16:creationId xmlns:a16="http://schemas.microsoft.com/office/drawing/2014/main" id="{FAC23EBE-E384-16D4-F51F-067882ACC2ED}"/>
                  </a:ext>
                </a:extLst>
              </p:cNvPr>
              <p:cNvSpPr>
                <a:spLocks noChangeArrowheads="1"/>
              </p:cNvSpPr>
              <p:nvPr/>
            </p:nvSpPr>
            <p:spPr bwMode="auto">
              <a:xfrm>
                <a:off x="6465440" y="2231349"/>
                <a:ext cx="1211263" cy="19050"/>
              </a:xfrm>
              <a:prstGeom prst="rect">
                <a:avLst/>
              </a:prstGeom>
              <a:solidFill>
                <a:srgbClr val="60808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903" name="Rectangle 218">
                <a:extLst>
                  <a:ext uri="{FF2B5EF4-FFF2-40B4-BE49-F238E27FC236}">
                    <a16:creationId xmlns:a16="http://schemas.microsoft.com/office/drawing/2014/main" id="{C40EC04A-1D1B-9BB3-3521-412D741B9249}"/>
                  </a:ext>
                </a:extLst>
              </p:cNvPr>
              <p:cNvSpPr>
                <a:spLocks noChangeArrowheads="1"/>
              </p:cNvSpPr>
              <p:nvPr/>
            </p:nvSpPr>
            <p:spPr bwMode="auto">
              <a:xfrm>
                <a:off x="6465440" y="1321712"/>
                <a:ext cx="1211263" cy="66675"/>
              </a:xfrm>
              <a:prstGeom prst="rect">
                <a:avLst/>
              </a:prstGeom>
              <a:solidFill>
                <a:srgbClr val="60808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904" name="Freeform 219">
                <a:extLst>
                  <a:ext uri="{FF2B5EF4-FFF2-40B4-BE49-F238E27FC236}">
                    <a16:creationId xmlns:a16="http://schemas.microsoft.com/office/drawing/2014/main" id="{BB39B416-4C1D-3984-8AFE-ACC7C1F36C81}"/>
                  </a:ext>
                </a:extLst>
              </p:cNvPr>
              <p:cNvSpPr>
                <a:spLocks/>
              </p:cNvSpPr>
              <p:nvPr/>
            </p:nvSpPr>
            <p:spPr bwMode="auto">
              <a:xfrm>
                <a:off x="6505127" y="861337"/>
                <a:ext cx="1108075" cy="460375"/>
              </a:xfrm>
              <a:custGeom>
                <a:avLst/>
                <a:gdLst>
                  <a:gd name="T0" fmla="*/ 2147483646 w 282"/>
                  <a:gd name="T1" fmla="*/ 2147483646 h 117"/>
                  <a:gd name="T2" fmla="*/ 2147483646 w 282"/>
                  <a:gd name="T3" fmla="*/ 0 h 117"/>
                  <a:gd name="T4" fmla="*/ 2147483646 w 282"/>
                  <a:gd name="T5" fmla="*/ 2147483646 h 117"/>
                  <a:gd name="T6" fmla="*/ 2147483646 w 282"/>
                  <a:gd name="T7" fmla="*/ 2147483646 h 117"/>
                  <a:gd name="T8" fmla="*/ 2147483646 w 282"/>
                  <a:gd name="T9" fmla="*/ 2147483646 h 117"/>
                  <a:gd name="T10" fmla="*/ 0 w 282"/>
                  <a:gd name="T11" fmla="*/ 2147483646 h 117"/>
                  <a:gd name="T12" fmla="*/ 0 w 282"/>
                  <a:gd name="T13" fmla="*/ 2147483646 h 117"/>
                  <a:gd name="T14" fmla="*/ 2147483646 w 282"/>
                  <a:gd name="T15" fmla="*/ 2147483646 h 1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82" h="117">
                    <a:moveTo>
                      <a:pt x="46" y="68"/>
                    </a:moveTo>
                    <a:cubicBezTo>
                      <a:pt x="60" y="29"/>
                      <a:pt x="97" y="0"/>
                      <a:pt x="141" y="0"/>
                    </a:cubicBezTo>
                    <a:cubicBezTo>
                      <a:pt x="185" y="0"/>
                      <a:pt x="222" y="29"/>
                      <a:pt x="236" y="68"/>
                    </a:cubicBezTo>
                    <a:cubicBezTo>
                      <a:pt x="282" y="68"/>
                      <a:pt x="282" y="68"/>
                      <a:pt x="282" y="68"/>
                    </a:cubicBezTo>
                    <a:cubicBezTo>
                      <a:pt x="282" y="117"/>
                      <a:pt x="282" y="117"/>
                      <a:pt x="282" y="117"/>
                    </a:cubicBezTo>
                    <a:cubicBezTo>
                      <a:pt x="0" y="117"/>
                      <a:pt x="0" y="117"/>
                      <a:pt x="0" y="117"/>
                    </a:cubicBezTo>
                    <a:cubicBezTo>
                      <a:pt x="0" y="68"/>
                      <a:pt x="0" y="68"/>
                      <a:pt x="0" y="68"/>
                    </a:cubicBezTo>
                    <a:lnTo>
                      <a:pt x="46" y="68"/>
                    </a:lnTo>
                    <a:close/>
                  </a:path>
                </a:pathLst>
              </a:custGeom>
              <a:solidFill>
                <a:srgbClr val="9FAA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905" name="Freeform 220">
                <a:extLst>
                  <a:ext uri="{FF2B5EF4-FFF2-40B4-BE49-F238E27FC236}">
                    <a16:creationId xmlns:a16="http://schemas.microsoft.com/office/drawing/2014/main" id="{6179A0A1-D420-FC4D-71E9-ECB55B98F428}"/>
                  </a:ext>
                </a:extLst>
              </p:cNvPr>
              <p:cNvSpPr>
                <a:spLocks/>
              </p:cNvSpPr>
              <p:nvPr/>
            </p:nvSpPr>
            <p:spPr bwMode="auto">
              <a:xfrm>
                <a:off x="6763890" y="962937"/>
                <a:ext cx="590550" cy="295275"/>
              </a:xfrm>
              <a:custGeom>
                <a:avLst/>
                <a:gdLst>
                  <a:gd name="T0" fmla="*/ 0 w 150"/>
                  <a:gd name="T1" fmla="*/ 2147483646 h 75"/>
                  <a:gd name="T2" fmla="*/ 2147483646 w 150"/>
                  <a:gd name="T3" fmla="*/ 0 h 75"/>
                  <a:gd name="T4" fmla="*/ 2147483646 w 150"/>
                  <a:gd name="T5" fmla="*/ 2147483646 h 75"/>
                  <a:gd name="T6" fmla="*/ 0 60000 65536"/>
                  <a:gd name="T7" fmla="*/ 0 60000 65536"/>
                  <a:gd name="T8" fmla="*/ 0 60000 65536"/>
                </a:gdLst>
                <a:ahLst/>
                <a:cxnLst>
                  <a:cxn ang="T6">
                    <a:pos x="T0" y="T1"/>
                  </a:cxn>
                  <a:cxn ang="T7">
                    <a:pos x="T2" y="T3"/>
                  </a:cxn>
                  <a:cxn ang="T8">
                    <a:pos x="T4" y="T5"/>
                  </a:cxn>
                </a:cxnLst>
                <a:rect l="0" t="0" r="r" b="b"/>
                <a:pathLst>
                  <a:path w="150" h="75">
                    <a:moveTo>
                      <a:pt x="0" y="75"/>
                    </a:moveTo>
                    <a:cubicBezTo>
                      <a:pt x="0" y="33"/>
                      <a:pt x="33" y="0"/>
                      <a:pt x="75" y="0"/>
                    </a:cubicBezTo>
                    <a:cubicBezTo>
                      <a:pt x="117" y="0"/>
                      <a:pt x="150" y="33"/>
                      <a:pt x="150" y="75"/>
                    </a:cubicBezTo>
                  </a:path>
                </a:pathLst>
              </a:custGeom>
              <a:solidFill>
                <a:srgbClr val="6080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906" name="Rectangle 221">
                <a:extLst>
                  <a:ext uri="{FF2B5EF4-FFF2-40B4-BE49-F238E27FC236}">
                    <a16:creationId xmlns:a16="http://schemas.microsoft.com/office/drawing/2014/main" id="{12740B04-B972-2BF9-2B99-691B7A8D44B0}"/>
                  </a:ext>
                </a:extLst>
              </p:cNvPr>
              <p:cNvSpPr>
                <a:spLocks noChangeArrowheads="1"/>
              </p:cNvSpPr>
              <p:nvPr/>
            </p:nvSpPr>
            <p:spPr bwMode="auto">
              <a:xfrm>
                <a:off x="7554465" y="1128037"/>
                <a:ext cx="58738" cy="193675"/>
              </a:xfrm>
              <a:prstGeom prst="rect">
                <a:avLst/>
              </a:prstGeom>
              <a:solidFill>
                <a:srgbClr val="828D9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907" name="Rectangle 222">
                <a:extLst>
                  <a:ext uri="{FF2B5EF4-FFF2-40B4-BE49-F238E27FC236}">
                    <a16:creationId xmlns:a16="http://schemas.microsoft.com/office/drawing/2014/main" id="{398F4320-935C-1B0B-25DE-BA2F5837FDBD}"/>
                  </a:ext>
                </a:extLst>
              </p:cNvPr>
              <p:cNvSpPr>
                <a:spLocks noChangeArrowheads="1"/>
              </p:cNvSpPr>
              <p:nvPr/>
            </p:nvSpPr>
            <p:spPr bwMode="auto">
              <a:xfrm>
                <a:off x="7554465" y="1388387"/>
                <a:ext cx="58738" cy="842963"/>
              </a:xfrm>
              <a:prstGeom prst="rect">
                <a:avLst/>
              </a:prstGeom>
              <a:solidFill>
                <a:srgbClr val="828D9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908" name="Rectangle 223">
                <a:extLst>
                  <a:ext uri="{FF2B5EF4-FFF2-40B4-BE49-F238E27FC236}">
                    <a16:creationId xmlns:a16="http://schemas.microsoft.com/office/drawing/2014/main" id="{2A59FE09-1BB6-94C6-E995-26B53F9CA236}"/>
                  </a:ext>
                </a:extLst>
              </p:cNvPr>
              <p:cNvSpPr>
                <a:spLocks noChangeArrowheads="1"/>
              </p:cNvSpPr>
              <p:nvPr/>
            </p:nvSpPr>
            <p:spPr bwMode="auto">
              <a:xfrm>
                <a:off x="7554465" y="2250399"/>
                <a:ext cx="58738" cy="1071563"/>
              </a:xfrm>
              <a:prstGeom prst="rect">
                <a:avLst/>
              </a:prstGeom>
              <a:solidFill>
                <a:srgbClr val="828D9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grpSp>
        <p:sp>
          <p:nvSpPr>
            <p:cNvPr id="28685" name="Rectangle 224">
              <a:extLst>
                <a:ext uri="{FF2B5EF4-FFF2-40B4-BE49-F238E27FC236}">
                  <a16:creationId xmlns:a16="http://schemas.microsoft.com/office/drawing/2014/main" id="{8B32D644-9B8B-BA32-899D-8460F0801CF2}"/>
                </a:ext>
              </a:extLst>
            </p:cNvPr>
            <p:cNvSpPr>
              <a:spLocks noChangeArrowheads="1"/>
            </p:cNvSpPr>
            <p:nvPr/>
          </p:nvSpPr>
          <p:spPr bwMode="auto">
            <a:xfrm>
              <a:off x="9350113" y="1491942"/>
              <a:ext cx="1046163" cy="263525"/>
            </a:xfrm>
            <a:prstGeom prst="rect">
              <a:avLst/>
            </a:prstGeom>
            <a:solidFill>
              <a:srgbClr val="828D9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686" name="Rectangle 225">
              <a:extLst>
                <a:ext uri="{FF2B5EF4-FFF2-40B4-BE49-F238E27FC236}">
                  <a16:creationId xmlns:a16="http://schemas.microsoft.com/office/drawing/2014/main" id="{9D9DA4F7-DDCE-CB2F-EBD7-D778388A5F18}"/>
                </a:ext>
              </a:extLst>
            </p:cNvPr>
            <p:cNvSpPr>
              <a:spLocks noChangeArrowheads="1"/>
            </p:cNvSpPr>
            <p:nvPr/>
          </p:nvSpPr>
          <p:spPr bwMode="auto">
            <a:xfrm>
              <a:off x="9656500" y="1350655"/>
              <a:ext cx="428625" cy="192088"/>
            </a:xfrm>
            <a:prstGeom prst="rect">
              <a:avLst/>
            </a:prstGeom>
            <a:solidFill>
              <a:srgbClr val="828D9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687" name="Freeform 226">
              <a:extLst>
                <a:ext uri="{FF2B5EF4-FFF2-40B4-BE49-F238E27FC236}">
                  <a16:creationId xmlns:a16="http://schemas.microsoft.com/office/drawing/2014/main" id="{25436F7A-6986-4150-9F01-F5B4DD198F66}"/>
                </a:ext>
              </a:extLst>
            </p:cNvPr>
            <p:cNvSpPr>
              <a:spLocks/>
            </p:cNvSpPr>
            <p:nvPr/>
          </p:nvSpPr>
          <p:spPr bwMode="auto">
            <a:xfrm>
              <a:off x="9853350" y="991880"/>
              <a:ext cx="34925" cy="457200"/>
            </a:xfrm>
            <a:custGeom>
              <a:avLst/>
              <a:gdLst>
                <a:gd name="T0" fmla="*/ 0 w 9"/>
                <a:gd name="T1" fmla="*/ 2147483646 h 116"/>
                <a:gd name="T2" fmla="*/ 2147483646 w 9"/>
                <a:gd name="T3" fmla="*/ 2147483646 h 116"/>
                <a:gd name="T4" fmla="*/ 2147483646 w 9"/>
                <a:gd name="T5" fmla="*/ 2147483646 h 116"/>
                <a:gd name="T6" fmla="*/ 2147483646 w 9"/>
                <a:gd name="T7" fmla="*/ 2147483646 h 116"/>
                <a:gd name="T8" fmla="*/ 2147483646 w 9"/>
                <a:gd name="T9" fmla="*/ 0 h 116"/>
                <a:gd name="T10" fmla="*/ 0 w 9"/>
                <a:gd name="T11" fmla="*/ 2147483646 h 116"/>
                <a:gd name="T12" fmla="*/ 0 w 9"/>
                <a:gd name="T13" fmla="*/ 2147483646 h 1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116">
                  <a:moveTo>
                    <a:pt x="0" y="111"/>
                  </a:moveTo>
                  <a:cubicBezTo>
                    <a:pt x="0" y="114"/>
                    <a:pt x="2" y="116"/>
                    <a:pt x="5" y="116"/>
                  </a:cubicBezTo>
                  <a:cubicBezTo>
                    <a:pt x="7" y="116"/>
                    <a:pt x="9" y="114"/>
                    <a:pt x="9" y="111"/>
                  </a:cubicBezTo>
                  <a:cubicBezTo>
                    <a:pt x="9" y="4"/>
                    <a:pt x="9" y="4"/>
                    <a:pt x="9" y="4"/>
                  </a:cubicBezTo>
                  <a:cubicBezTo>
                    <a:pt x="9" y="2"/>
                    <a:pt x="7" y="0"/>
                    <a:pt x="5" y="0"/>
                  </a:cubicBezTo>
                  <a:cubicBezTo>
                    <a:pt x="2" y="0"/>
                    <a:pt x="0" y="2"/>
                    <a:pt x="0" y="4"/>
                  </a:cubicBezTo>
                  <a:lnTo>
                    <a:pt x="0" y="111"/>
                  </a:lnTo>
                  <a:close/>
                </a:path>
              </a:pathLst>
            </a:custGeom>
            <a:solidFill>
              <a:srgbClr val="828D9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688" name="Oval 227">
              <a:extLst>
                <a:ext uri="{FF2B5EF4-FFF2-40B4-BE49-F238E27FC236}">
                  <a16:creationId xmlns:a16="http://schemas.microsoft.com/office/drawing/2014/main" id="{6E622DCA-CCE9-1D6A-27B3-27D26D8342D7}"/>
                </a:ext>
              </a:extLst>
            </p:cNvPr>
            <p:cNvSpPr>
              <a:spLocks noChangeArrowheads="1"/>
            </p:cNvSpPr>
            <p:nvPr/>
          </p:nvSpPr>
          <p:spPr bwMode="auto">
            <a:xfrm>
              <a:off x="9829538" y="971242"/>
              <a:ext cx="85725" cy="90488"/>
            </a:xfrm>
            <a:prstGeom prst="ellipse">
              <a:avLst/>
            </a:prstGeom>
            <a:solidFill>
              <a:srgbClr val="60808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689" name="Rectangle 228">
              <a:extLst>
                <a:ext uri="{FF2B5EF4-FFF2-40B4-BE49-F238E27FC236}">
                  <a16:creationId xmlns:a16="http://schemas.microsoft.com/office/drawing/2014/main" id="{B34CF6F7-24F1-C89B-908A-0525083674B9}"/>
                </a:ext>
              </a:extLst>
            </p:cNvPr>
            <p:cNvSpPr>
              <a:spLocks noChangeArrowheads="1"/>
            </p:cNvSpPr>
            <p:nvPr/>
          </p:nvSpPr>
          <p:spPr bwMode="auto">
            <a:xfrm>
              <a:off x="9259625" y="1723717"/>
              <a:ext cx="1225550" cy="2087563"/>
            </a:xfrm>
            <a:prstGeom prst="rect">
              <a:avLst/>
            </a:prstGeom>
            <a:solidFill>
              <a:srgbClr val="9FAAB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690" name="Rectangle 229">
              <a:extLst>
                <a:ext uri="{FF2B5EF4-FFF2-40B4-BE49-F238E27FC236}">
                  <a16:creationId xmlns:a16="http://schemas.microsoft.com/office/drawing/2014/main" id="{8F00A1B1-78BF-00D9-9359-AF09EA3ACFDC}"/>
                </a:ext>
              </a:extLst>
            </p:cNvPr>
            <p:cNvSpPr>
              <a:spLocks noChangeArrowheads="1"/>
            </p:cNvSpPr>
            <p:nvPr/>
          </p:nvSpPr>
          <p:spPr bwMode="auto">
            <a:xfrm>
              <a:off x="9259625" y="1723717"/>
              <a:ext cx="1225550" cy="208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691" name="Rectangle 230">
              <a:extLst>
                <a:ext uri="{FF2B5EF4-FFF2-40B4-BE49-F238E27FC236}">
                  <a16:creationId xmlns:a16="http://schemas.microsoft.com/office/drawing/2014/main" id="{D38B7C5C-E763-E2D1-91DC-C601218A49E7}"/>
                </a:ext>
              </a:extLst>
            </p:cNvPr>
            <p:cNvSpPr>
              <a:spLocks noChangeArrowheads="1"/>
            </p:cNvSpPr>
            <p:nvPr/>
          </p:nvSpPr>
          <p:spPr bwMode="auto">
            <a:xfrm>
              <a:off x="10154975" y="1585605"/>
              <a:ext cx="146050" cy="71438"/>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692" name="Freeform 231">
              <a:extLst>
                <a:ext uri="{FF2B5EF4-FFF2-40B4-BE49-F238E27FC236}">
                  <a16:creationId xmlns:a16="http://schemas.microsoft.com/office/drawing/2014/main" id="{D23A0578-D1DD-A2D6-3362-745910153365}"/>
                </a:ext>
              </a:extLst>
            </p:cNvPr>
            <p:cNvSpPr>
              <a:spLocks/>
            </p:cNvSpPr>
            <p:nvPr/>
          </p:nvSpPr>
          <p:spPr bwMode="auto">
            <a:xfrm>
              <a:off x="10154975" y="1585605"/>
              <a:ext cx="146050" cy="71438"/>
            </a:xfrm>
            <a:custGeom>
              <a:avLst/>
              <a:gdLst>
                <a:gd name="T0" fmla="*/ 0 w 92"/>
                <a:gd name="T1" fmla="*/ 2147483646 h 45"/>
                <a:gd name="T2" fmla="*/ 2147483646 w 92"/>
                <a:gd name="T3" fmla="*/ 2147483646 h 45"/>
                <a:gd name="T4" fmla="*/ 0 w 92"/>
                <a:gd name="T5" fmla="*/ 0 h 45"/>
                <a:gd name="T6" fmla="*/ 0 w 92"/>
                <a:gd name="T7" fmla="*/ 2147483646 h 4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 h="45">
                  <a:moveTo>
                    <a:pt x="0" y="45"/>
                  </a:moveTo>
                  <a:lnTo>
                    <a:pt x="92" y="45"/>
                  </a:lnTo>
                  <a:lnTo>
                    <a:pt x="0" y="0"/>
                  </a:lnTo>
                  <a:lnTo>
                    <a:pt x="0" y="45"/>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693" name="Rectangle 232">
              <a:extLst>
                <a:ext uri="{FF2B5EF4-FFF2-40B4-BE49-F238E27FC236}">
                  <a16:creationId xmlns:a16="http://schemas.microsoft.com/office/drawing/2014/main" id="{067A28EF-B560-7DF7-7FB7-E63B137B9086}"/>
                </a:ext>
              </a:extLst>
            </p:cNvPr>
            <p:cNvSpPr>
              <a:spLocks noChangeArrowheads="1"/>
            </p:cNvSpPr>
            <p:nvPr/>
          </p:nvSpPr>
          <p:spPr bwMode="auto">
            <a:xfrm>
              <a:off x="9975588" y="1585605"/>
              <a:ext cx="141288" cy="71438"/>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694" name="Freeform 233">
              <a:extLst>
                <a:ext uri="{FF2B5EF4-FFF2-40B4-BE49-F238E27FC236}">
                  <a16:creationId xmlns:a16="http://schemas.microsoft.com/office/drawing/2014/main" id="{C9DEC734-64FA-75DF-9B76-FF6B47E05DD0}"/>
                </a:ext>
              </a:extLst>
            </p:cNvPr>
            <p:cNvSpPr>
              <a:spLocks/>
            </p:cNvSpPr>
            <p:nvPr/>
          </p:nvSpPr>
          <p:spPr bwMode="auto">
            <a:xfrm>
              <a:off x="9975588" y="1585605"/>
              <a:ext cx="141288" cy="71438"/>
            </a:xfrm>
            <a:custGeom>
              <a:avLst/>
              <a:gdLst>
                <a:gd name="T0" fmla="*/ 0 w 89"/>
                <a:gd name="T1" fmla="*/ 2147483646 h 45"/>
                <a:gd name="T2" fmla="*/ 2147483646 w 89"/>
                <a:gd name="T3" fmla="*/ 2147483646 h 45"/>
                <a:gd name="T4" fmla="*/ 0 w 89"/>
                <a:gd name="T5" fmla="*/ 0 h 45"/>
                <a:gd name="T6" fmla="*/ 0 w 89"/>
                <a:gd name="T7" fmla="*/ 2147483646 h 4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5">
                  <a:moveTo>
                    <a:pt x="0" y="45"/>
                  </a:moveTo>
                  <a:lnTo>
                    <a:pt x="89" y="45"/>
                  </a:lnTo>
                  <a:lnTo>
                    <a:pt x="0" y="0"/>
                  </a:lnTo>
                  <a:lnTo>
                    <a:pt x="0" y="45"/>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695" name="Rectangle 234">
              <a:extLst>
                <a:ext uri="{FF2B5EF4-FFF2-40B4-BE49-F238E27FC236}">
                  <a16:creationId xmlns:a16="http://schemas.microsoft.com/office/drawing/2014/main" id="{795FC9FF-A144-B0DC-E41A-D4F8E5A23AB4}"/>
                </a:ext>
              </a:extLst>
            </p:cNvPr>
            <p:cNvSpPr>
              <a:spLocks noChangeArrowheads="1"/>
            </p:cNvSpPr>
            <p:nvPr/>
          </p:nvSpPr>
          <p:spPr bwMode="auto">
            <a:xfrm>
              <a:off x="9789850" y="1585605"/>
              <a:ext cx="146050" cy="71438"/>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696" name="Freeform 235">
              <a:extLst>
                <a:ext uri="{FF2B5EF4-FFF2-40B4-BE49-F238E27FC236}">
                  <a16:creationId xmlns:a16="http://schemas.microsoft.com/office/drawing/2014/main" id="{69ACC593-534C-AFE2-0175-1B1A8153669F}"/>
                </a:ext>
              </a:extLst>
            </p:cNvPr>
            <p:cNvSpPr>
              <a:spLocks/>
            </p:cNvSpPr>
            <p:nvPr/>
          </p:nvSpPr>
          <p:spPr bwMode="auto">
            <a:xfrm>
              <a:off x="9789850" y="1585605"/>
              <a:ext cx="146050" cy="71438"/>
            </a:xfrm>
            <a:custGeom>
              <a:avLst/>
              <a:gdLst>
                <a:gd name="T0" fmla="*/ 0 w 92"/>
                <a:gd name="T1" fmla="*/ 2147483646 h 45"/>
                <a:gd name="T2" fmla="*/ 2147483646 w 92"/>
                <a:gd name="T3" fmla="*/ 2147483646 h 45"/>
                <a:gd name="T4" fmla="*/ 0 w 92"/>
                <a:gd name="T5" fmla="*/ 0 h 45"/>
                <a:gd name="T6" fmla="*/ 0 w 92"/>
                <a:gd name="T7" fmla="*/ 2147483646 h 4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 h="45">
                  <a:moveTo>
                    <a:pt x="0" y="45"/>
                  </a:moveTo>
                  <a:lnTo>
                    <a:pt x="92" y="45"/>
                  </a:lnTo>
                  <a:lnTo>
                    <a:pt x="0" y="0"/>
                  </a:lnTo>
                  <a:lnTo>
                    <a:pt x="0" y="45"/>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697" name="Rectangle 236">
              <a:extLst>
                <a:ext uri="{FF2B5EF4-FFF2-40B4-BE49-F238E27FC236}">
                  <a16:creationId xmlns:a16="http://schemas.microsoft.com/office/drawing/2014/main" id="{0EF769C8-EA8D-C3C3-45ED-E49654EB2047}"/>
                </a:ext>
              </a:extLst>
            </p:cNvPr>
            <p:cNvSpPr>
              <a:spLocks noChangeArrowheads="1"/>
            </p:cNvSpPr>
            <p:nvPr/>
          </p:nvSpPr>
          <p:spPr bwMode="auto">
            <a:xfrm>
              <a:off x="9600938" y="1585605"/>
              <a:ext cx="141288" cy="71438"/>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698" name="Freeform 237">
              <a:extLst>
                <a:ext uri="{FF2B5EF4-FFF2-40B4-BE49-F238E27FC236}">
                  <a16:creationId xmlns:a16="http://schemas.microsoft.com/office/drawing/2014/main" id="{51750F8A-669F-00C4-467D-360B58060282}"/>
                </a:ext>
              </a:extLst>
            </p:cNvPr>
            <p:cNvSpPr>
              <a:spLocks/>
            </p:cNvSpPr>
            <p:nvPr/>
          </p:nvSpPr>
          <p:spPr bwMode="auto">
            <a:xfrm>
              <a:off x="9600938" y="1585605"/>
              <a:ext cx="141288" cy="71438"/>
            </a:xfrm>
            <a:custGeom>
              <a:avLst/>
              <a:gdLst>
                <a:gd name="T0" fmla="*/ 0 w 89"/>
                <a:gd name="T1" fmla="*/ 2147483646 h 45"/>
                <a:gd name="T2" fmla="*/ 2147483646 w 89"/>
                <a:gd name="T3" fmla="*/ 2147483646 h 45"/>
                <a:gd name="T4" fmla="*/ 0 w 89"/>
                <a:gd name="T5" fmla="*/ 0 h 45"/>
                <a:gd name="T6" fmla="*/ 0 w 89"/>
                <a:gd name="T7" fmla="*/ 2147483646 h 4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5">
                  <a:moveTo>
                    <a:pt x="0" y="45"/>
                  </a:moveTo>
                  <a:lnTo>
                    <a:pt x="89" y="45"/>
                  </a:lnTo>
                  <a:lnTo>
                    <a:pt x="0" y="0"/>
                  </a:lnTo>
                  <a:lnTo>
                    <a:pt x="0" y="45"/>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699" name="Rectangle 238">
              <a:extLst>
                <a:ext uri="{FF2B5EF4-FFF2-40B4-BE49-F238E27FC236}">
                  <a16:creationId xmlns:a16="http://schemas.microsoft.com/office/drawing/2014/main" id="{E1D21733-18F3-9EA3-45F9-FD3B9580592A}"/>
                </a:ext>
              </a:extLst>
            </p:cNvPr>
            <p:cNvSpPr>
              <a:spLocks noChangeArrowheads="1"/>
            </p:cNvSpPr>
            <p:nvPr/>
          </p:nvSpPr>
          <p:spPr bwMode="auto">
            <a:xfrm>
              <a:off x="9416788" y="1585605"/>
              <a:ext cx="146050" cy="71438"/>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00" name="Freeform 239">
              <a:extLst>
                <a:ext uri="{FF2B5EF4-FFF2-40B4-BE49-F238E27FC236}">
                  <a16:creationId xmlns:a16="http://schemas.microsoft.com/office/drawing/2014/main" id="{9CE654BA-EB40-59F6-C8AD-6557C31F3D50}"/>
                </a:ext>
              </a:extLst>
            </p:cNvPr>
            <p:cNvSpPr>
              <a:spLocks/>
            </p:cNvSpPr>
            <p:nvPr/>
          </p:nvSpPr>
          <p:spPr bwMode="auto">
            <a:xfrm>
              <a:off x="9416788" y="1585605"/>
              <a:ext cx="146050" cy="71438"/>
            </a:xfrm>
            <a:custGeom>
              <a:avLst/>
              <a:gdLst>
                <a:gd name="T0" fmla="*/ 0 w 92"/>
                <a:gd name="T1" fmla="*/ 2147483646 h 45"/>
                <a:gd name="T2" fmla="*/ 2147483646 w 92"/>
                <a:gd name="T3" fmla="*/ 2147483646 h 45"/>
                <a:gd name="T4" fmla="*/ 0 w 92"/>
                <a:gd name="T5" fmla="*/ 0 h 45"/>
                <a:gd name="T6" fmla="*/ 0 w 92"/>
                <a:gd name="T7" fmla="*/ 2147483646 h 4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 h="45">
                  <a:moveTo>
                    <a:pt x="0" y="45"/>
                  </a:moveTo>
                  <a:lnTo>
                    <a:pt x="92" y="45"/>
                  </a:lnTo>
                  <a:lnTo>
                    <a:pt x="0" y="0"/>
                  </a:lnTo>
                  <a:lnTo>
                    <a:pt x="0" y="45"/>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01" name="Rectangle 240">
              <a:extLst>
                <a:ext uri="{FF2B5EF4-FFF2-40B4-BE49-F238E27FC236}">
                  <a16:creationId xmlns:a16="http://schemas.microsoft.com/office/drawing/2014/main" id="{309DCCD2-1132-1758-99C2-AEAECE10916C}"/>
                </a:ext>
              </a:extLst>
            </p:cNvPr>
            <p:cNvSpPr>
              <a:spLocks noChangeArrowheads="1"/>
            </p:cNvSpPr>
            <p:nvPr/>
          </p:nvSpPr>
          <p:spPr bwMode="auto">
            <a:xfrm>
              <a:off x="9542200" y="3473142"/>
              <a:ext cx="665163" cy="338138"/>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02" name="Freeform 241">
              <a:extLst>
                <a:ext uri="{FF2B5EF4-FFF2-40B4-BE49-F238E27FC236}">
                  <a16:creationId xmlns:a16="http://schemas.microsoft.com/office/drawing/2014/main" id="{14B51F73-0357-A1C8-48BB-B5E5F9C48BC1}"/>
                </a:ext>
              </a:extLst>
            </p:cNvPr>
            <p:cNvSpPr>
              <a:spLocks/>
            </p:cNvSpPr>
            <p:nvPr/>
          </p:nvSpPr>
          <p:spPr bwMode="auto">
            <a:xfrm>
              <a:off x="9542200" y="3473142"/>
              <a:ext cx="665163" cy="338138"/>
            </a:xfrm>
            <a:custGeom>
              <a:avLst/>
              <a:gdLst>
                <a:gd name="T0" fmla="*/ 0 w 419"/>
                <a:gd name="T1" fmla="*/ 2147483646 h 213"/>
                <a:gd name="T2" fmla="*/ 2147483646 w 419"/>
                <a:gd name="T3" fmla="*/ 2147483646 h 213"/>
                <a:gd name="T4" fmla="*/ 0 w 419"/>
                <a:gd name="T5" fmla="*/ 0 h 213"/>
                <a:gd name="T6" fmla="*/ 0 w 419"/>
                <a:gd name="T7" fmla="*/ 2147483646 h 21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19" h="213">
                  <a:moveTo>
                    <a:pt x="0" y="213"/>
                  </a:moveTo>
                  <a:lnTo>
                    <a:pt x="419" y="213"/>
                  </a:lnTo>
                  <a:lnTo>
                    <a:pt x="0" y="0"/>
                  </a:lnTo>
                  <a:lnTo>
                    <a:pt x="0" y="213"/>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03" name="Rectangle 242">
              <a:extLst>
                <a:ext uri="{FF2B5EF4-FFF2-40B4-BE49-F238E27FC236}">
                  <a16:creationId xmlns:a16="http://schemas.microsoft.com/office/drawing/2014/main" id="{0553EA88-7526-9AF4-5B1D-74BF5A91F33C}"/>
                </a:ext>
              </a:extLst>
            </p:cNvPr>
            <p:cNvSpPr>
              <a:spLocks noChangeArrowheads="1"/>
            </p:cNvSpPr>
            <p:nvPr/>
          </p:nvSpPr>
          <p:spPr bwMode="auto">
            <a:xfrm>
              <a:off x="9900975" y="1976130"/>
              <a:ext cx="141288" cy="71438"/>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04" name="Freeform 243">
              <a:extLst>
                <a:ext uri="{FF2B5EF4-FFF2-40B4-BE49-F238E27FC236}">
                  <a16:creationId xmlns:a16="http://schemas.microsoft.com/office/drawing/2014/main" id="{6A027707-9927-BA8B-D105-14791A0B9AD0}"/>
                </a:ext>
              </a:extLst>
            </p:cNvPr>
            <p:cNvSpPr>
              <a:spLocks/>
            </p:cNvSpPr>
            <p:nvPr/>
          </p:nvSpPr>
          <p:spPr bwMode="auto">
            <a:xfrm>
              <a:off x="9900975" y="1976130"/>
              <a:ext cx="141288" cy="71438"/>
            </a:xfrm>
            <a:custGeom>
              <a:avLst/>
              <a:gdLst>
                <a:gd name="T0" fmla="*/ 0 w 89"/>
                <a:gd name="T1" fmla="*/ 2147483646 h 45"/>
                <a:gd name="T2" fmla="*/ 2147483646 w 89"/>
                <a:gd name="T3" fmla="*/ 2147483646 h 45"/>
                <a:gd name="T4" fmla="*/ 0 w 89"/>
                <a:gd name="T5" fmla="*/ 0 h 45"/>
                <a:gd name="T6" fmla="*/ 0 w 89"/>
                <a:gd name="T7" fmla="*/ 2147483646 h 4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5">
                  <a:moveTo>
                    <a:pt x="0" y="45"/>
                  </a:moveTo>
                  <a:lnTo>
                    <a:pt x="89" y="45"/>
                  </a:lnTo>
                  <a:lnTo>
                    <a:pt x="0" y="0"/>
                  </a:lnTo>
                  <a:lnTo>
                    <a:pt x="0" y="45"/>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05" name="Rectangle 244">
              <a:extLst>
                <a:ext uri="{FF2B5EF4-FFF2-40B4-BE49-F238E27FC236}">
                  <a16:creationId xmlns:a16="http://schemas.microsoft.com/office/drawing/2014/main" id="{CDA658F3-71DD-E001-F879-0D3BBBAFDAD7}"/>
                </a:ext>
              </a:extLst>
            </p:cNvPr>
            <p:cNvSpPr>
              <a:spLocks noChangeArrowheads="1"/>
            </p:cNvSpPr>
            <p:nvPr/>
          </p:nvSpPr>
          <p:spPr bwMode="auto">
            <a:xfrm>
              <a:off x="10080363" y="2236480"/>
              <a:ext cx="146050" cy="6985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06" name="Freeform 245">
              <a:extLst>
                <a:ext uri="{FF2B5EF4-FFF2-40B4-BE49-F238E27FC236}">
                  <a16:creationId xmlns:a16="http://schemas.microsoft.com/office/drawing/2014/main" id="{92D39441-1056-D18C-CD68-94DE4FAD2638}"/>
                </a:ext>
              </a:extLst>
            </p:cNvPr>
            <p:cNvSpPr>
              <a:spLocks/>
            </p:cNvSpPr>
            <p:nvPr/>
          </p:nvSpPr>
          <p:spPr bwMode="auto">
            <a:xfrm>
              <a:off x="10080363" y="2236480"/>
              <a:ext cx="146050" cy="69850"/>
            </a:xfrm>
            <a:custGeom>
              <a:avLst/>
              <a:gdLst>
                <a:gd name="T0" fmla="*/ 0 w 92"/>
                <a:gd name="T1" fmla="*/ 2147483646 h 44"/>
                <a:gd name="T2" fmla="*/ 2147483646 w 92"/>
                <a:gd name="T3" fmla="*/ 2147483646 h 44"/>
                <a:gd name="T4" fmla="*/ 0 w 92"/>
                <a:gd name="T5" fmla="*/ 0 h 44"/>
                <a:gd name="T6" fmla="*/ 0 w 92"/>
                <a:gd name="T7" fmla="*/ 2147483646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 h="44">
                  <a:moveTo>
                    <a:pt x="0" y="44"/>
                  </a:moveTo>
                  <a:lnTo>
                    <a:pt x="92" y="44"/>
                  </a:lnTo>
                  <a:lnTo>
                    <a:pt x="0" y="0"/>
                  </a:lnTo>
                  <a:lnTo>
                    <a:pt x="0" y="44"/>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07" name="Rectangle 246">
              <a:extLst>
                <a:ext uri="{FF2B5EF4-FFF2-40B4-BE49-F238E27FC236}">
                  <a16:creationId xmlns:a16="http://schemas.microsoft.com/office/drawing/2014/main" id="{684CE0A7-FB6D-9201-3FD0-8B785A7176F8}"/>
                </a:ext>
              </a:extLst>
            </p:cNvPr>
            <p:cNvSpPr>
              <a:spLocks noChangeArrowheads="1"/>
            </p:cNvSpPr>
            <p:nvPr/>
          </p:nvSpPr>
          <p:spPr bwMode="auto">
            <a:xfrm>
              <a:off x="9712063" y="1976130"/>
              <a:ext cx="141288" cy="71438"/>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08" name="Freeform 247">
              <a:extLst>
                <a:ext uri="{FF2B5EF4-FFF2-40B4-BE49-F238E27FC236}">
                  <a16:creationId xmlns:a16="http://schemas.microsoft.com/office/drawing/2014/main" id="{BEE17D42-EE55-C4C9-BE45-6005C7496063}"/>
                </a:ext>
              </a:extLst>
            </p:cNvPr>
            <p:cNvSpPr>
              <a:spLocks/>
            </p:cNvSpPr>
            <p:nvPr/>
          </p:nvSpPr>
          <p:spPr bwMode="auto">
            <a:xfrm>
              <a:off x="9712063" y="1976130"/>
              <a:ext cx="141288" cy="71438"/>
            </a:xfrm>
            <a:custGeom>
              <a:avLst/>
              <a:gdLst>
                <a:gd name="T0" fmla="*/ 0 w 89"/>
                <a:gd name="T1" fmla="*/ 2147483646 h 45"/>
                <a:gd name="T2" fmla="*/ 2147483646 w 89"/>
                <a:gd name="T3" fmla="*/ 2147483646 h 45"/>
                <a:gd name="T4" fmla="*/ 0 w 89"/>
                <a:gd name="T5" fmla="*/ 0 h 45"/>
                <a:gd name="T6" fmla="*/ 0 w 89"/>
                <a:gd name="T7" fmla="*/ 2147483646 h 4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5">
                  <a:moveTo>
                    <a:pt x="0" y="45"/>
                  </a:moveTo>
                  <a:lnTo>
                    <a:pt x="89" y="45"/>
                  </a:lnTo>
                  <a:lnTo>
                    <a:pt x="0" y="0"/>
                  </a:lnTo>
                  <a:lnTo>
                    <a:pt x="0" y="45"/>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09" name="Rectangle 248">
              <a:extLst>
                <a:ext uri="{FF2B5EF4-FFF2-40B4-BE49-F238E27FC236}">
                  <a16:creationId xmlns:a16="http://schemas.microsoft.com/office/drawing/2014/main" id="{74923B43-48B5-2479-9F61-9682DE4DAFF4}"/>
                </a:ext>
              </a:extLst>
            </p:cNvPr>
            <p:cNvSpPr>
              <a:spLocks noChangeArrowheads="1"/>
            </p:cNvSpPr>
            <p:nvPr/>
          </p:nvSpPr>
          <p:spPr bwMode="auto">
            <a:xfrm>
              <a:off x="9526325" y="1976130"/>
              <a:ext cx="141288" cy="71438"/>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10" name="Freeform 249">
              <a:extLst>
                <a:ext uri="{FF2B5EF4-FFF2-40B4-BE49-F238E27FC236}">
                  <a16:creationId xmlns:a16="http://schemas.microsoft.com/office/drawing/2014/main" id="{7C7699A2-6C21-EAD3-27C1-AACFC184B883}"/>
                </a:ext>
              </a:extLst>
            </p:cNvPr>
            <p:cNvSpPr>
              <a:spLocks/>
            </p:cNvSpPr>
            <p:nvPr/>
          </p:nvSpPr>
          <p:spPr bwMode="auto">
            <a:xfrm>
              <a:off x="9526325" y="1976130"/>
              <a:ext cx="141288" cy="71438"/>
            </a:xfrm>
            <a:custGeom>
              <a:avLst/>
              <a:gdLst>
                <a:gd name="T0" fmla="*/ 0 w 89"/>
                <a:gd name="T1" fmla="*/ 2147483646 h 45"/>
                <a:gd name="T2" fmla="*/ 2147483646 w 89"/>
                <a:gd name="T3" fmla="*/ 2147483646 h 45"/>
                <a:gd name="T4" fmla="*/ 0 w 89"/>
                <a:gd name="T5" fmla="*/ 0 h 45"/>
                <a:gd name="T6" fmla="*/ 0 w 89"/>
                <a:gd name="T7" fmla="*/ 2147483646 h 4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5">
                  <a:moveTo>
                    <a:pt x="0" y="45"/>
                  </a:moveTo>
                  <a:lnTo>
                    <a:pt x="89" y="45"/>
                  </a:lnTo>
                  <a:lnTo>
                    <a:pt x="0" y="0"/>
                  </a:lnTo>
                  <a:lnTo>
                    <a:pt x="0" y="45"/>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11" name="Rectangle 250">
              <a:extLst>
                <a:ext uri="{FF2B5EF4-FFF2-40B4-BE49-F238E27FC236}">
                  <a16:creationId xmlns:a16="http://schemas.microsoft.com/office/drawing/2014/main" id="{B0DDDDC0-CF2E-27CA-09A7-E7F06B77944E}"/>
                </a:ext>
              </a:extLst>
            </p:cNvPr>
            <p:cNvSpPr>
              <a:spLocks noChangeArrowheads="1"/>
            </p:cNvSpPr>
            <p:nvPr/>
          </p:nvSpPr>
          <p:spPr bwMode="auto">
            <a:xfrm>
              <a:off x="9342175" y="1976130"/>
              <a:ext cx="146050" cy="71438"/>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12" name="Freeform 251">
              <a:extLst>
                <a:ext uri="{FF2B5EF4-FFF2-40B4-BE49-F238E27FC236}">
                  <a16:creationId xmlns:a16="http://schemas.microsoft.com/office/drawing/2014/main" id="{3C3CC03D-4ABD-6988-ED31-EE8F400DE61B}"/>
                </a:ext>
              </a:extLst>
            </p:cNvPr>
            <p:cNvSpPr>
              <a:spLocks/>
            </p:cNvSpPr>
            <p:nvPr/>
          </p:nvSpPr>
          <p:spPr bwMode="auto">
            <a:xfrm>
              <a:off x="9342175" y="1976130"/>
              <a:ext cx="146050" cy="71438"/>
            </a:xfrm>
            <a:custGeom>
              <a:avLst/>
              <a:gdLst>
                <a:gd name="T0" fmla="*/ 0 w 92"/>
                <a:gd name="T1" fmla="*/ 2147483646 h 45"/>
                <a:gd name="T2" fmla="*/ 2147483646 w 92"/>
                <a:gd name="T3" fmla="*/ 2147483646 h 45"/>
                <a:gd name="T4" fmla="*/ 0 w 92"/>
                <a:gd name="T5" fmla="*/ 0 h 45"/>
                <a:gd name="T6" fmla="*/ 0 w 92"/>
                <a:gd name="T7" fmla="*/ 2147483646 h 4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 h="45">
                  <a:moveTo>
                    <a:pt x="0" y="45"/>
                  </a:moveTo>
                  <a:lnTo>
                    <a:pt x="92" y="45"/>
                  </a:lnTo>
                  <a:lnTo>
                    <a:pt x="0" y="0"/>
                  </a:lnTo>
                  <a:lnTo>
                    <a:pt x="0" y="45"/>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13" name="Rectangle 252">
              <a:extLst>
                <a:ext uri="{FF2B5EF4-FFF2-40B4-BE49-F238E27FC236}">
                  <a16:creationId xmlns:a16="http://schemas.microsoft.com/office/drawing/2014/main" id="{7709DC88-FE77-FF24-977D-1CF2D2E39152}"/>
                </a:ext>
              </a:extLst>
            </p:cNvPr>
            <p:cNvSpPr>
              <a:spLocks noChangeArrowheads="1"/>
            </p:cNvSpPr>
            <p:nvPr/>
          </p:nvSpPr>
          <p:spPr bwMode="auto">
            <a:xfrm>
              <a:off x="10266100" y="1838017"/>
              <a:ext cx="141288" cy="71438"/>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14" name="Freeform 253">
              <a:extLst>
                <a:ext uri="{FF2B5EF4-FFF2-40B4-BE49-F238E27FC236}">
                  <a16:creationId xmlns:a16="http://schemas.microsoft.com/office/drawing/2014/main" id="{156EC66C-99A6-3C38-A7FA-4B1205A0637F}"/>
                </a:ext>
              </a:extLst>
            </p:cNvPr>
            <p:cNvSpPr>
              <a:spLocks/>
            </p:cNvSpPr>
            <p:nvPr/>
          </p:nvSpPr>
          <p:spPr bwMode="auto">
            <a:xfrm>
              <a:off x="10266100" y="1838017"/>
              <a:ext cx="141288" cy="71438"/>
            </a:xfrm>
            <a:custGeom>
              <a:avLst/>
              <a:gdLst>
                <a:gd name="T0" fmla="*/ 0 w 89"/>
                <a:gd name="T1" fmla="*/ 2147483646 h 45"/>
                <a:gd name="T2" fmla="*/ 2147483646 w 89"/>
                <a:gd name="T3" fmla="*/ 2147483646 h 45"/>
                <a:gd name="T4" fmla="*/ 0 w 89"/>
                <a:gd name="T5" fmla="*/ 0 h 45"/>
                <a:gd name="T6" fmla="*/ 0 w 89"/>
                <a:gd name="T7" fmla="*/ 2147483646 h 4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5">
                  <a:moveTo>
                    <a:pt x="0" y="45"/>
                  </a:moveTo>
                  <a:lnTo>
                    <a:pt x="89" y="45"/>
                  </a:lnTo>
                  <a:lnTo>
                    <a:pt x="0" y="0"/>
                  </a:lnTo>
                  <a:lnTo>
                    <a:pt x="0" y="45"/>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15" name="Rectangle 254">
              <a:extLst>
                <a:ext uri="{FF2B5EF4-FFF2-40B4-BE49-F238E27FC236}">
                  <a16:creationId xmlns:a16="http://schemas.microsoft.com/office/drawing/2014/main" id="{9947E722-C05C-AD90-6E33-6FB813F6F4AC}"/>
                </a:ext>
              </a:extLst>
            </p:cNvPr>
            <p:cNvSpPr>
              <a:spLocks noChangeArrowheads="1"/>
            </p:cNvSpPr>
            <p:nvPr/>
          </p:nvSpPr>
          <p:spPr bwMode="auto">
            <a:xfrm>
              <a:off x="10080363" y="1838017"/>
              <a:ext cx="146050" cy="71438"/>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16" name="Freeform 255">
              <a:extLst>
                <a:ext uri="{FF2B5EF4-FFF2-40B4-BE49-F238E27FC236}">
                  <a16:creationId xmlns:a16="http://schemas.microsoft.com/office/drawing/2014/main" id="{0B7A0E49-38B3-B741-09AF-C992D439992F}"/>
                </a:ext>
              </a:extLst>
            </p:cNvPr>
            <p:cNvSpPr>
              <a:spLocks/>
            </p:cNvSpPr>
            <p:nvPr/>
          </p:nvSpPr>
          <p:spPr bwMode="auto">
            <a:xfrm>
              <a:off x="10080363" y="1838017"/>
              <a:ext cx="146050" cy="71438"/>
            </a:xfrm>
            <a:custGeom>
              <a:avLst/>
              <a:gdLst>
                <a:gd name="T0" fmla="*/ 0 w 92"/>
                <a:gd name="T1" fmla="*/ 2147483646 h 45"/>
                <a:gd name="T2" fmla="*/ 2147483646 w 92"/>
                <a:gd name="T3" fmla="*/ 2147483646 h 45"/>
                <a:gd name="T4" fmla="*/ 0 w 92"/>
                <a:gd name="T5" fmla="*/ 0 h 45"/>
                <a:gd name="T6" fmla="*/ 0 w 92"/>
                <a:gd name="T7" fmla="*/ 2147483646 h 4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 h="45">
                  <a:moveTo>
                    <a:pt x="0" y="45"/>
                  </a:moveTo>
                  <a:lnTo>
                    <a:pt x="92" y="45"/>
                  </a:lnTo>
                  <a:lnTo>
                    <a:pt x="0" y="0"/>
                  </a:lnTo>
                  <a:lnTo>
                    <a:pt x="0" y="45"/>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17" name="Rectangle 256">
              <a:extLst>
                <a:ext uri="{FF2B5EF4-FFF2-40B4-BE49-F238E27FC236}">
                  <a16:creationId xmlns:a16="http://schemas.microsoft.com/office/drawing/2014/main" id="{8D39E463-120B-E1C7-C702-B3C3F27C4840}"/>
                </a:ext>
              </a:extLst>
            </p:cNvPr>
            <p:cNvSpPr>
              <a:spLocks noChangeArrowheads="1"/>
            </p:cNvSpPr>
            <p:nvPr/>
          </p:nvSpPr>
          <p:spPr bwMode="auto">
            <a:xfrm>
              <a:off x="9900975" y="1838017"/>
              <a:ext cx="141288" cy="71438"/>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18" name="Freeform 257">
              <a:extLst>
                <a:ext uri="{FF2B5EF4-FFF2-40B4-BE49-F238E27FC236}">
                  <a16:creationId xmlns:a16="http://schemas.microsoft.com/office/drawing/2014/main" id="{4AF7C3A7-3414-7C66-4E49-9E1CE0B2A389}"/>
                </a:ext>
              </a:extLst>
            </p:cNvPr>
            <p:cNvSpPr>
              <a:spLocks/>
            </p:cNvSpPr>
            <p:nvPr/>
          </p:nvSpPr>
          <p:spPr bwMode="auto">
            <a:xfrm>
              <a:off x="9900975" y="1838017"/>
              <a:ext cx="141288" cy="71438"/>
            </a:xfrm>
            <a:custGeom>
              <a:avLst/>
              <a:gdLst>
                <a:gd name="T0" fmla="*/ 0 w 89"/>
                <a:gd name="T1" fmla="*/ 2147483646 h 45"/>
                <a:gd name="T2" fmla="*/ 2147483646 w 89"/>
                <a:gd name="T3" fmla="*/ 2147483646 h 45"/>
                <a:gd name="T4" fmla="*/ 0 w 89"/>
                <a:gd name="T5" fmla="*/ 0 h 45"/>
                <a:gd name="T6" fmla="*/ 0 w 89"/>
                <a:gd name="T7" fmla="*/ 2147483646 h 4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5">
                  <a:moveTo>
                    <a:pt x="0" y="45"/>
                  </a:moveTo>
                  <a:lnTo>
                    <a:pt x="89" y="45"/>
                  </a:lnTo>
                  <a:lnTo>
                    <a:pt x="0" y="0"/>
                  </a:lnTo>
                  <a:lnTo>
                    <a:pt x="0" y="45"/>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19" name="Rectangle 258">
              <a:extLst>
                <a:ext uri="{FF2B5EF4-FFF2-40B4-BE49-F238E27FC236}">
                  <a16:creationId xmlns:a16="http://schemas.microsoft.com/office/drawing/2014/main" id="{CD9EFA40-A607-EF87-FCC9-2D622CA91485}"/>
                </a:ext>
              </a:extLst>
            </p:cNvPr>
            <p:cNvSpPr>
              <a:spLocks noChangeArrowheads="1"/>
            </p:cNvSpPr>
            <p:nvPr/>
          </p:nvSpPr>
          <p:spPr bwMode="auto">
            <a:xfrm>
              <a:off x="10266100" y="1968192"/>
              <a:ext cx="141288" cy="71438"/>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20" name="Freeform 259">
              <a:extLst>
                <a:ext uri="{FF2B5EF4-FFF2-40B4-BE49-F238E27FC236}">
                  <a16:creationId xmlns:a16="http://schemas.microsoft.com/office/drawing/2014/main" id="{832D2A15-1304-844F-C51C-5B99B293DC0E}"/>
                </a:ext>
              </a:extLst>
            </p:cNvPr>
            <p:cNvSpPr>
              <a:spLocks/>
            </p:cNvSpPr>
            <p:nvPr/>
          </p:nvSpPr>
          <p:spPr bwMode="auto">
            <a:xfrm>
              <a:off x="10266100" y="1968192"/>
              <a:ext cx="141288" cy="71438"/>
            </a:xfrm>
            <a:custGeom>
              <a:avLst/>
              <a:gdLst>
                <a:gd name="T0" fmla="*/ 0 w 89"/>
                <a:gd name="T1" fmla="*/ 2147483646 h 45"/>
                <a:gd name="T2" fmla="*/ 2147483646 w 89"/>
                <a:gd name="T3" fmla="*/ 2147483646 h 45"/>
                <a:gd name="T4" fmla="*/ 0 w 89"/>
                <a:gd name="T5" fmla="*/ 0 h 45"/>
                <a:gd name="T6" fmla="*/ 0 w 89"/>
                <a:gd name="T7" fmla="*/ 2147483646 h 4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5">
                  <a:moveTo>
                    <a:pt x="0" y="45"/>
                  </a:moveTo>
                  <a:lnTo>
                    <a:pt x="89" y="45"/>
                  </a:lnTo>
                  <a:lnTo>
                    <a:pt x="0" y="0"/>
                  </a:lnTo>
                  <a:lnTo>
                    <a:pt x="0" y="45"/>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21" name="Rectangle 260">
              <a:extLst>
                <a:ext uri="{FF2B5EF4-FFF2-40B4-BE49-F238E27FC236}">
                  <a16:creationId xmlns:a16="http://schemas.microsoft.com/office/drawing/2014/main" id="{C4767C7F-60A9-5DCB-D765-5DAC83805C6A}"/>
                </a:ext>
              </a:extLst>
            </p:cNvPr>
            <p:cNvSpPr>
              <a:spLocks noChangeArrowheads="1"/>
            </p:cNvSpPr>
            <p:nvPr/>
          </p:nvSpPr>
          <p:spPr bwMode="auto">
            <a:xfrm>
              <a:off x="10080363" y="1968192"/>
              <a:ext cx="146050" cy="71438"/>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22" name="Freeform 261">
              <a:extLst>
                <a:ext uri="{FF2B5EF4-FFF2-40B4-BE49-F238E27FC236}">
                  <a16:creationId xmlns:a16="http://schemas.microsoft.com/office/drawing/2014/main" id="{0484EBB6-31D6-0696-C367-C8FF2E10AF84}"/>
                </a:ext>
              </a:extLst>
            </p:cNvPr>
            <p:cNvSpPr>
              <a:spLocks/>
            </p:cNvSpPr>
            <p:nvPr/>
          </p:nvSpPr>
          <p:spPr bwMode="auto">
            <a:xfrm>
              <a:off x="10080363" y="1968192"/>
              <a:ext cx="146050" cy="71438"/>
            </a:xfrm>
            <a:custGeom>
              <a:avLst/>
              <a:gdLst>
                <a:gd name="T0" fmla="*/ 0 w 92"/>
                <a:gd name="T1" fmla="*/ 2147483646 h 45"/>
                <a:gd name="T2" fmla="*/ 2147483646 w 92"/>
                <a:gd name="T3" fmla="*/ 2147483646 h 45"/>
                <a:gd name="T4" fmla="*/ 0 w 92"/>
                <a:gd name="T5" fmla="*/ 0 h 45"/>
                <a:gd name="T6" fmla="*/ 0 w 92"/>
                <a:gd name="T7" fmla="*/ 2147483646 h 4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 h="45">
                  <a:moveTo>
                    <a:pt x="0" y="45"/>
                  </a:moveTo>
                  <a:lnTo>
                    <a:pt x="92" y="45"/>
                  </a:lnTo>
                  <a:lnTo>
                    <a:pt x="0" y="0"/>
                  </a:lnTo>
                  <a:lnTo>
                    <a:pt x="0" y="45"/>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23" name="Rectangle 262">
              <a:extLst>
                <a:ext uri="{FF2B5EF4-FFF2-40B4-BE49-F238E27FC236}">
                  <a16:creationId xmlns:a16="http://schemas.microsoft.com/office/drawing/2014/main" id="{6CCEE24A-AFFB-BE07-8AAE-92501A643818}"/>
                </a:ext>
              </a:extLst>
            </p:cNvPr>
            <p:cNvSpPr>
              <a:spLocks noChangeArrowheads="1"/>
            </p:cNvSpPr>
            <p:nvPr/>
          </p:nvSpPr>
          <p:spPr bwMode="auto">
            <a:xfrm>
              <a:off x="10266100" y="2098367"/>
              <a:ext cx="141288" cy="6985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24" name="Freeform 263">
              <a:extLst>
                <a:ext uri="{FF2B5EF4-FFF2-40B4-BE49-F238E27FC236}">
                  <a16:creationId xmlns:a16="http://schemas.microsoft.com/office/drawing/2014/main" id="{3F727AF2-726F-FDFD-8409-0712F947F962}"/>
                </a:ext>
              </a:extLst>
            </p:cNvPr>
            <p:cNvSpPr>
              <a:spLocks/>
            </p:cNvSpPr>
            <p:nvPr/>
          </p:nvSpPr>
          <p:spPr bwMode="auto">
            <a:xfrm>
              <a:off x="10266100" y="2098367"/>
              <a:ext cx="141288" cy="69850"/>
            </a:xfrm>
            <a:custGeom>
              <a:avLst/>
              <a:gdLst>
                <a:gd name="T0" fmla="*/ 0 w 89"/>
                <a:gd name="T1" fmla="*/ 2147483646 h 44"/>
                <a:gd name="T2" fmla="*/ 2147483646 w 89"/>
                <a:gd name="T3" fmla="*/ 2147483646 h 44"/>
                <a:gd name="T4" fmla="*/ 0 w 89"/>
                <a:gd name="T5" fmla="*/ 0 h 44"/>
                <a:gd name="T6" fmla="*/ 0 w 89"/>
                <a:gd name="T7" fmla="*/ 2147483646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4">
                  <a:moveTo>
                    <a:pt x="0" y="44"/>
                  </a:moveTo>
                  <a:lnTo>
                    <a:pt x="89" y="44"/>
                  </a:lnTo>
                  <a:lnTo>
                    <a:pt x="0" y="0"/>
                  </a:lnTo>
                  <a:lnTo>
                    <a:pt x="0" y="44"/>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25" name="Rectangle 264">
              <a:extLst>
                <a:ext uri="{FF2B5EF4-FFF2-40B4-BE49-F238E27FC236}">
                  <a16:creationId xmlns:a16="http://schemas.microsoft.com/office/drawing/2014/main" id="{DFE74AA1-1AEF-A2EA-FD14-4282396F0160}"/>
                </a:ext>
              </a:extLst>
            </p:cNvPr>
            <p:cNvSpPr>
              <a:spLocks noChangeArrowheads="1"/>
            </p:cNvSpPr>
            <p:nvPr/>
          </p:nvSpPr>
          <p:spPr bwMode="auto">
            <a:xfrm>
              <a:off x="10080363" y="2098367"/>
              <a:ext cx="146050" cy="6985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26" name="Freeform 265">
              <a:extLst>
                <a:ext uri="{FF2B5EF4-FFF2-40B4-BE49-F238E27FC236}">
                  <a16:creationId xmlns:a16="http://schemas.microsoft.com/office/drawing/2014/main" id="{FC764C15-981A-CEF1-40C0-BB861DDDBB8A}"/>
                </a:ext>
              </a:extLst>
            </p:cNvPr>
            <p:cNvSpPr>
              <a:spLocks/>
            </p:cNvSpPr>
            <p:nvPr/>
          </p:nvSpPr>
          <p:spPr bwMode="auto">
            <a:xfrm>
              <a:off x="10080363" y="2098367"/>
              <a:ext cx="146050" cy="69850"/>
            </a:xfrm>
            <a:custGeom>
              <a:avLst/>
              <a:gdLst>
                <a:gd name="T0" fmla="*/ 0 w 92"/>
                <a:gd name="T1" fmla="*/ 2147483646 h 44"/>
                <a:gd name="T2" fmla="*/ 2147483646 w 92"/>
                <a:gd name="T3" fmla="*/ 2147483646 h 44"/>
                <a:gd name="T4" fmla="*/ 0 w 92"/>
                <a:gd name="T5" fmla="*/ 0 h 44"/>
                <a:gd name="T6" fmla="*/ 0 w 92"/>
                <a:gd name="T7" fmla="*/ 2147483646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 h="44">
                  <a:moveTo>
                    <a:pt x="0" y="44"/>
                  </a:moveTo>
                  <a:lnTo>
                    <a:pt x="92" y="44"/>
                  </a:lnTo>
                  <a:lnTo>
                    <a:pt x="0" y="0"/>
                  </a:lnTo>
                  <a:lnTo>
                    <a:pt x="0" y="44"/>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27" name="Rectangle 266">
              <a:extLst>
                <a:ext uri="{FF2B5EF4-FFF2-40B4-BE49-F238E27FC236}">
                  <a16:creationId xmlns:a16="http://schemas.microsoft.com/office/drawing/2014/main" id="{C944B4ED-2A68-E999-1F53-844CA7530D75}"/>
                </a:ext>
              </a:extLst>
            </p:cNvPr>
            <p:cNvSpPr>
              <a:spLocks noChangeArrowheads="1"/>
            </p:cNvSpPr>
            <p:nvPr/>
          </p:nvSpPr>
          <p:spPr bwMode="auto">
            <a:xfrm>
              <a:off x="9900975" y="2098367"/>
              <a:ext cx="141288" cy="6985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28" name="Freeform 267">
              <a:extLst>
                <a:ext uri="{FF2B5EF4-FFF2-40B4-BE49-F238E27FC236}">
                  <a16:creationId xmlns:a16="http://schemas.microsoft.com/office/drawing/2014/main" id="{BC7EBA6B-9EA6-3D47-E976-20F7D3E46A78}"/>
                </a:ext>
              </a:extLst>
            </p:cNvPr>
            <p:cNvSpPr>
              <a:spLocks/>
            </p:cNvSpPr>
            <p:nvPr/>
          </p:nvSpPr>
          <p:spPr bwMode="auto">
            <a:xfrm>
              <a:off x="9900975" y="2098367"/>
              <a:ext cx="141288" cy="69850"/>
            </a:xfrm>
            <a:custGeom>
              <a:avLst/>
              <a:gdLst>
                <a:gd name="T0" fmla="*/ 0 w 89"/>
                <a:gd name="T1" fmla="*/ 2147483646 h 44"/>
                <a:gd name="T2" fmla="*/ 2147483646 w 89"/>
                <a:gd name="T3" fmla="*/ 2147483646 h 44"/>
                <a:gd name="T4" fmla="*/ 0 w 89"/>
                <a:gd name="T5" fmla="*/ 0 h 44"/>
                <a:gd name="T6" fmla="*/ 0 w 89"/>
                <a:gd name="T7" fmla="*/ 2147483646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4">
                  <a:moveTo>
                    <a:pt x="0" y="44"/>
                  </a:moveTo>
                  <a:lnTo>
                    <a:pt x="89" y="44"/>
                  </a:lnTo>
                  <a:lnTo>
                    <a:pt x="0" y="0"/>
                  </a:lnTo>
                  <a:lnTo>
                    <a:pt x="0" y="44"/>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29" name="Rectangle 268">
              <a:extLst>
                <a:ext uri="{FF2B5EF4-FFF2-40B4-BE49-F238E27FC236}">
                  <a16:creationId xmlns:a16="http://schemas.microsoft.com/office/drawing/2014/main" id="{BE560726-8496-47DB-1D17-5B3B77D15028}"/>
                </a:ext>
              </a:extLst>
            </p:cNvPr>
            <p:cNvSpPr>
              <a:spLocks noChangeArrowheads="1"/>
            </p:cNvSpPr>
            <p:nvPr/>
          </p:nvSpPr>
          <p:spPr bwMode="auto">
            <a:xfrm>
              <a:off x="10266100" y="2228542"/>
              <a:ext cx="141288" cy="6985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30" name="Freeform 269">
              <a:extLst>
                <a:ext uri="{FF2B5EF4-FFF2-40B4-BE49-F238E27FC236}">
                  <a16:creationId xmlns:a16="http://schemas.microsoft.com/office/drawing/2014/main" id="{E7995F55-91DD-7C7F-E541-3F7ECC59AC55}"/>
                </a:ext>
              </a:extLst>
            </p:cNvPr>
            <p:cNvSpPr>
              <a:spLocks/>
            </p:cNvSpPr>
            <p:nvPr/>
          </p:nvSpPr>
          <p:spPr bwMode="auto">
            <a:xfrm>
              <a:off x="10266100" y="2228542"/>
              <a:ext cx="141288" cy="69850"/>
            </a:xfrm>
            <a:custGeom>
              <a:avLst/>
              <a:gdLst>
                <a:gd name="T0" fmla="*/ 0 w 89"/>
                <a:gd name="T1" fmla="*/ 2147483646 h 44"/>
                <a:gd name="T2" fmla="*/ 2147483646 w 89"/>
                <a:gd name="T3" fmla="*/ 2147483646 h 44"/>
                <a:gd name="T4" fmla="*/ 0 w 89"/>
                <a:gd name="T5" fmla="*/ 0 h 44"/>
                <a:gd name="T6" fmla="*/ 0 w 89"/>
                <a:gd name="T7" fmla="*/ 2147483646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4">
                  <a:moveTo>
                    <a:pt x="0" y="44"/>
                  </a:moveTo>
                  <a:lnTo>
                    <a:pt x="89" y="44"/>
                  </a:lnTo>
                  <a:lnTo>
                    <a:pt x="0" y="0"/>
                  </a:lnTo>
                  <a:lnTo>
                    <a:pt x="0" y="44"/>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31" name="Rectangle 270">
              <a:extLst>
                <a:ext uri="{FF2B5EF4-FFF2-40B4-BE49-F238E27FC236}">
                  <a16:creationId xmlns:a16="http://schemas.microsoft.com/office/drawing/2014/main" id="{4F9AC5FB-4F09-2D6C-1794-5E1C0FF98EA3}"/>
                </a:ext>
              </a:extLst>
            </p:cNvPr>
            <p:cNvSpPr>
              <a:spLocks noChangeArrowheads="1"/>
            </p:cNvSpPr>
            <p:nvPr/>
          </p:nvSpPr>
          <p:spPr bwMode="auto">
            <a:xfrm>
              <a:off x="9900975" y="2228542"/>
              <a:ext cx="141288" cy="6985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32" name="Freeform 271">
              <a:extLst>
                <a:ext uri="{FF2B5EF4-FFF2-40B4-BE49-F238E27FC236}">
                  <a16:creationId xmlns:a16="http://schemas.microsoft.com/office/drawing/2014/main" id="{C469454A-580E-4E69-C2D3-796C8C198F83}"/>
                </a:ext>
              </a:extLst>
            </p:cNvPr>
            <p:cNvSpPr>
              <a:spLocks/>
            </p:cNvSpPr>
            <p:nvPr/>
          </p:nvSpPr>
          <p:spPr bwMode="auto">
            <a:xfrm>
              <a:off x="9900975" y="2228542"/>
              <a:ext cx="141288" cy="69850"/>
            </a:xfrm>
            <a:custGeom>
              <a:avLst/>
              <a:gdLst>
                <a:gd name="T0" fmla="*/ 0 w 89"/>
                <a:gd name="T1" fmla="*/ 2147483646 h 44"/>
                <a:gd name="T2" fmla="*/ 2147483646 w 89"/>
                <a:gd name="T3" fmla="*/ 2147483646 h 44"/>
                <a:gd name="T4" fmla="*/ 0 w 89"/>
                <a:gd name="T5" fmla="*/ 0 h 44"/>
                <a:gd name="T6" fmla="*/ 0 w 89"/>
                <a:gd name="T7" fmla="*/ 2147483646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4">
                  <a:moveTo>
                    <a:pt x="0" y="44"/>
                  </a:moveTo>
                  <a:lnTo>
                    <a:pt x="89" y="44"/>
                  </a:lnTo>
                  <a:lnTo>
                    <a:pt x="0" y="0"/>
                  </a:lnTo>
                  <a:lnTo>
                    <a:pt x="0" y="44"/>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33" name="Rectangle 272">
              <a:extLst>
                <a:ext uri="{FF2B5EF4-FFF2-40B4-BE49-F238E27FC236}">
                  <a16:creationId xmlns:a16="http://schemas.microsoft.com/office/drawing/2014/main" id="{C56A9C14-10A0-41B2-0AF0-4F0D16F68872}"/>
                </a:ext>
              </a:extLst>
            </p:cNvPr>
            <p:cNvSpPr>
              <a:spLocks noChangeArrowheads="1"/>
            </p:cNvSpPr>
            <p:nvPr/>
          </p:nvSpPr>
          <p:spPr bwMode="auto">
            <a:xfrm>
              <a:off x="9712063" y="1838017"/>
              <a:ext cx="141288" cy="71438"/>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34" name="Freeform 273">
              <a:extLst>
                <a:ext uri="{FF2B5EF4-FFF2-40B4-BE49-F238E27FC236}">
                  <a16:creationId xmlns:a16="http://schemas.microsoft.com/office/drawing/2014/main" id="{E9DA8D96-E969-609B-404B-1480FA5208CD}"/>
                </a:ext>
              </a:extLst>
            </p:cNvPr>
            <p:cNvSpPr>
              <a:spLocks/>
            </p:cNvSpPr>
            <p:nvPr/>
          </p:nvSpPr>
          <p:spPr bwMode="auto">
            <a:xfrm>
              <a:off x="9712063" y="1838017"/>
              <a:ext cx="141288" cy="71438"/>
            </a:xfrm>
            <a:custGeom>
              <a:avLst/>
              <a:gdLst>
                <a:gd name="T0" fmla="*/ 0 w 89"/>
                <a:gd name="T1" fmla="*/ 2147483646 h 45"/>
                <a:gd name="T2" fmla="*/ 2147483646 w 89"/>
                <a:gd name="T3" fmla="*/ 2147483646 h 45"/>
                <a:gd name="T4" fmla="*/ 0 w 89"/>
                <a:gd name="T5" fmla="*/ 0 h 45"/>
                <a:gd name="T6" fmla="*/ 0 w 89"/>
                <a:gd name="T7" fmla="*/ 2147483646 h 4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5">
                  <a:moveTo>
                    <a:pt x="0" y="45"/>
                  </a:moveTo>
                  <a:lnTo>
                    <a:pt x="89" y="45"/>
                  </a:lnTo>
                  <a:lnTo>
                    <a:pt x="0" y="0"/>
                  </a:lnTo>
                  <a:lnTo>
                    <a:pt x="0" y="45"/>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35" name="Rectangle 274">
              <a:extLst>
                <a:ext uri="{FF2B5EF4-FFF2-40B4-BE49-F238E27FC236}">
                  <a16:creationId xmlns:a16="http://schemas.microsoft.com/office/drawing/2014/main" id="{03AD8C65-FE1D-D5B5-E96D-59A5A10DB500}"/>
                </a:ext>
              </a:extLst>
            </p:cNvPr>
            <p:cNvSpPr>
              <a:spLocks noChangeArrowheads="1"/>
            </p:cNvSpPr>
            <p:nvPr/>
          </p:nvSpPr>
          <p:spPr bwMode="auto">
            <a:xfrm>
              <a:off x="9526325" y="1838017"/>
              <a:ext cx="141288" cy="71438"/>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36" name="Freeform 275">
              <a:extLst>
                <a:ext uri="{FF2B5EF4-FFF2-40B4-BE49-F238E27FC236}">
                  <a16:creationId xmlns:a16="http://schemas.microsoft.com/office/drawing/2014/main" id="{4692972A-26E5-8606-46A8-AA4793AC162F}"/>
                </a:ext>
              </a:extLst>
            </p:cNvPr>
            <p:cNvSpPr>
              <a:spLocks/>
            </p:cNvSpPr>
            <p:nvPr/>
          </p:nvSpPr>
          <p:spPr bwMode="auto">
            <a:xfrm>
              <a:off x="9526325" y="1838017"/>
              <a:ext cx="141288" cy="71438"/>
            </a:xfrm>
            <a:custGeom>
              <a:avLst/>
              <a:gdLst>
                <a:gd name="T0" fmla="*/ 0 w 89"/>
                <a:gd name="T1" fmla="*/ 2147483646 h 45"/>
                <a:gd name="T2" fmla="*/ 2147483646 w 89"/>
                <a:gd name="T3" fmla="*/ 2147483646 h 45"/>
                <a:gd name="T4" fmla="*/ 0 w 89"/>
                <a:gd name="T5" fmla="*/ 0 h 45"/>
                <a:gd name="T6" fmla="*/ 0 w 89"/>
                <a:gd name="T7" fmla="*/ 2147483646 h 4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5">
                  <a:moveTo>
                    <a:pt x="0" y="45"/>
                  </a:moveTo>
                  <a:lnTo>
                    <a:pt x="89" y="45"/>
                  </a:lnTo>
                  <a:lnTo>
                    <a:pt x="0" y="0"/>
                  </a:lnTo>
                  <a:lnTo>
                    <a:pt x="0" y="45"/>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37" name="Rectangle 276">
              <a:extLst>
                <a:ext uri="{FF2B5EF4-FFF2-40B4-BE49-F238E27FC236}">
                  <a16:creationId xmlns:a16="http://schemas.microsoft.com/office/drawing/2014/main" id="{40601239-9129-831A-BA85-CE0CE39D240B}"/>
                </a:ext>
              </a:extLst>
            </p:cNvPr>
            <p:cNvSpPr>
              <a:spLocks noChangeArrowheads="1"/>
            </p:cNvSpPr>
            <p:nvPr/>
          </p:nvSpPr>
          <p:spPr bwMode="auto">
            <a:xfrm>
              <a:off x="9342175" y="1838017"/>
              <a:ext cx="146050" cy="71438"/>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38" name="Freeform 277">
              <a:extLst>
                <a:ext uri="{FF2B5EF4-FFF2-40B4-BE49-F238E27FC236}">
                  <a16:creationId xmlns:a16="http://schemas.microsoft.com/office/drawing/2014/main" id="{CCCD3555-8E2D-69CB-B08F-79764EC1060F}"/>
                </a:ext>
              </a:extLst>
            </p:cNvPr>
            <p:cNvSpPr>
              <a:spLocks/>
            </p:cNvSpPr>
            <p:nvPr/>
          </p:nvSpPr>
          <p:spPr bwMode="auto">
            <a:xfrm>
              <a:off x="9342175" y="1838017"/>
              <a:ext cx="146050" cy="71438"/>
            </a:xfrm>
            <a:custGeom>
              <a:avLst/>
              <a:gdLst>
                <a:gd name="T0" fmla="*/ 0 w 92"/>
                <a:gd name="T1" fmla="*/ 2147483646 h 45"/>
                <a:gd name="T2" fmla="*/ 2147483646 w 92"/>
                <a:gd name="T3" fmla="*/ 2147483646 h 45"/>
                <a:gd name="T4" fmla="*/ 0 w 92"/>
                <a:gd name="T5" fmla="*/ 0 h 45"/>
                <a:gd name="T6" fmla="*/ 0 w 92"/>
                <a:gd name="T7" fmla="*/ 2147483646 h 4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 h="45">
                  <a:moveTo>
                    <a:pt x="0" y="45"/>
                  </a:moveTo>
                  <a:lnTo>
                    <a:pt x="92" y="45"/>
                  </a:lnTo>
                  <a:lnTo>
                    <a:pt x="0" y="0"/>
                  </a:lnTo>
                  <a:lnTo>
                    <a:pt x="0" y="45"/>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39" name="Rectangle 278">
              <a:extLst>
                <a:ext uri="{FF2B5EF4-FFF2-40B4-BE49-F238E27FC236}">
                  <a16:creationId xmlns:a16="http://schemas.microsoft.com/office/drawing/2014/main" id="{D836D9CE-A3F2-E359-1232-4508DF7FE6D7}"/>
                </a:ext>
              </a:extLst>
            </p:cNvPr>
            <p:cNvSpPr>
              <a:spLocks noChangeArrowheads="1"/>
            </p:cNvSpPr>
            <p:nvPr/>
          </p:nvSpPr>
          <p:spPr bwMode="auto">
            <a:xfrm>
              <a:off x="9712063" y="2098367"/>
              <a:ext cx="141288" cy="6985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40" name="Freeform 279">
              <a:extLst>
                <a:ext uri="{FF2B5EF4-FFF2-40B4-BE49-F238E27FC236}">
                  <a16:creationId xmlns:a16="http://schemas.microsoft.com/office/drawing/2014/main" id="{DC334FB9-CF89-5061-50C1-29934A83C450}"/>
                </a:ext>
              </a:extLst>
            </p:cNvPr>
            <p:cNvSpPr>
              <a:spLocks/>
            </p:cNvSpPr>
            <p:nvPr/>
          </p:nvSpPr>
          <p:spPr bwMode="auto">
            <a:xfrm>
              <a:off x="9712063" y="2098367"/>
              <a:ext cx="141288" cy="69850"/>
            </a:xfrm>
            <a:custGeom>
              <a:avLst/>
              <a:gdLst>
                <a:gd name="T0" fmla="*/ 0 w 89"/>
                <a:gd name="T1" fmla="*/ 2147483646 h 44"/>
                <a:gd name="T2" fmla="*/ 2147483646 w 89"/>
                <a:gd name="T3" fmla="*/ 2147483646 h 44"/>
                <a:gd name="T4" fmla="*/ 0 w 89"/>
                <a:gd name="T5" fmla="*/ 0 h 44"/>
                <a:gd name="T6" fmla="*/ 0 w 89"/>
                <a:gd name="T7" fmla="*/ 2147483646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4">
                  <a:moveTo>
                    <a:pt x="0" y="44"/>
                  </a:moveTo>
                  <a:lnTo>
                    <a:pt x="89" y="44"/>
                  </a:lnTo>
                  <a:lnTo>
                    <a:pt x="0" y="0"/>
                  </a:lnTo>
                  <a:lnTo>
                    <a:pt x="0" y="44"/>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41" name="Rectangle 280">
              <a:extLst>
                <a:ext uri="{FF2B5EF4-FFF2-40B4-BE49-F238E27FC236}">
                  <a16:creationId xmlns:a16="http://schemas.microsoft.com/office/drawing/2014/main" id="{4F022166-BC77-F697-4019-D8FDC315207C}"/>
                </a:ext>
              </a:extLst>
            </p:cNvPr>
            <p:cNvSpPr>
              <a:spLocks noChangeArrowheads="1"/>
            </p:cNvSpPr>
            <p:nvPr/>
          </p:nvSpPr>
          <p:spPr bwMode="auto">
            <a:xfrm>
              <a:off x="9526325" y="2098367"/>
              <a:ext cx="141288" cy="6985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42" name="Freeform 281">
              <a:extLst>
                <a:ext uri="{FF2B5EF4-FFF2-40B4-BE49-F238E27FC236}">
                  <a16:creationId xmlns:a16="http://schemas.microsoft.com/office/drawing/2014/main" id="{A66B0557-6E0E-C9C9-985A-2578E46ECFF0}"/>
                </a:ext>
              </a:extLst>
            </p:cNvPr>
            <p:cNvSpPr>
              <a:spLocks/>
            </p:cNvSpPr>
            <p:nvPr/>
          </p:nvSpPr>
          <p:spPr bwMode="auto">
            <a:xfrm>
              <a:off x="9526325" y="2098367"/>
              <a:ext cx="141288" cy="69850"/>
            </a:xfrm>
            <a:custGeom>
              <a:avLst/>
              <a:gdLst>
                <a:gd name="T0" fmla="*/ 0 w 89"/>
                <a:gd name="T1" fmla="*/ 2147483646 h 44"/>
                <a:gd name="T2" fmla="*/ 2147483646 w 89"/>
                <a:gd name="T3" fmla="*/ 2147483646 h 44"/>
                <a:gd name="T4" fmla="*/ 0 w 89"/>
                <a:gd name="T5" fmla="*/ 0 h 44"/>
                <a:gd name="T6" fmla="*/ 0 w 89"/>
                <a:gd name="T7" fmla="*/ 2147483646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4">
                  <a:moveTo>
                    <a:pt x="0" y="44"/>
                  </a:moveTo>
                  <a:lnTo>
                    <a:pt x="89" y="44"/>
                  </a:lnTo>
                  <a:lnTo>
                    <a:pt x="0" y="0"/>
                  </a:lnTo>
                  <a:lnTo>
                    <a:pt x="0" y="44"/>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43" name="Rectangle 282">
              <a:extLst>
                <a:ext uri="{FF2B5EF4-FFF2-40B4-BE49-F238E27FC236}">
                  <a16:creationId xmlns:a16="http://schemas.microsoft.com/office/drawing/2014/main" id="{C6C604E0-5B98-8C7A-765B-4571B160804F}"/>
                </a:ext>
              </a:extLst>
            </p:cNvPr>
            <p:cNvSpPr>
              <a:spLocks noChangeArrowheads="1"/>
            </p:cNvSpPr>
            <p:nvPr/>
          </p:nvSpPr>
          <p:spPr bwMode="auto">
            <a:xfrm>
              <a:off x="9342175" y="2098367"/>
              <a:ext cx="146050" cy="6985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44" name="Freeform 283">
              <a:extLst>
                <a:ext uri="{FF2B5EF4-FFF2-40B4-BE49-F238E27FC236}">
                  <a16:creationId xmlns:a16="http://schemas.microsoft.com/office/drawing/2014/main" id="{080DA195-FB5C-C497-1EC0-B6EF478E8134}"/>
                </a:ext>
              </a:extLst>
            </p:cNvPr>
            <p:cNvSpPr>
              <a:spLocks/>
            </p:cNvSpPr>
            <p:nvPr/>
          </p:nvSpPr>
          <p:spPr bwMode="auto">
            <a:xfrm>
              <a:off x="9342175" y="2098367"/>
              <a:ext cx="146050" cy="69850"/>
            </a:xfrm>
            <a:custGeom>
              <a:avLst/>
              <a:gdLst>
                <a:gd name="T0" fmla="*/ 0 w 92"/>
                <a:gd name="T1" fmla="*/ 2147483646 h 44"/>
                <a:gd name="T2" fmla="*/ 2147483646 w 92"/>
                <a:gd name="T3" fmla="*/ 2147483646 h 44"/>
                <a:gd name="T4" fmla="*/ 0 w 92"/>
                <a:gd name="T5" fmla="*/ 0 h 44"/>
                <a:gd name="T6" fmla="*/ 0 w 92"/>
                <a:gd name="T7" fmla="*/ 2147483646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 h="44">
                  <a:moveTo>
                    <a:pt x="0" y="44"/>
                  </a:moveTo>
                  <a:lnTo>
                    <a:pt x="92" y="44"/>
                  </a:lnTo>
                  <a:lnTo>
                    <a:pt x="0" y="0"/>
                  </a:lnTo>
                  <a:lnTo>
                    <a:pt x="0" y="44"/>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45" name="Rectangle 284">
              <a:extLst>
                <a:ext uri="{FF2B5EF4-FFF2-40B4-BE49-F238E27FC236}">
                  <a16:creationId xmlns:a16="http://schemas.microsoft.com/office/drawing/2014/main" id="{9FC42773-2DDC-8434-10A2-2E9E1E1BB78D}"/>
                </a:ext>
              </a:extLst>
            </p:cNvPr>
            <p:cNvSpPr>
              <a:spLocks noChangeArrowheads="1"/>
            </p:cNvSpPr>
            <p:nvPr/>
          </p:nvSpPr>
          <p:spPr bwMode="auto">
            <a:xfrm>
              <a:off x="9712063" y="2228542"/>
              <a:ext cx="141288" cy="6985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46" name="Freeform 285">
              <a:extLst>
                <a:ext uri="{FF2B5EF4-FFF2-40B4-BE49-F238E27FC236}">
                  <a16:creationId xmlns:a16="http://schemas.microsoft.com/office/drawing/2014/main" id="{B6DC177E-C7AD-C208-8566-305B88FB4D76}"/>
                </a:ext>
              </a:extLst>
            </p:cNvPr>
            <p:cNvSpPr>
              <a:spLocks/>
            </p:cNvSpPr>
            <p:nvPr/>
          </p:nvSpPr>
          <p:spPr bwMode="auto">
            <a:xfrm>
              <a:off x="9712063" y="2228542"/>
              <a:ext cx="141288" cy="69850"/>
            </a:xfrm>
            <a:custGeom>
              <a:avLst/>
              <a:gdLst>
                <a:gd name="T0" fmla="*/ 0 w 89"/>
                <a:gd name="T1" fmla="*/ 2147483646 h 44"/>
                <a:gd name="T2" fmla="*/ 2147483646 w 89"/>
                <a:gd name="T3" fmla="*/ 2147483646 h 44"/>
                <a:gd name="T4" fmla="*/ 0 w 89"/>
                <a:gd name="T5" fmla="*/ 0 h 44"/>
                <a:gd name="T6" fmla="*/ 0 w 89"/>
                <a:gd name="T7" fmla="*/ 2147483646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4">
                  <a:moveTo>
                    <a:pt x="0" y="44"/>
                  </a:moveTo>
                  <a:lnTo>
                    <a:pt x="89" y="44"/>
                  </a:lnTo>
                  <a:lnTo>
                    <a:pt x="0" y="0"/>
                  </a:lnTo>
                  <a:lnTo>
                    <a:pt x="0" y="44"/>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47" name="Rectangle 286">
              <a:extLst>
                <a:ext uri="{FF2B5EF4-FFF2-40B4-BE49-F238E27FC236}">
                  <a16:creationId xmlns:a16="http://schemas.microsoft.com/office/drawing/2014/main" id="{FF607BD0-E7F0-94AA-0C26-A1E332A6E18F}"/>
                </a:ext>
              </a:extLst>
            </p:cNvPr>
            <p:cNvSpPr>
              <a:spLocks noChangeArrowheads="1"/>
            </p:cNvSpPr>
            <p:nvPr/>
          </p:nvSpPr>
          <p:spPr bwMode="auto">
            <a:xfrm>
              <a:off x="9526325" y="2228542"/>
              <a:ext cx="141288" cy="6985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48" name="Freeform 287">
              <a:extLst>
                <a:ext uri="{FF2B5EF4-FFF2-40B4-BE49-F238E27FC236}">
                  <a16:creationId xmlns:a16="http://schemas.microsoft.com/office/drawing/2014/main" id="{DB1F184F-E168-75F2-97F5-22CB39A2BEB1}"/>
                </a:ext>
              </a:extLst>
            </p:cNvPr>
            <p:cNvSpPr>
              <a:spLocks/>
            </p:cNvSpPr>
            <p:nvPr/>
          </p:nvSpPr>
          <p:spPr bwMode="auto">
            <a:xfrm>
              <a:off x="9526325" y="2228542"/>
              <a:ext cx="141288" cy="69850"/>
            </a:xfrm>
            <a:custGeom>
              <a:avLst/>
              <a:gdLst>
                <a:gd name="T0" fmla="*/ 0 w 89"/>
                <a:gd name="T1" fmla="*/ 2147483646 h 44"/>
                <a:gd name="T2" fmla="*/ 2147483646 w 89"/>
                <a:gd name="T3" fmla="*/ 2147483646 h 44"/>
                <a:gd name="T4" fmla="*/ 0 w 89"/>
                <a:gd name="T5" fmla="*/ 0 h 44"/>
                <a:gd name="T6" fmla="*/ 0 w 89"/>
                <a:gd name="T7" fmla="*/ 2147483646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4">
                  <a:moveTo>
                    <a:pt x="0" y="44"/>
                  </a:moveTo>
                  <a:lnTo>
                    <a:pt x="89" y="44"/>
                  </a:lnTo>
                  <a:lnTo>
                    <a:pt x="0" y="0"/>
                  </a:lnTo>
                  <a:lnTo>
                    <a:pt x="0" y="44"/>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49" name="Rectangle 288">
              <a:extLst>
                <a:ext uri="{FF2B5EF4-FFF2-40B4-BE49-F238E27FC236}">
                  <a16:creationId xmlns:a16="http://schemas.microsoft.com/office/drawing/2014/main" id="{A04C4D38-A783-4B34-D80F-7911D56AEA8B}"/>
                </a:ext>
              </a:extLst>
            </p:cNvPr>
            <p:cNvSpPr>
              <a:spLocks noChangeArrowheads="1"/>
            </p:cNvSpPr>
            <p:nvPr/>
          </p:nvSpPr>
          <p:spPr bwMode="auto">
            <a:xfrm>
              <a:off x="9342175" y="2228542"/>
              <a:ext cx="146050" cy="6985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50" name="Freeform 289">
              <a:extLst>
                <a:ext uri="{FF2B5EF4-FFF2-40B4-BE49-F238E27FC236}">
                  <a16:creationId xmlns:a16="http://schemas.microsoft.com/office/drawing/2014/main" id="{D1CAC6A0-BF9D-9426-D8AB-20970E615465}"/>
                </a:ext>
              </a:extLst>
            </p:cNvPr>
            <p:cNvSpPr>
              <a:spLocks/>
            </p:cNvSpPr>
            <p:nvPr/>
          </p:nvSpPr>
          <p:spPr bwMode="auto">
            <a:xfrm>
              <a:off x="9342175" y="2228542"/>
              <a:ext cx="146050" cy="69850"/>
            </a:xfrm>
            <a:custGeom>
              <a:avLst/>
              <a:gdLst>
                <a:gd name="T0" fmla="*/ 0 w 92"/>
                <a:gd name="T1" fmla="*/ 2147483646 h 44"/>
                <a:gd name="T2" fmla="*/ 2147483646 w 92"/>
                <a:gd name="T3" fmla="*/ 2147483646 h 44"/>
                <a:gd name="T4" fmla="*/ 0 w 92"/>
                <a:gd name="T5" fmla="*/ 0 h 44"/>
                <a:gd name="T6" fmla="*/ 0 w 92"/>
                <a:gd name="T7" fmla="*/ 2147483646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 h="44">
                  <a:moveTo>
                    <a:pt x="0" y="44"/>
                  </a:moveTo>
                  <a:lnTo>
                    <a:pt x="92" y="44"/>
                  </a:lnTo>
                  <a:lnTo>
                    <a:pt x="0" y="0"/>
                  </a:lnTo>
                  <a:lnTo>
                    <a:pt x="0" y="44"/>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51" name="Rectangle 290">
              <a:extLst>
                <a:ext uri="{FF2B5EF4-FFF2-40B4-BE49-F238E27FC236}">
                  <a16:creationId xmlns:a16="http://schemas.microsoft.com/office/drawing/2014/main" id="{0A1ADEFC-A685-9981-3E7B-B01617CF3C65}"/>
                </a:ext>
              </a:extLst>
            </p:cNvPr>
            <p:cNvSpPr>
              <a:spLocks noChangeArrowheads="1"/>
            </p:cNvSpPr>
            <p:nvPr/>
          </p:nvSpPr>
          <p:spPr bwMode="auto">
            <a:xfrm>
              <a:off x="10266100" y="2373005"/>
              <a:ext cx="141288" cy="7620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52" name="Freeform 291">
              <a:extLst>
                <a:ext uri="{FF2B5EF4-FFF2-40B4-BE49-F238E27FC236}">
                  <a16:creationId xmlns:a16="http://schemas.microsoft.com/office/drawing/2014/main" id="{D0564F8E-A41E-CF5B-D20A-B60A9CF3B671}"/>
                </a:ext>
              </a:extLst>
            </p:cNvPr>
            <p:cNvSpPr>
              <a:spLocks/>
            </p:cNvSpPr>
            <p:nvPr/>
          </p:nvSpPr>
          <p:spPr bwMode="auto">
            <a:xfrm>
              <a:off x="10266100" y="2373005"/>
              <a:ext cx="141288" cy="76200"/>
            </a:xfrm>
            <a:custGeom>
              <a:avLst/>
              <a:gdLst>
                <a:gd name="T0" fmla="*/ 0 w 89"/>
                <a:gd name="T1" fmla="*/ 2147483646 h 48"/>
                <a:gd name="T2" fmla="*/ 2147483646 w 89"/>
                <a:gd name="T3" fmla="*/ 2147483646 h 48"/>
                <a:gd name="T4" fmla="*/ 0 w 89"/>
                <a:gd name="T5" fmla="*/ 0 h 48"/>
                <a:gd name="T6" fmla="*/ 0 w 89"/>
                <a:gd name="T7" fmla="*/ 2147483646 h 4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8">
                  <a:moveTo>
                    <a:pt x="0" y="48"/>
                  </a:moveTo>
                  <a:lnTo>
                    <a:pt x="89" y="48"/>
                  </a:lnTo>
                  <a:lnTo>
                    <a:pt x="0" y="0"/>
                  </a:lnTo>
                  <a:lnTo>
                    <a:pt x="0" y="48"/>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53" name="Rectangle 292">
              <a:extLst>
                <a:ext uri="{FF2B5EF4-FFF2-40B4-BE49-F238E27FC236}">
                  <a16:creationId xmlns:a16="http://schemas.microsoft.com/office/drawing/2014/main" id="{642A7448-822C-6BD4-9A7E-F7D9DEEB380C}"/>
                </a:ext>
              </a:extLst>
            </p:cNvPr>
            <p:cNvSpPr>
              <a:spLocks noChangeArrowheads="1"/>
            </p:cNvSpPr>
            <p:nvPr/>
          </p:nvSpPr>
          <p:spPr bwMode="auto">
            <a:xfrm>
              <a:off x="10080363" y="2373005"/>
              <a:ext cx="146050" cy="7620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54" name="Freeform 293">
              <a:extLst>
                <a:ext uri="{FF2B5EF4-FFF2-40B4-BE49-F238E27FC236}">
                  <a16:creationId xmlns:a16="http://schemas.microsoft.com/office/drawing/2014/main" id="{3234C140-DA7F-06EC-A42A-84B9FC79F74E}"/>
                </a:ext>
              </a:extLst>
            </p:cNvPr>
            <p:cNvSpPr>
              <a:spLocks/>
            </p:cNvSpPr>
            <p:nvPr/>
          </p:nvSpPr>
          <p:spPr bwMode="auto">
            <a:xfrm>
              <a:off x="10080363" y="2373005"/>
              <a:ext cx="146050" cy="76200"/>
            </a:xfrm>
            <a:custGeom>
              <a:avLst/>
              <a:gdLst>
                <a:gd name="T0" fmla="*/ 0 w 92"/>
                <a:gd name="T1" fmla="*/ 2147483646 h 48"/>
                <a:gd name="T2" fmla="*/ 2147483646 w 92"/>
                <a:gd name="T3" fmla="*/ 2147483646 h 48"/>
                <a:gd name="T4" fmla="*/ 0 w 92"/>
                <a:gd name="T5" fmla="*/ 0 h 48"/>
                <a:gd name="T6" fmla="*/ 0 w 92"/>
                <a:gd name="T7" fmla="*/ 2147483646 h 4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 h="48">
                  <a:moveTo>
                    <a:pt x="0" y="48"/>
                  </a:moveTo>
                  <a:lnTo>
                    <a:pt x="92" y="48"/>
                  </a:lnTo>
                  <a:lnTo>
                    <a:pt x="0" y="0"/>
                  </a:lnTo>
                  <a:lnTo>
                    <a:pt x="0" y="48"/>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55" name="Rectangle 294">
              <a:extLst>
                <a:ext uri="{FF2B5EF4-FFF2-40B4-BE49-F238E27FC236}">
                  <a16:creationId xmlns:a16="http://schemas.microsoft.com/office/drawing/2014/main" id="{A38E6538-C6EB-D0A6-46C5-76433D4361B0}"/>
                </a:ext>
              </a:extLst>
            </p:cNvPr>
            <p:cNvSpPr>
              <a:spLocks noChangeArrowheads="1"/>
            </p:cNvSpPr>
            <p:nvPr/>
          </p:nvSpPr>
          <p:spPr bwMode="auto">
            <a:xfrm>
              <a:off x="9900975" y="2373005"/>
              <a:ext cx="141288" cy="7620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56" name="Freeform 295">
              <a:extLst>
                <a:ext uri="{FF2B5EF4-FFF2-40B4-BE49-F238E27FC236}">
                  <a16:creationId xmlns:a16="http://schemas.microsoft.com/office/drawing/2014/main" id="{C1AE6AF0-0E80-62A1-7895-E311049A365F}"/>
                </a:ext>
              </a:extLst>
            </p:cNvPr>
            <p:cNvSpPr>
              <a:spLocks/>
            </p:cNvSpPr>
            <p:nvPr/>
          </p:nvSpPr>
          <p:spPr bwMode="auto">
            <a:xfrm>
              <a:off x="9900975" y="2373005"/>
              <a:ext cx="141288" cy="76200"/>
            </a:xfrm>
            <a:custGeom>
              <a:avLst/>
              <a:gdLst>
                <a:gd name="T0" fmla="*/ 0 w 89"/>
                <a:gd name="T1" fmla="*/ 2147483646 h 48"/>
                <a:gd name="T2" fmla="*/ 2147483646 w 89"/>
                <a:gd name="T3" fmla="*/ 2147483646 h 48"/>
                <a:gd name="T4" fmla="*/ 0 w 89"/>
                <a:gd name="T5" fmla="*/ 0 h 48"/>
                <a:gd name="T6" fmla="*/ 0 w 89"/>
                <a:gd name="T7" fmla="*/ 2147483646 h 4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8">
                  <a:moveTo>
                    <a:pt x="0" y="48"/>
                  </a:moveTo>
                  <a:lnTo>
                    <a:pt x="89" y="48"/>
                  </a:lnTo>
                  <a:lnTo>
                    <a:pt x="0" y="0"/>
                  </a:lnTo>
                  <a:lnTo>
                    <a:pt x="0" y="48"/>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57" name="Rectangle 296">
              <a:extLst>
                <a:ext uri="{FF2B5EF4-FFF2-40B4-BE49-F238E27FC236}">
                  <a16:creationId xmlns:a16="http://schemas.microsoft.com/office/drawing/2014/main" id="{522F2A04-458E-E0DF-8BF7-42184B97DD73}"/>
                </a:ext>
              </a:extLst>
            </p:cNvPr>
            <p:cNvSpPr>
              <a:spLocks noChangeArrowheads="1"/>
            </p:cNvSpPr>
            <p:nvPr/>
          </p:nvSpPr>
          <p:spPr bwMode="auto">
            <a:xfrm>
              <a:off x="10266100" y="2503180"/>
              <a:ext cx="141288"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58" name="Freeform 297">
              <a:extLst>
                <a:ext uri="{FF2B5EF4-FFF2-40B4-BE49-F238E27FC236}">
                  <a16:creationId xmlns:a16="http://schemas.microsoft.com/office/drawing/2014/main" id="{8D039896-6E5A-CD3B-6032-05C21A9D577D}"/>
                </a:ext>
              </a:extLst>
            </p:cNvPr>
            <p:cNvSpPr>
              <a:spLocks/>
            </p:cNvSpPr>
            <p:nvPr/>
          </p:nvSpPr>
          <p:spPr bwMode="auto">
            <a:xfrm>
              <a:off x="10266100" y="2503180"/>
              <a:ext cx="141288" cy="74613"/>
            </a:xfrm>
            <a:custGeom>
              <a:avLst/>
              <a:gdLst>
                <a:gd name="T0" fmla="*/ 0 w 89"/>
                <a:gd name="T1" fmla="*/ 2147483646 h 47"/>
                <a:gd name="T2" fmla="*/ 2147483646 w 89"/>
                <a:gd name="T3" fmla="*/ 2147483646 h 47"/>
                <a:gd name="T4" fmla="*/ 0 w 89"/>
                <a:gd name="T5" fmla="*/ 0 h 47"/>
                <a:gd name="T6" fmla="*/ 0 w 89"/>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7">
                  <a:moveTo>
                    <a:pt x="0" y="47"/>
                  </a:moveTo>
                  <a:lnTo>
                    <a:pt x="89"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59" name="Rectangle 298">
              <a:extLst>
                <a:ext uri="{FF2B5EF4-FFF2-40B4-BE49-F238E27FC236}">
                  <a16:creationId xmlns:a16="http://schemas.microsoft.com/office/drawing/2014/main" id="{BAD9472A-FA4A-5923-1661-0F766E0D886D}"/>
                </a:ext>
              </a:extLst>
            </p:cNvPr>
            <p:cNvSpPr>
              <a:spLocks noChangeArrowheads="1"/>
            </p:cNvSpPr>
            <p:nvPr/>
          </p:nvSpPr>
          <p:spPr bwMode="auto">
            <a:xfrm>
              <a:off x="10080363" y="2503180"/>
              <a:ext cx="146050"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60" name="Freeform 299">
              <a:extLst>
                <a:ext uri="{FF2B5EF4-FFF2-40B4-BE49-F238E27FC236}">
                  <a16:creationId xmlns:a16="http://schemas.microsoft.com/office/drawing/2014/main" id="{24D23508-7C96-439F-C064-F18A3C4F1E9E}"/>
                </a:ext>
              </a:extLst>
            </p:cNvPr>
            <p:cNvSpPr>
              <a:spLocks/>
            </p:cNvSpPr>
            <p:nvPr/>
          </p:nvSpPr>
          <p:spPr bwMode="auto">
            <a:xfrm>
              <a:off x="10080363" y="2503180"/>
              <a:ext cx="146050" cy="74613"/>
            </a:xfrm>
            <a:custGeom>
              <a:avLst/>
              <a:gdLst>
                <a:gd name="T0" fmla="*/ 0 w 92"/>
                <a:gd name="T1" fmla="*/ 2147483646 h 47"/>
                <a:gd name="T2" fmla="*/ 2147483646 w 92"/>
                <a:gd name="T3" fmla="*/ 2147483646 h 47"/>
                <a:gd name="T4" fmla="*/ 0 w 92"/>
                <a:gd name="T5" fmla="*/ 0 h 47"/>
                <a:gd name="T6" fmla="*/ 0 w 92"/>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 h="47">
                  <a:moveTo>
                    <a:pt x="0" y="47"/>
                  </a:moveTo>
                  <a:lnTo>
                    <a:pt x="92"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61" name="Rectangle 300">
              <a:extLst>
                <a:ext uri="{FF2B5EF4-FFF2-40B4-BE49-F238E27FC236}">
                  <a16:creationId xmlns:a16="http://schemas.microsoft.com/office/drawing/2014/main" id="{1BB52BDB-231E-3BBD-B8CA-96AE7A8DBE02}"/>
                </a:ext>
              </a:extLst>
            </p:cNvPr>
            <p:cNvSpPr>
              <a:spLocks noChangeArrowheads="1"/>
            </p:cNvSpPr>
            <p:nvPr/>
          </p:nvSpPr>
          <p:spPr bwMode="auto">
            <a:xfrm>
              <a:off x="9900975" y="2503180"/>
              <a:ext cx="141288"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62" name="Freeform 301">
              <a:extLst>
                <a:ext uri="{FF2B5EF4-FFF2-40B4-BE49-F238E27FC236}">
                  <a16:creationId xmlns:a16="http://schemas.microsoft.com/office/drawing/2014/main" id="{E243F795-C3CB-B12A-8414-FE47EDF76C3C}"/>
                </a:ext>
              </a:extLst>
            </p:cNvPr>
            <p:cNvSpPr>
              <a:spLocks/>
            </p:cNvSpPr>
            <p:nvPr/>
          </p:nvSpPr>
          <p:spPr bwMode="auto">
            <a:xfrm>
              <a:off x="9900975" y="2503180"/>
              <a:ext cx="141288" cy="74613"/>
            </a:xfrm>
            <a:custGeom>
              <a:avLst/>
              <a:gdLst>
                <a:gd name="T0" fmla="*/ 0 w 89"/>
                <a:gd name="T1" fmla="*/ 2147483646 h 47"/>
                <a:gd name="T2" fmla="*/ 2147483646 w 89"/>
                <a:gd name="T3" fmla="*/ 2147483646 h 47"/>
                <a:gd name="T4" fmla="*/ 0 w 89"/>
                <a:gd name="T5" fmla="*/ 0 h 47"/>
                <a:gd name="T6" fmla="*/ 0 w 89"/>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7">
                  <a:moveTo>
                    <a:pt x="0" y="47"/>
                  </a:moveTo>
                  <a:lnTo>
                    <a:pt x="89"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63" name="Rectangle 302">
              <a:extLst>
                <a:ext uri="{FF2B5EF4-FFF2-40B4-BE49-F238E27FC236}">
                  <a16:creationId xmlns:a16="http://schemas.microsoft.com/office/drawing/2014/main" id="{3BC8E696-FD1B-37EF-AD26-FC71EF8EA420}"/>
                </a:ext>
              </a:extLst>
            </p:cNvPr>
            <p:cNvSpPr>
              <a:spLocks noChangeArrowheads="1"/>
            </p:cNvSpPr>
            <p:nvPr/>
          </p:nvSpPr>
          <p:spPr bwMode="auto">
            <a:xfrm>
              <a:off x="10266100" y="2633355"/>
              <a:ext cx="141288"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64" name="Freeform 303">
              <a:extLst>
                <a:ext uri="{FF2B5EF4-FFF2-40B4-BE49-F238E27FC236}">
                  <a16:creationId xmlns:a16="http://schemas.microsoft.com/office/drawing/2014/main" id="{F66D463A-74FA-B6B1-33B7-F0AC790938C3}"/>
                </a:ext>
              </a:extLst>
            </p:cNvPr>
            <p:cNvSpPr>
              <a:spLocks/>
            </p:cNvSpPr>
            <p:nvPr/>
          </p:nvSpPr>
          <p:spPr bwMode="auto">
            <a:xfrm>
              <a:off x="10266100" y="2633355"/>
              <a:ext cx="141288" cy="74613"/>
            </a:xfrm>
            <a:custGeom>
              <a:avLst/>
              <a:gdLst>
                <a:gd name="T0" fmla="*/ 0 w 89"/>
                <a:gd name="T1" fmla="*/ 2147483646 h 47"/>
                <a:gd name="T2" fmla="*/ 2147483646 w 89"/>
                <a:gd name="T3" fmla="*/ 2147483646 h 47"/>
                <a:gd name="T4" fmla="*/ 0 w 89"/>
                <a:gd name="T5" fmla="*/ 0 h 47"/>
                <a:gd name="T6" fmla="*/ 0 w 89"/>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7">
                  <a:moveTo>
                    <a:pt x="0" y="47"/>
                  </a:moveTo>
                  <a:lnTo>
                    <a:pt x="89"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65" name="Rectangle 304">
              <a:extLst>
                <a:ext uri="{FF2B5EF4-FFF2-40B4-BE49-F238E27FC236}">
                  <a16:creationId xmlns:a16="http://schemas.microsoft.com/office/drawing/2014/main" id="{153699CF-BDD1-8B8C-BACC-4EC7ACCF61A9}"/>
                </a:ext>
              </a:extLst>
            </p:cNvPr>
            <p:cNvSpPr>
              <a:spLocks noChangeArrowheads="1"/>
            </p:cNvSpPr>
            <p:nvPr/>
          </p:nvSpPr>
          <p:spPr bwMode="auto">
            <a:xfrm>
              <a:off x="10080363" y="2633355"/>
              <a:ext cx="146050"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66" name="Freeform 305">
              <a:extLst>
                <a:ext uri="{FF2B5EF4-FFF2-40B4-BE49-F238E27FC236}">
                  <a16:creationId xmlns:a16="http://schemas.microsoft.com/office/drawing/2014/main" id="{DEC163D8-2D8A-8067-FECA-F794F92F6CAD}"/>
                </a:ext>
              </a:extLst>
            </p:cNvPr>
            <p:cNvSpPr>
              <a:spLocks/>
            </p:cNvSpPr>
            <p:nvPr/>
          </p:nvSpPr>
          <p:spPr bwMode="auto">
            <a:xfrm>
              <a:off x="10080363" y="2633355"/>
              <a:ext cx="146050" cy="74613"/>
            </a:xfrm>
            <a:custGeom>
              <a:avLst/>
              <a:gdLst>
                <a:gd name="T0" fmla="*/ 0 w 92"/>
                <a:gd name="T1" fmla="*/ 2147483646 h 47"/>
                <a:gd name="T2" fmla="*/ 2147483646 w 92"/>
                <a:gd name="T3" fmla="*/ 2147483646 h 47"/>
                <a:gd name="T4" fmla="*/ 0 w 92"/>
                <a:gd name="T5" fmla="*/ 0 h 47"/>
                <a:gd name="T6" fmla="*/ 0 w 92"/>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 h="47">
                  <a:moveTo>
                    <a:pt x="0" y="47"/>
                  </a:moveTo>
                  <a:lnTo>
                    <a:pt x="92"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67" name="Rectangle 306">
              <a:extLst>
                <a:ext uri="{FF2B5EF4-FFF2-40B4-BE49-F238E27FC236}">
                  <a16:creationId xmlns:a16="http://schemas.microsoft.com/office/drawing/2014/main" id="{6E6B90C4-32C3-BB30-8993-66930CBA2B45}"/>
                </a:ext>
              </a:extLst>
            </p:cNvPr>
            <p:cNvSpPr>
              <a:spLocks noChangeArrowheads="1"/>
            </p:cNvSpPr>
            <p:nvPr/>
          </p:nvSpPr>
          <p:spPr bwMode="auto">
            <a:xfrm>
              <a:off x="9900975" y="2633355"/>
              <a:ext cx="141288"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68" name="Freeform 307">
              <a:extLst>
                <a:ext uri="{FF2B5EF4-FFF2-40B4-BE49-F238E27FC236}">
                  <a16:creationId xmlns:a16="http://schemas.microsoft.com/office/drawing/2014/main" id="{297F80B0-1386-6E34-FE00-6CF36593B45C}"/>
                </a:ext>
              </a:extLst>
            </p:cNvPr>
            <p:cNvSpPr>
              <a:spLocks/>
            </p:cNvSpPr>
            <p:nvPr/>
          </p:nvSpPr>
          <p:spPr bwMode="auto">
            <a:xfrm>
              <a:off x="9900975" y="2633355"/>
              <a:ext cx="141288" cy="74613"/>
            </a:xfrm>
            <a:custGeom>
              <a:avLst/>
              <a:gdLst>
                <a:gd name="T0" fmla="*/ 0 w 89"/>
                <a:gd name="T1" fmla="*/ 2147483646 h 47"/>
                <a:gd name="T2" fmla="*/ 2147483646 w 89"/>
                <a:gd name="T3" fmla="*/ 2147483646 h 47"/>
                <a:gd name="T4" fmla="*/ 0 w 89"/>
                <a:gd name="T5" fmla="*/ 0 h 47"/>
                <a:gd name="T6" fmla="*/ 0 w 89"/>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7">
                  <a:moveTo>
                    <a:pt x="0" y="47"/>
                  </a:moveTo>
                  <a:lnTo>
                    <a:pt x="89"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69" name="Rectangle 308">
              <a:extLst>
                <a:ext uri="{FF2B5EF4-FFF2-40B4-BE49-F238E27FC236}">
                  <a16:creationId xmlns:a16="http://schemas.microsoft.com/office/drawing/2014/main" id="{8B3CAC78-5E29-4B99-4477-4FFF57FF1579}"/>
                </a:ext>
              </a:extLst>
            </p:cNvPr>
            <p:cNvSpPr>
              <a:spLocks noChangeArrowheads="1"/>
            </p:cNvSpPr>
            <p:nvPr/>
          </p:nvSpPr>
          <p:spPr bwMode="auto">
            <a:xfrm>
              <a:off x="10266100" y="2768292"/>
              <a:ext cx="141288" cy="6985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70" name="Freeform 309">
              <a:extLst>
                <a:ext uri="{FF2B5EF4-FFF2-40B4-BE49-F238E27FC236}">
                  <a16:creationId xmlns:a16="http://schemas.microsoft.com/office/drawing/2014/main" id="{79BA9D48-F494-779C-CF93-2F0A56AD5195}"/>
                </a:ext>
              </a:extLst>
            </p:cNvPr>
            <p:cNvSpPr>
              <a:spLocks/>
            </p:cNvSpPr>
            <p:nvPr/>
          </p:nvSpPr>
          <p:spPr bwMode="auto">
            <a:xfrm>
              <a:off x="10266100" y="2768292"/>
              <a:ext cx="141288" cy="69850"/>
            </a:xfrm>
            <a:custGeom>
              <a:avLst/>
              <a:gdLst>
                <a:gd name="T0" fmla="*/ 0 w 89"/>
                <a:gd name="T1" fmla="*/ 2147483646 h 44"/>
                <a:gd name="T2" fmla="*/ 2147483646 w 89"/>
                <a:gd name="T3" fmla="*/ 2147483646 h 44"/>
                <a:gd name="T4" fmla="*/ 0 w 89"/>
                <a:gd name="T5" fmla="*/ 0 h 44"/>
                <a:gd name="T6" fmla="*/ 0 w 89"/>
                <a:gd name="T7" fmla="*/ 2147483646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4">
                  <a:moveTo>
                    <a:pt x="0" y="44"/>
                  </a:moveTo>
                  <a:lnTo>
                    <a:pt x="89" y="44"/>
                  </a:lnTo>
                  <a:lnTo>
                    <a:pt x="0" y="0"/>
                  </a:lnTo>
                  <a:lnTo>
                    <a:pt x="0" y="44"/>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71" name="Rectangle 310">
              <a:extLst>
                <a:ext uri="{FF2B5EF4-FFF2-40B4-BE49-F238E27FC236}">
                  <a16:creationId xmlns:a16="http://schemas.microsoft.com/office/drawing/2014/main" id="{370D3580-37E7-2C2C-2C40-F9ACC2663F56}"/>
                </a:ext>
              </a:extLst>
            </p:cNvPr>
            <p:cNvSpPr>
              <a:spLocks noChangeArrowheads="1"/>
            </p:cNvSpPr>
            <p:nvPr/>
          </p:nvSpPr>
          <p:spPr bwMode="auto">
            <a:xfrm>
              <a:off x="10080363" y="2768292"/>
              <a:ext cx="146050" cy="6985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72" name="Freeform 311">
              <a:extLst>
                <a:ext uri="{FF2B5EF4-FFF2-40B4-BE49-F238E27FC236}">
                  <a16:creationId xmlns:a16="http://schemas.microsoft.com/office/drawing/2014/main" id="{9F156034-AE68-E730-13B2-639CF51D1D31}"/>
                </a:ext>
              </a:extLst>
            </p:cNvPr>
            <p:cNvSpPr>
              <a:spLocks/>
            </p:cNvSpPr>
            <p:nvPr/>
          </p:nvSpPr>
          <p:spPr bwMode="auto">
            <a:xfrm>
              <a:off x="10080363" y="2768292"/>
              <a:ext cx="146050" cy="69850"/>
            </a:xfrm>
            <a:custGeom>
              <a:avLst/>
              <a:gdLst>
                <a:gd name="T0" fmla="*/ 0 w 92"/>
                <a:gd name="T1" fmla="*/ 2147483646 h 44"/>
                <a:gd name="T2" fmla="*/ 2147483646 w 92"/>
                <a:gd name="T3" fmla="*/ 2147483646 h 44"/>
                <a:gd name="T4" fmla="*/ 0 w 92"/>
                <a:gd name="T5" fmla="*/ 0 h 44"/>
                <a:gd name="T6" fmla="*/ 0 w 92"/>
                <a:gd name="T7" fmla="*/ 2147483646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 h="44">
                  <a:moveTo>
                    <a:pt x="0" y="44"/>
                  </a:moveTo>
                  <a:lnTo>
                    <a:pt x="92" y="44"/>
                  </a:lnTo>
                  <a:lnTo>
                    <a:pt x="0" y="0"/>
                  </a:lnTo>
                  <a:lnTo>
                    <a:pt x="0" y="44"/>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73" name="Rectangle 312">
              <a:extLst>
                <a:ext uri="{FF2B5EF4-FFF2-40B4-BE49-F238E27FC236}">
                  <a16:creationId xmlns:a16="http://schemas.microsoft.com/office/drawing/2014/main" id="{6BBC8FBC-DEC4-015B-15F5-B1696BB4560A}"/>
                </a:ext>
              </a:extLst>
            </p:cNvPr>
            <p:cNvSpPr>
              <a:spLocks noChangeArrowheads="1"/>
            </p:cNvSpPr>
            <p:nvPr/>
          </p:nvSpPr>
          <p:spPr bwMode="auto">
            <a:xfrm>
              <a:off x="9900975" y="2768292"/>
              <a:ext cx="141288" cy="6985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74" name="Freeform 313">
              <a:extLst>
                <a:ext uri="{FF2B5EF4-FFF2-40B4-BE49-F238E27FC236}">
                  <a16:creationId xmlns:a16="http://schemas.microsoft.com/office/drawing/2014/main" id="{B76B31DD-97ED-2160-F337-35C0E9648633}"/>
                </a:ext>
              </a:extLst>
            </p:cNvPr>
            <p:cNvSpPr>
              <a:spLocks/>
            </p:cNvSpPr>
            <p:nvPr/>
          </p:nvSpPr>
          <p:spPr bwMode="auto">
            <a:xfrm>
              <a:off x="9900975" y="2768292"/>
              <a:ext cx="141288" cy="69850"/>
            </a:xfrm>
            <a:custGeom>
              <a:avLst/>
              <a:gdLst>
                <a:gd name="T0" fmla="*/ 0 w 89"/>
                <a:gd name="T1" fmla="*/ 2147483646 h 44"/>
                <a:gd name="T2" fmla="*/ 2147483646 w 89"/>
                <a:gd name="T3" fmla="*/ 2147483646 h 44"/>
                <a:gd name="T4" fmla="*/ 0 w 89"/>
                <a:gd name="T5" fmla="*/ 0 h 44"/>
                <a:gd name="T6" fmla="*/ 0 w 89"/>
                <a:gd name="T7" fmla="*/ 2147483646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4">
                  <a:moveTo>
                    <a:pt x="0" y="44"/>
                  </a:moveTo>
                  <a:lnTo>
                    <a:pt x="89" y="44"/>
                  </a:lnTo>
                  <a:lnTo>
                    <a:pt x="0" y="0"/>
                  </a:lnTo>
                  <a:lnTo>
                    <a:pt x="0" y="44"/>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75" name="Rectangle 314">
              <a:extLst>
                <a:ext uri="{FF2B5EF4-FFF2-40B4-BE49-F238E27FC236}">
                  <a16:creationId xmlns:a16="http://schemas.microsoft.com/office/drawing/2014/main" id="{39DD841B-DD1E-D6A1-1DD6-1F30AE0F1944}"/>
                </a:ext>
              </a:extLst>
            </p:cNvPr>
            <p:cNvSpPr>
              <a:spLocks noChangeArrowheads="1"/>
            </p:cNvSpPr>
            <p:nvPr/>
          </p:nvSpPr>
          <p:spPr bwMode="auto">
            <a:xfrm>
              <a:off x="9712063" y="2373005"/>
              <a:ext cx="141288" cy="7620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76" name="Freeform 315">
              <a:extLst>
                <a:ext uri="{FF2B5EF4-FFF2-40B4-BE49-F238E27FC236}">
                  <a16:creationId xmlns:a16="http://schemas.microsoft.com/office/drawing/2014/main" id="{8DACA04D-670D-968E-5E45-82A54428C728}"/>
                </a:ext>
              </a:extLst>
            </p:cNvPr>
            <p:cNvSpPr>
              <a:spLocks/>
            </p:cNvSpPr>
            <p:nvPr/>
          </p:nvSpPr>
          <p:spPr bwMode="auto">
            <a:xfrm>
              <a:off x="9712063" y="2373005"/>
              <a:ext cx="141288" cy="76200"/>
            </a:xfrm>
            <a:custGeom>
              <a:avLst/>
              <a:gdLst>
                <a:gd name="T0" fmla="*/ 0 w 89"/>
                <a:gd name="T1" fmla="*/ 2147483646 h 48"/>
                <a:gd name="T2" fmla="*/ 2147483646 w 89"/>
                <a:gd name="T3" fmla="*/ 2147483646 h 48"/>
                <a:gd name="T4" fmla="*/ 0 w 89"/>
                <a:gd name="T5" fmla="*/ 0 h 48"/>
                <a:gd name="T6" fmla="*/ 0 w 89"/>
                <a:gd name="T7" fmla="*/ 2147483646 h 4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8">
                  <a:moveTo>
                    <a:pt x="0" y="48"/>
                  </a:moveTo>
                  <a:lnTo>
                    <a:pt x="89" y="48"/>
                  </a:lnTo>
                  <a:lnTo>
                    <a:pt x="0" y="0"/>
                  </a:lnTo>
                  <a:lnTo>
                    <a:pt x="0" y="48"/>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77" name="Rectangle 316">
              <a:extLst>
                <a:ext uri="{FF2B5EF4-FFF2-40B4-BE49-F238E27FC236}">
                  <a16:creationId xmlns:a16="http://schemas.microsoft.com/office/drawing/2014/main" id="{6AD4581D-7E28-5CB8-258F-E8815E46F901}"/>
                </a:ext>
              </a:extLst>
            </p:cNvPr>
            <p:cNvSpPr>
              <a:spLocks noChangeArrowheads="1"/>
            </p:cNvSpPr>
            <p:nvPr/>
          </p:nvSpPr>
          <p:spPr bwMode="auto">
            <a:xfrm>
              <a:off x="9526325" y="2373005"/>
              <a:ext cx="141288" cy="7620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78" name="Freeform 317">
              <a:extLst>
                <a:ext uri="{FF2B5EF4-FFF2-40B4-BE49-F238E27FC236}">
                  <a16:creationId xmlns:a16="http://schemas.microsoft.com/office/drawing/2014/main" id="{8812CD92-A8AE-092B-EDD4-0550265842B3}"/>
                </a:ext>
              </a:extLst>
            </p:cNvPr>
            <p:cNvSpPr>
              <a:spLocks/>
            </p:cNvSpPr>
            <p:nvPr/>
          </p:nvSpPr>
          <p:spPr bwMode="auto">
            <a:xfrm>
              <a:off x="9526325" y="2373005"/>
              <a:ext cx="141288" cy="76200"/>
            </a:xfrm>
            <a:custGeom>
              <a:avLst/>
              <a:gdLst>
                <a:gd name="T0" fmla="*/ 0 w 89"/>
                <a:gd name="T1" fmla="*/ 2147483646 h 48"/>
                <a:gd name="T2" fmla="*/ 2147483646 w 89"/>
                <a:gd name="T3" fmla="*/ 2147483646 h 48"/>
                <a:gd name="T4" fmla="*/ 0 w 89"/>
                <a:gd name="T5" fmla="*/ 0 h 48"/>
                <a:gd name="T6" fmla="*/ 0 w 89"/>
                <a:gd name="T7" fmla="*/ 2147483646 h 4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8">
                  <a:moveTo>
                    <a:pt x="0" y="48"/>
                  </a:moveTo>
                  <a:lnTo>
                    <a:pt x="89" y="48"/>
                  </a:lnTo>
                  <a:lnTo>
                    <a:pt x="0" y="0"/>
                  </a:lnTo>
                  <a:lnTo>
                    <a:pt x="0" y="48"/>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79" name="Rectangle 318">
              <a:extLst>
                <a:ext uri="{FF2B5EF4-FFF2-40B4-BE49-F238E27FC236}">
                  <a16:creationId xmlns:a16="http://schemas.microsoft.com/office/drawing/2014/main" id="{1467F539-300D-E470-E126-145DE574787E}"/>
                </a:ext>
              </a:extLst>
            </p:cNvPr>
            <p:cNvSpPr>
              <a:spLocks noChangeArrowheads="1"/>
            </p:cNvSpPr>
            <p:nvPr/>
          </p:nvSpPr>
          <p:spPr bwMode="auto">
            <a:xfrm>
              <a:off x="9342175" y="2373005"/>
              <a:ext cx="146050" cy="7620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80" name="Freeform 319">
              <a:extLst>
                <a:ext uri="{FF2B5EF4-FFF2-40B4-BE49-F238E27FC236}">
                  <a16:creationId xmlns:a16="http://schemas.microsoft.com/office/drawing/2014/main" id="{BA862B01-DF48-F529-512C-10A66DAF715C}"/>
                </a:ext>
              </a:extLst>
            </p:cNvPr>
            <p:cNvSpPr>
              <a:spLocks/>
            </p:cNvSpPr>
            <p:nvPr/>
          </p:nvSpPr>
          <p:spPr bwMode="auto">
            <a:xfrm>
              <a:off x="9342175" y="2373005"/>
              <a:ext cx="146050" cy="76200"/>
            </a:xfrm>
            <a:custGeom>
              <a:avLst/>
              <a:gdLst>
                <a:gd name="T0" fmla="*/ 0 w 92"/>
                <a:gd name="T1" fmla="*/ 2147483646 h 48"/>
                <a:gd name="T2" fmla="*/ 2147483646 w 92"/>
                <a:gd name="T3" fmla="*/ 2147483646 h 48"/>
                <a:gd name="T4" fmla="*/ 0 w 92"/>
                <a:gd name="T5" fmla="*/ 0 h 48"/>
                <a:gd name="T6" fmla="*/ 0 w 92"/>
                <a:gd name="T7" fmla="*/ 2147483646 h 4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 h="48">
                  <a:moveTo>
                    <a:pt x="0" y="48"/>
                  </a:moveTo>
                  <a:lnTo>
                    <a:pt x="92" y="48"/>
                  </a:lnTo>
                  <a:lnTo>
                    <a:pt x="0" y="0"/>
                  </a:lnTo>
                  <a:lnTo>
                    <a:pt x="0" y="48"/>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81" name="Rectangle 320">
              <a:extLst>
                <a:ext uri="{FF2B5EF4-FFF2-40B4-BE49-F238E27FC236}">
                  <a16:creationId xmlns:a16="http://schemas.microsoft.com/office/drawing/2014/main" id="{EFE284CB-C1A5-F008-68C1-4633C237D1DA}"/>
                </a:ext>
              </a:extLst>
            </p:cNvPr>
            <p:cNvSpPr>
              <a:spLocks noChangeArrowheads="1"/>
            </p:cNvSpPr>
            <p:nvPr/>
          </p:nvSpPr>
          <p:spPr bwMode="auto">
            <a:xfrm>
              <a:off x="9712063" y="2503180"/>
              <a:ext cx="141288"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82" name="Freeform 321">
              <a:extLst>
                <a:ext uri="{FF2B5EF4-FFF2-40B4-BE49-F238E27FC236}">
                  <a16:creationId xmlns:a16="http://schemas.microsoft.com/office/drawing/2014/main" id="{6CEFD1AA-7093-8444-4DF6-7207B0DA9DE5}"/>
                </a:ext>
              </a:extLst>
            </p:cNvPr>
            <p:cNvSpPr>
              <a:spLocks/>
            </p:cNvSpPr>
            <p:nvPr/>
          </p:nvSpPr>
          <p:spPr bwMode="auto">
            <a:xfrm>
              <a:off x="9712063" y="2503180"/>
              <a:ext cx="141288" cy="74613"/>
            </a:xfrm>
            <a:custGeom>
              <a:avLst/>
              <a:gdLst>
                <a:gd name="T0" fmla="*/ 0 w 89"/>
                <a:gd name="T1" fmla="*/ 2147483646 h 47"/>
                <a:gd name="T2" fmla="*/ 2147483646 w 89"/>
                <a:gd name="T3" fmla="*/ 2147483646 h 47"/>
                <a:gd name="T4" fmla="*/ 0 w 89"/>
                <a:gd name="T5" fmla="*/ 0 h 47"/>
                <a:gd name="T6" fmla="*/ 0 w 89"/>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7">
                  <a:moveTo>
                    <a:pt x="0" y="47"/>
                  </a:moveTo>
                  <a:lnTo>
                    <a:pt x="89"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83" name="Rectangle 322">
              <a:extLst>
                <a:ext uri="{FF2B5EF4-FFF2-40B4-BE49-F238E27FC236}">
                  <a16:creationId xmlns:a16="http://schemas.microsoft.com/office/drawing/2014/main" id="{1EC30586-DB0D-2E58-670D-6D6B366CB1ED}"/>
                </a:ext>
              </a:extLst>
            </p:cNvPr>
            <p:cNvSpPr>
              <a:spLocks noChangeArrowheads="1"/>
            </p:cNvSpPr>
            <p:nvPr/>
          </p:nvSpPr>
          <p:spPr bwMode="auto">
            <a:xfrm>
              <a:off x="9526325" y="2503180"/>
              <a:ext cx="141288"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84" name="Freeform 323">
              <a:extLst>
                <a:ext uri="{FF2B5EF4-FFF2-40B4-BE49-F238E27FC236}">
                  <a16:creationId xmlns:a16="http://schemas.microsoft.com/office/drawing/2014/main" id="{43C7880F-D784-779B-85B0-FA2472C09380}"/>
                </a:ext>
              </a:extLst>
            </p:cNvPr>
            <p:cNvSpPr>
              <a:spLocks/>
            </p:cNvSpPr>
            <p:nvPr/>
          </p:nvSpPr>
          <p:spPr bwMode="auto">
            <a:xfrm>
              <a:off x="9526325" y="2503180"/>
              <a:ext cx="141288" cy="74613"/>
            </a:xfrm>
            <a:custGeom>
              <a:avLst/>
              <a:gdLst>
                <a:gd name="T0" fmla="*/ 0 w 89"/>
                <a:gd name="T1" fmla="*/ 2147483646 h 47"/>
                <a:gd name="T2" fmla="*/ 2147483646 w 89"/>
                <a:gd name="T3" fmla="*/ 2147483646 h 47"/>
                <a:gd name="T4" fmla="*/ 0 w 89"/>
                <a:gd name="T5" fmla="*/ 0 h 47"/>
                <a:gd name="T6" fmla="*/ 0 w 89"/>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7">
                  <a:moveTo>
                    <a:pt x="0" y="47"/>
                  </a:moveTo>
                  <a:lnTo>
                    <a:pt x="89"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85" name="Rectangle 324">
              <a:extLst>
                <a:ext uri="{FF2B5EF4-FFF2-40B4-BE49-F238E27FC236}">
                  <a16:creationId xmlns:a16="http://schemas.microsoft.com/office/drawing/2014/main" id="{00CA3D21-D541-ECF1-FDA0-B2118C4AECC3}"/>
                </a:ext>
              </a:extLst>
            </p:cNvPr>
            <p:cNvSpPr>
              <a:spLocks noChangeArrowheads="1"/>
            </p:cNvSpPr>
            <p:nvPr/>
          </p:nvSpPr>
          <p:spPr bwMode="auto">
            <a:xfrm>
              <a:off x="9342175" y="2503180"/>
              <a:ext cx="146050"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86" name="Freeform 325">
              <a:extLst>
                <a:ext uri="{FF2B5EF4-FFF2-40B4-BE49-F238E27FC236}">
                  <a16:creationId xmlns:a16="http://schemas.microsoft.com/office/drawing/2014/main" id="{9FDF5CF1-83BD-BE4A-89FD-54417C523FB3}"/>
                </a:ext>
              </a:extLst>
            </p:cNvPr>
            <p:cNvSpPr>
              <a:spLocks/>
            </p:cNvSpPr>
            <p:nvPr/>
          </p:nvSpPr>
          <p:spPr bwMode="auto">
            <a:xfrm>
              <a:off x="9342175" y="2503180"/>
              <a:ext cx="146050" cy="74613"/>
            </a:xfrm>
            <a:custGeom>
              <a:avLst/>
              <a:gdLst>
                <a:gd name="T0" fmla="*/ 0 w 92"/>
                <a:gd name="T1" fmla="*/ 2147483646 h 47"/>
                <a:gd name="T2" fmla="*/ 2147483646 w 92"/>
                <a:gd name="T3" fmla="*/ 2147483646 h 47"/>
                <a:gd name="T4" fmla="*/ 0 w 92"/>
                <a:gd name="T5" fmla="*/ 0 h 47"/>
                <a:gd name="T6" fmla="*/ 0 w 92"/>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 h="47">
                  <a:moveTo>
                    <a:pt x="0" y="47"/>
                  </a:moveTo>
                  <a:lnTo>
                    <a:pt x="92"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87" name="Rectangle 326">
              <a:extLst>
                <a:ext uri="{FF2B5EF4-FFF2-40B4-BE49-F238E27FC236}">
                  <a16:creationId xmlns:a16="http://schemas.microsoft.com/office/drawing/2014/main" id="{4F821D4C-3F6F-C5E1-5969-4E186228DBD9}"/>
                </a:ext>
              </a:extLst>
            </p:cNvPr>
            <p:cNvSpPr>
              <a:spLocks noChangeArrowheads="1"/>
            </p:cNvSpPr>
            <p:nvPr/>
          </p:nvSpPr>
          <p:spPr bwMode="auto">
            <a:xfrm>
              <a:off x="9712063" y="2633355"/>
              <a:ext cx="141288"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88" name="Freeform 327">
              <a:extLst>
                <a:ext uri="{FF2B5EF4-FFF2-40B4-BE49-F238E27FC236}">
                  <a16:creationId xmlns:a16="http://schemas.microsoft.com/office/drawing/2014/main" id="{A6427D68-20F4-2F42-DAFE-75B31EF4CD02}"/>
                </a:ext>
              </a:extLst>
            </p:cNvPr>
            <p:cNvSpPr>
              <a:spLocks/>
            </p:cNvSpPr>
            <p:nvPr/>
          </p:nvSpPr>
          <p:spPr bwMode="auto">
            <a:xfrm>
              <a:off x="9712063" y="2633355"/>
              <a:ext cx="141288" cy="74613"/>
            </a:xfrm>
            <a:custGeom>
              <a:avLst/>
              <a:gdLst>
                <a:gd name="T0" fmla="*/ 0 w 89"/>
                <a:gd name="T1" fmla="*/ 2147483646 h 47"/>
                <a:gd name="T2" fmla="*/ 2147483646 w 89"/>
                <a:gd name="T3" fmla="*/ 2147483646 h 47"/>
                <a:gd name="T4" fmla="*/ 0 w 89"/>
                <a:gd name="T5" fmla="*/ 0 h 47"/>
                <a:gd name="T6" fmla="*/ 0 w 89"/>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7">
                  <a:moveTo>
                    <a:pt x="0" y="47"/>
                  </a:moveTo>
                  <a:lnTo>
                    <a:pt x="89"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89" name="Rectangle 328">
              <a:extLst>
                <a:ext uri="{FF2B5EF4-FFF2-40B4-BE49-F238E27FC236}">
                  <a16:creationId xmlns:a16="http://schemas.microsoft.com/office/drawing/2014/main" id="{5352A624-EEF8-E016-D9AA-2D33DA7974EB}"/>
                </a:ext>
              </a:extLst>
            </p:cNvPr>
            <p:cNvSpPr>
              <a:spLocks noChangeArrowheads="1"/>
            </p:cNvSpPr>
            <p:nvPr/>
          </p:nvSpPr>
          <p:spPr bwMode="auto">
            <a:xfrm>
              <a:off x="9526325" y="2633355"/>
              <a:ext cx="141288"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90" name="Freeform 329">
              <a:extLst>
                <a:ext uri="{FF2B5EF4-FFF2-40B4-BE49-F238E27FC236}">
                  <a16:creationId xmlns:a16="http://schemas.microsoft.com/office/drawing/2014/main" id="{43E9D363-60FF-6534-24E0-E38DA54CEDA5}"/>
                </a:ext>
              </a:extLst>
            </p:cNvPr>
            <p:cNvSpPr>
              <a:spLocks/>
            </p:cNvSpPr>
            <p:nvPr/>
          </p:nvSpPr>
          <p:spPr bwMode="auto">
            <a:xfrm>
              <a:off x="9526325" y="2633355"/>
              <a:ext cx="141288" cy="74613"/>
            </a:xfrm>
            <a:custGeom>
              <a:avLst/>
              <a:gdLst>
                <a:gd name="T0" fmla="*/ 0 w 89"/>
                <a:gd name="T1" fmla="*/ 2147483646 h 47"/>
                <a:gd name="T2" fmla="*/ 2147483646 w 89"/>
                <a:gd name="T3" fmla="*/ 2147483646 h 47"/>
                <a:gd name="T4" fmla="*/ 0 w 89"/>
                <a:gd name="T5" fmla="*/ 0 h 47"/>
                <a:gd name="T6" fmla="*/ 0 w 89"/>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7">
                  <a:moveTo>
                    <a:pt x="0" y="47"/>
                  </a:moveTo>
                  <a:lnTo>
                    <a:pt x="89"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91" name="Rectangle 330">
              <a:extLst>
                <a:ext uri="{FF2B5EF4-FFF2-40B4-BE49-F238E27FC236}">
                  <a16:creationId xmlns:a16="http://schemas.microsoft.com/office/drawing/2014/main" id="{1C73260A-4FF1-2F23-76CC-C7223C24275B}"/>
                </a:ext>
              </a:extLst>
            </p:cNvPr>
            <p:cNvSpPr>
              <a:spLocks noChangeArrowheads="1"/>
            </p:cNvSpPr>
            <p:nvPr/>
          </p:nvSpPr>
          <p:spPr bwMode="auto">
            <a:xfrm>
              <a:off x="9342175" y="2633355"/>
              <a:ext cx="146050"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92" name="Freeform 331">
              <a:extLst>
                <a:ext uri="{FF2B5EF4-FFF2-40B4-BE49-F238E27FC236}">
                  <a16:creationId xmlns:a16="http://schemas.microsoft.com/office/drawing/2014/main" id="{47EA18A6-E738-F45A-87E9-F64A5F4B068A}"/>
                </a:ext>
              </a:extLst>
            </p:cNvPr>
            <p:cNvSpPr>
              <a:spLocks/>
            </p:cNvSpPr>
            <p:nvPr/>
          </p:nvSpPr>
          <p:spPr bwMode="auto">
            <a:xfrm>
              <a:off x="9342175" y="2633355"/>
              <a:ext cx="146050" cy="74613"/>
            </a:xfrm>
            <a:custGeom>
              <a:avLst/>
              <a:gdLst>
                <a:gd name="T0" fmla="*/ 0 w 92"/>
                <a:gd name="T1" fmla="*/ 2147483646 h 47"/>
                <a:gd name="T2" fmla="*/ 2147483646 w 92"/>
                <a:gd name="T3" fmla="*/ 2147483646 h 47"/>
                <a:gd name="T4" fmla="*/ 0 w 92"/>
                <a:gd name="T5" fmla="*/ 0 h 47"/>
                <a:gd name="T6" fmla="*/ 0 w 92"/>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 h="47">
                  <a:moveTo>
                    <a:pt x="0" y="47"/>
                  </a:moveTo>
                  <a:lnTo>
                    <a:pt x="92"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93" name="Rectangle 332">
              <a:extLst>
                <a:ext uri="{FF2B5EF4-FFF2-40B4-BE49-F238E27FC236}">
                  <a16:creationId xmlns:a16="http://schemas.microsoft.com/office/drawing/2014/main" id="{B6F7D6BA-19AA-1FB6-740C-D0437F1937D3}"/>
                </a:ext>
              </a:extLst>
            </p:cNvPr>
            <p:cNvSpPr>
              <a:spLocks noChangeArrowheads="1"/>
            </p:cNvSpPr>
            <p:nvPr/>
          </p:nvSpPr>
          <p:spPr bwMode="auto">
            <a:xfrm>
              <a:off x="9712063" y="2768292"/>
              <a:ext cx="141288" cy="6985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94" name="Freeform 333">
              <a:extLst>
                <a:ext uri="{FF2B5EF4-FFF2-40B4-BE49-F238E27FC236}">
                  <a16:creationId xmlns:a16="http://schemas.microsoft.com/office/drawing/2014/main" id="{A06B9C14-33FB-67AC-E672-57CE92086D59}"/>
                </a:ext>
              </a:extLst>
            </p:cNvPr>
            <p:cNvSpPr>
              <a:spLocks/>
            </p:cNvSpPr>
            <p:nvPr/>
          </p:nvSpPr>
          <p:spPr bwMode="auto">
            <a:xfrm>
              <a:off x="9712063" y="2768292"/>
              <a:ext cx="141288" cy="69850"/>
            </a:xfrm>
            <a:custGeom>
              <a:avLst/>
              <a:gdLst>
                <a:gd name="T0" fmla="*/ 0 w 89"/>
                <a:gd name="T1" fmla="*/ 2147483646 h 44"/>
                <a:gd name="T2" fmla="*/ 2147483646 w 89"/>
                <a:gd name="T3" fmla="*/ 2147483646 h 44"/>
                <a:gd name="T4" fmla="*/ 0 w 89"/>
                <a:gd name="T5" fmla="*/ 0 h 44"/>
                <a:gd name="T6" fmla="*/ 0 w 89"/>
                <a:gd name="T7" fmla="*/ 2147483646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4">
                  <a:moveTo>
                    <a:pt x="0" y="44"/>
                  </a:moveTo>
                  <a:lnTo>
                    <a:pt x="89" y="44"/>
                  </a:lnTo>
                  <a:lnTo>
                    <a:pt x="0" y="0"/>
                  </a:lnTo>
                  <a:lnTo>
                    <a:pt x="0" y="44"/>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95" name="Rectangle 334">
              <a:extLst>
                <a:ext uri="{FF2B5EF4-FFF2-40B4-BE49-F238E27FC236}">
                  <a16:creationId xmlns:a16="http://schemas.microsoft.com/office/drawing/2014/main" id="{07C89BB2-35DA-F6F1-DA3B-59D7EB33106E}"/>
                </a:ext>
              </a:extLst>
            </p:cNvPr>
            <p:cNvSpPr>
              <a:spLocks noChangeArrowheads="1"/>
            </p:cNvSpPr>
            <p:nvPr/>
          </p:nvSpPr>
          <p:spPr bwMode="auto">
            <a:xfrm>
              <a:off x="9526325" y="2768292"/>
              <a:ext cx="141288" cy="6985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96" name="Freeform 335">
              <a:extLst>
                <a:ext uri="{FF2B5EF4-FFF2-40B4-BE49-F238E27FC236}">
                  <a16:creationId xmlns:a16="http://schemas.microsoft.com/office/drawing/2014/main" id="{6DB96363-9953-845F-7742-578F7829962D}"/>
                </a:ext>
              </a:extLst>
            </p:cNvPr>
            <p:cNvSpPr>
              <a:spLocks/>
            </p:cNvSpPr>
            <p:nvPr/>
          </p:nvSpPr>
          <p:spPr bwMode="auto">
            <a:xfrm>
              <a:off x="9526325" y="2768292"/>
              <a:ext cx="141288" cy="69850"/>
            </a:xfrm>
            <a:custGeom>
              <a:avLst/>
              <a:gdLst>
                <a:gd name="T0" fmla="*/ 0 w 89"/>
                <a:gd name="T1" fmla="*/ 2147483646 h 44"/>
                <a:gd name="T2" fmla="*/ 2147483646 w 89"/>
                <a:gd name="T3" fmla="*/ 2147483646 h 44"/>
                <a:gd name="T4" fmla="*/ 0 w 89"/>
                <a:gd name="T5" fmla="*/ 0 h 44"/>
                <a:gd name="T6" fmla="*/ 0 w 89"/>
                <a:gd name="T7" fmla="*/ 2147483646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4">
                  <a:moveTo>
                    <a:pt x="0" y="44"/>
                  </a:moveTo>
                  <a:lnTo>
                    <a:pt x="89" y="44"/>
                  </a:lnTo>
                  <a:lnTo>
                    <a:pt x="0" y="0"/>
                  </a:lnTo>
                  <a:lnTo>
                    <a:pt x="0" y="44"/>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97" name="Rectangle 336">
              <a:extLst>
                <a:ext uri="{FF2B5EF4-FFF2-40B4-BE49-F238E27FC236}">
                  <a16:creationId xmlns:a16="http://schemas.microsoft.com/office/drawing/2014/main" id="{4A495708-9123-AEF2-C13F-064FEA099430}"/>
                </a:ext>
              </a:extLst>
            </p:cNvPr>
            <p:cNvSpPr>
              <a:spLocks noChangeArrowheads="1"/>
            </p:cNvSpPr>
            <p:nvPr/>
          </p:nvSpPr>
          <p:spPr bwMode="auto">
            <a:xfrm>
              <a:off x="9342175" y="2768292"/>
              <a:ext cx="146050" cy="69850"/>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798" name="Freeform 337">
              <a:extLst>
                <a:ext uri="{FF2B5EF4-FFF2-40B4-BE49-F238E27FC236}">
                  <a16:creationId xmlns:a16="http://schemas.microsoft.com/office/drawing/2014/main" id="{DC3E63AE-5263-DBA7-4C28-2A350C6CC629}"/>
                </a:ext>
              </a:extLst>
            </p:cNvPr>
            <p:cNvSpPr>
              <a:spLocks/>
            </p:cNvSpPr>
            <p:nvPr/>
          </p:nvSpPr>
          <p:spPr bwMode="auto">
            <a:xfrm>
              <a:off x="9342175" y="2768292"/>
              <a:ext cx="146050" cy="69850"/>
            </a:xfrm>
            <a:custGeom>
              <a:avLst/>
              <a:gdLst>
                <a:gd name="T0" fmla="*/ 0 w 92"/>
                <a:gd name="T1" fmla="*/ 2147483646 h 44"/>
                <a:gd name="T2" fmla="*/ 2147483646 w 92"/>
                <a:gd name="T3" fmla="*/ 2147483646 h 44"/>
                <a:gd name="T4" fmla="*/ 0 w 92"/>
                <a:gd name="T5" fmla="*/ 0 h 44"/>
                <a:gd name="T6" fmla="*/ 0 w 92"/>
                <a:gd name="T7" fmla="*/ 2147483646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 h="44">
                  <a:moveTo>
                    <a:pt x="0" y="44"/>
                  </a:moveTo>
                  <a:lnTo>
                    <a:pt x="92" y="44"/>
                  </a:lnTo>
                  <a:lnTo>
                    <a:pt x="0" y="0"/>
                  </a:lnTo>
                  <a:lnTo>
                    <a:pt x="0" y="44"/>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99" name="Rectangle 338">
              <a:extLst>
                <a:ext uri="{FF2B5EF4-FFF2-40B4-BE49-F238E27FC236}">
                  <a16:creationId xmlns:a16="http://schemas.microsoft.com/office/drawing/2014/main" id="{C2F403AA-FB4A-D8D0-E078-1D5BE5C60F81}"/>
                </a:ext>
              </a:extLst>
            </p:cNvPr>
            <p:cNvSpPr>
              <a:spLocks noChangeArrowheads="1"/>
            </p:cNvSpPr>
            <p:nvPr/>
          </p:nvSpPr>
          <p:spPr bwMode="auto">
            <a:xfrm>
              <a:off x="10266100" y="2912755"/>
              <a:ext cx="141288"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00" name="Freeform 339">
              <a:extLst>
                <a:ext uri="{FF2B5EF4-FFF2-40B4-BE49-F238E27FC236}">
                  <a16:creationId xmlns:a16="http://schemas.microsoft.com/office/drawing/2014/main" id="{D6AD331A-9E10-9A19-73D4-13F729B94084}"/>
                </a:ext>
              </a:extLst>
            </p:cNvPr>
            <p:cNvSpPr>
              <a:spLocks/>
            </p:cNvSpPr>
            <p:nvPr/>
          </p:nvSpPr>
          <p:spPr bwMode="auto">
            <a:xfrm>
              <a:off x="10266100" y="2912755"/>
              <a:ext cx="141288" cy="74613"/>
            </a:xfrm>
            <a:custGeom>
              <a:avLst/>
              <a:gdLst>
                <a:gd name="T0" fmla="*/ 0 w 89"/>
                <a:gd name="T1" fmla="*/ 2147483646 h 47"/>
                <a:gd name="T2" fmla="*/ 2147483646 w 89"/>
                <a:gd name="T3" fmla="*/ 2147483646 h 47"/>
                <a:gd name="T4" fmla="*/ 0 w 89"/>
                <a:gd name="T5" fmla="*/ 0 h 47"/>
                <a:gd name="T6" fmla="*/ 0 w 89"/>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7">
                  <a:moveTo>
                    <a:pt x="0" y="47"/>
                  </a:moveTo>
                  <a:lnTo>
                    <a:pt x="89"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01" name="Rectangle 340">
              <a:extLst>
                <a:ext uri="{FF2B5EF4-FFF2-40B4-BE49-F238E27FC236}">
                  <a16:creationId xmlns:a16="http://schemas.microsoft.com/office/drawing/2014/main" id="{78A691CD-2798-093B-5A31-2FF4047A1576}"/>
                </a:ext>
              </a:extLst>
            </p:cNvPr>
            <p:cNvSpPr>
              <a:spLocks noChangeArrowheads="1"/>
            </p:cNvSpPr>
            <p:nvPr/>
          </p:nvSpPr>
          <p:spPr bwMode="auto">
            <a:xfrm>
              <a:off x="10080363" y="2912755"/>
              <a:ext cx="146050"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02" name="Freeform 341">
              <a:extLst>
                <a:ext uri="{FF2B5EF4-FFF2-40B4-BE49-F238E27FC236}">
                  <a16:creationId xmlns:a16="http://schemas.microsoft.com/office/drawing/2014/main" id="{0E717258-6655-E852-297C-23BE6C7F1361}"/>
                </a:ext>
              </a:extLst>
            </p:cNvPr>
            <p:cNvSpPr>
              <a:spLocks/>
            </p:cNvSpPr>
            <p:nvPr/>
          </p:nvSpPr>
          <p:spPr bwMode="auto">
            <a:xfrm>
              <a:off x="10080363" y="2912755"/>
              <a:ext cx="146050" cy="74613"/>
            </a:xfrm>
            <a:custGeom>
              <a:avLst/>
              <a:gdLst>
                <a:gd name="T0" fmla="*/ 0 w 92"/>
                <a:gd name="T1" fmla="*/ 2147483646 h 47"/>
                <a:gd name="T2" fmla="*/ 2147483646 w 92"/>
                <a:gd name="T3" fmla="*/ 2147483646 h 47"/>
                <a:gd name="T4" fmla="*/ 0 w 92"/>
                <a:gd name="T5" fmla="*/ 0 h 47"/>
                <a:gd name="T6" fmla="*/ 0 w 92"/>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 h="47">
                  <a:moveTo>
                    <a:pt x="0" y="47"/>
                  </a:moveTo>
                  <a:lnTo>
                    <a:pt x="92"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03" name="Rectangle 342">
              <a:extLst>
                <a:ext uri="{FF2B5EF4-FFF2-40B4-BE49-F238E27FC236}">
                  <a16:creationId xmlns:a16="http://schemas.microsoft.com/office/drawing/2014/main" id="{52373483-93C6-329D-BD6C-6B247FB7A04F}"/>
                </a:ext>
              </a:extLst>
            </p:cNvPr>
            <p:cNvSpPr>
              <a:spLocks noChangeArrowheads="1"/>
            </p:cNvSpPr>
            <p:nvPr/>
          </p:nvSpPr>
          <p:spPr bwMode="auto">
            <a:xfrm>
              <a:off x="9900975" y="2912755"/>
              <a:ext cx="141288"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04" name="Freeform 343">
              <a:extLst>
                <a:ext uri="{FF2B5EF4-FFF2-40B4-BE49-F238E27FC236}">
                  <a16:creationId xmlns:a16="http://schemas.microsoft.com/office/drawing/2014/main" id="{96681580-E5C0-1740-F4D8-A55B6048EFE9}"/>
                </a:ext>
              </a:extLst>
            </p:cNvPr>
            <p:cNvSpPr>
              <a:spLocks/>
            </p:cNvSpPr>
            <p:nvPr/>
          </p:nvSpPr>
          <p:spPr bwMode="auto">
            <a:xfrm>
              <a:off x="9900975" y="2912755"/>
              <a:ext cx="141288" cy="74613"/>
            </a:xfrm>
            <a:custGeom>
              <a:avLst/>
              <a:gdLst>
                <a:gd name="T0" fmla="*/ 0 w 89"/>
                <a:gd name="T1" fmla="*/ 2147483646 h 47"/>
                <a:gd name="T2" fmla="*/ 2147483646 w 89"/>
                <a:gd name="T3" fmla="*/ 2147483646 h 47"/>
                <a:gd name="T4" fmla="*/ 0 w 89"/>
                <a:gd name="T5" fmla="*/ 0 h 47"/>
                <a:gd name="T6" fmla="*/ 0 w 89"/>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7">
                  <a:moveTo>
                    <a:pt x="0" y="47"/>
                  </a:moveTo>
                  <a:lnTo>
                    <a:pt x="89"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05" name="Rectangle 344">
              <a:extLst>
                <a:ext uri="{FF2B5EF4-FFF2-40B4-BE49-F238E27FC236}">
                  <a16:creationId xmlns:a16="http://schemas.microsoft.com/office/drawing/2014/main" id="{F651078B-D8AC-056F-3698-AB2DAA30A228}"/>
                </a:ext>
              </a:extLst>
            </p:cNvPr>
            <p:cNvSpPr>
              <a:spLocks noChangeArrowheads="1"/>
            </p:cNvSpPr>
            <p:nvPr/>
          </p:nvSpPr>
          <p:spPr bwMode="auto">
            <a:xfrm>
              <a:off x="10266100" y="3042930"/>
              <a:ext cx="141288"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06" name="Freeform 345">
              <a:extLst>
                <a:ext uri="{FF2B5EF4-FFF2-40B4-BE49-F238E27FC236}">
                  <a16:creationId xmlns:a16="http://schemas.microsoft.com/office/drawing/2014/main" id="{2C14520A-3EFE-99DA-168F-9685C3469D27}"/>
                </a:ext>
              </a:extLst>
            </p:cNvPr>
            <p:cNvSpPr>
              <a:spLocks/>
            </p:cNvSpPr>
            <p:nvPr/>
          </p:nvSpPr>
          <p:spPr bwMode="auto">
            <a:xfrm>
              <a:off x="10266100" y="3042930"/>
              <a:ext cx="141288" cy="74613"/>
            </a:xfrm>
            <a:custGeom>
              <a:avLst/>
              <a:gdLst>
                <a:gd name="T0" fmla="*/ 0 w 89"/>
                <a:gd name="T1" fmla="*/ 2147483646 h 47"/>
                <a:gd name="T2" fmla="*/ 2147483646 w 89"/>
                <a:gd name="T3" fmla="*/ 2147483646 h 47"/>
                <a:gd name="T4" fmla="*/ 0 w 89"/>
                <a:gd name="T5" fmla="*/ 0 h 47"/>
                <a:gd name="T6" fmla="*/ 0 w 89"/>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7">
                  <a:moveTo>
                    <a:pt x="0" y="47"/>
                  </a:moveTo>
                  <a:lnTo>
                    <a:pt x="89"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07" name="Rectangle 346">
              <a:extLst>
                <a:ext uri="{FF2B5EF4-FFF2-40B4-BE49-F238E27FC236}">
                  <a16:creationId xmlns:a16="http://schemas.microsoft.com/office/drawing/2014/main" id="{FD5CFFF2-7C13-80D6-8794-ADA5B8744B88}"/>
                </a:ext>
              </a:extLst>
            </p:cNvPr>
            <p:cNvSpPr>
              <a:spLocks noChangeArrowheads="1"/>
            </p:cNvSpPr>
            <p:nvPr/>
          </p:nvSpPr>
          <p:spPr bwMode="auto">
            <a:xfrm>
              <a:off x="10080363" y="3042930"/>
              <a:ext cx="146050"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08" name="Freeform 347">
              <a:extLst>
                <a:ext uri="{FF2B5EF4-FFF2-40B4-BE49-F238E27FC236}">
                  <a16:creationId xmlns:a16="http://schemas.microsoft.com/office/drawing/2014/main" id="{02516DAB-19DC-1587-461C-64DC83B7CA25}"/>
                </a:ext>
              </a:extLst>
            </p:cNvPr>
            <p:cNvSpPr>
              <a:spLocks/>
            </p:cNvSpPr>
            <p:nvPr/>
          </p:nvSpPr>
          <p:spPr bwMode="auto">
            <a:xfrm>
              <a:off x="10080363" y="3042930"/>
              <a:ext cx="146050" cy="74613"/>
            </a:xfrm>
            <a:custGeom>
              <a:avLst/>
              <a:gdLst>
                <a:gd name="T0" fmla="*/ 0 w 92"/>
                <a:gd name="T1" fmla="*/ 2147483646 h 47"/>
                <a:gd name="T2" fmla="*/ 2147483646 w 92"/>
                <a:gd name="T3" fmla="*/ 2147483646 h 47"/>
                <a:gd name="T4" fmla="*/ 0 w 92"/>
                <a:gd name="T5" fmla="*/ 0 h 47"/>
                <a:gd name="T6" fmla="*/ 0 w 92"/>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 h="47">
                  <a:moveTo>
                    <a:pt x="0" y="47"/>
                  </a:moveTo>
                  <a:lnTo>
                    <a:pt x="92"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09" name="Rectangle 348">
              <a:extLst>
                <a:ext uri="{FF2B5EF4-FFF2-40B4-BE49-F238E27FC236}">
                  <a16:creationId xmlns:a16="http://schemas.microsoft.com/office/drawing/2014/main" id="{BA40BB30-C3B4-FCA3-528A-504152C68FD6}"/>
                </a:ext>
              </a:extLst>
            </p:cNvPr>
            <p:cNvSpPr>
              <a:spLocks noChangeArrowheads="1"/>
            </p:cNvSpPr>
            <p:nvPr/>
          </p:nvSpPr>
          <p:spPr bwMode="auto">
            <a:xfrm>
              <a:off x="9900975" y="3042930"/>
              <a:ext cx="141288"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10" name="Freeform 349">
              <a:extLst>
                <a:ext uri="{FF2B5EF4-FFF2-40B4-BE49-F238E27FC236}">
                  <a16:creationId xmlns:a16="http://schemas.microsoft.com/office/drawing/2014/main" id="{73FFE33B-1BEF-497A-A2C0-D8053C4D074D}"/>
                </a:ext>
              </a:extLst>
            </p:cNvPr>
            <p:cNvSpPr>
              <a:spLocks/>
            </p:cNvSpPr>
            <p:nvPr/>
          </p:nvSpPr>
          <p:spPr bwMode="auto">
            <a:xfrm>
              <a:off x="9900975" y="3042930"/>
              <a:ext cx="141288" cy="74613"/>
            </a:xfrm>
            <a:custGeom>
              <a:avLst/>
              <a:gdLst>
                <a:gd name="T0" fmla="*/ 0 w 89"/>
                <a:gd name="T1" fmla="*/ 2147483646 h 47"/>
                <a:gd name="T2" fmla="*/ 2147483646 w 89"/>
                <a:gd name="T3" fmla="*/ 2147483646 h 47"/>
                <a:gd name="T4" fmla="*/ 0 w 89"/>
                <a:gd name="T5" fmla="*/ 0 h 47"/>
                <a:gd name="T6" fmla="*/ 0 w 89"/>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7">
                  <a:moveTo>
                    <a:pt x="0" y="47"/>
                  </a:moveTo>
                  <a:lnTo>
                    <a:pt x="89"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11" name="Rectangle 350">
              <a:extLst>
                <a:ext uri="{FF2B5EF4-FFF2-40B4-BE49-F238E27FC236}">
                  <a16:creationId xmlns:a16="http://schemas.microsoft.com/office/drawing/2014/main" id="{3A9EFD7A-43AF-79A7-CF9D-7C7CA6D46114}"/>
                </a:ext>
              </a:extLst>
            </p:cNvPr>
            <p:cNvSpPr>
              <a:spLocks noChangeArrowheads="1"/>
            </p:cNvSpPr>
            <p:nvPr/>
          </p:nvSpPr>
          <p:spPr bwMode="auto">
            <a:xfrm>
              <a:off x="10266100" y="3173105"/>
              <a:ext cx="141288"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12" name="Freeform 351">
              <a:extLst>
                <a:ext uri="{FF2B5EF4-FFF2-40B4-BE49-F238E27FC236}">
                  <a16:creationId xmlns:a16="http://schemas.microsoft.com/office/drawing/2014/main" id="{B446D036-2508-905D-1E1F-55A7AEC0524A}"/>
                </a:ext>
              </a:extLst>
            </p:cNvPr>
            <p:cNvSpPr>
              <a:spLocks/>
            </p:cNvSpPr>
            <p:nvPr/>
          </p:nvSpPr>
          <p:spPr bwMode="auto">
            <a:xfrm>
              <a:off x="10266100" y="3173105"/>
              <a:ext cx="141288" cy="74613"/>
            </a:xfrm>
            <a:custGeom>
              <a:avLst/>
              <a:gdLst>
                <a:gd name="T0" fmla="*/ 0 w 89"/>
                <a:gd name="T1" fmla="*/ 2147483646 h 47"/>
                <a:gd name="T2" fmla="*/ 2147483646 w 89"/>
                <a:gd name="T3" fmla="*/ 2147483646 h 47"/>
                <a:gd name="T4" fmla="*/ 0 w 89"/>
                <a:gd name="T5" fmla="*/ 0 h 47"/>
                <a:gd name="T6" fmla="*/ 0 w 89"/>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7">
                  <a:moveTo>
                    <a:pt x="0" y="47"/>
                  </a:moveTo>
                  <a:lnTo>
                    <a:pt x="89"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13" name="Rectangle 352">
              <a:extLst>
                <a:ext uri="{FF2B5EF4-FFF2-40B4-BE49-F238E27FC236}">
                  <a16:creationId xmlns:a16="http://schemas.microsoft.com/office/drawing/2014/main" id="{6DFBCC7E-0E8C-9357-B46D-03FF8B339CDE}"/>
                </a:ext>
              </a:extLst>
            </p:cNvPr>
            <p:cNvSpPr>
              <a:spLocks noChangeArrowheads="1"/>
            </p:cNvSpPr>
            <p:nvPr/>
          </p:nvSpPr>
          <p:spPr bwMode="auto">
            <a:xfrm>
              <a:off x="10080363" y="3173105"/>
              <a:ext cx="146050"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14" name="Freeform 353">
              <a:extLst>
                <a:ext uri="{FF2B5EF4-FFF2-40B4-BE49-F238E27FC236}">
                  <a16:creationId xmlns:a16="http://schemas.microsoft.com/office/drawing/2014/main" id="{9A5A68D2-1C9A-A1CD-C2A5-856E175B3D6C}"/>
                </a:ext>
              </a:extLst>
            </p:cNvPr>
            <p:cNvSpPr>
              <a:spLocks/>
            </p:cNvSpPr>
            <p:nvPr/>
          </p:nvSpPr>
          <p:spPr bwMode="auto">
            <a:xfrm>
              <a:off x="10080363" y="3173105"/>
              <a:ext cx="146050" cy="74613"/>
            </a:xfrm>
            <a:custGeom>
              <a:avLst/>
              <a:gdLst>
                <a:gd name="T0" fmla="*/ 0 w 92"/>
                <a:gd name="T1" fmla="*/ 2147483646 h 47"/>
                <a:gd name="T2" fmla="*/ 2147483646 w 92"/>
                <a:gd name="T3" fmla="*/ 2147483646 h 47"/>
                <a:gd name="T4" fmla="*/ 0 w 92"/>
                <a:gd name="T5" fmla="*/ 0 h 47"/>
                <a:gd name="T6" fmla="*/ 0 w 92"/>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 h="47">
                  <a:moveTo>
                    <a:pt x="0" y="47"/>
                  </a:moveTo>
                  <a:lnTo>
                    <a:pt x="92"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15" name="Rectangle 354">
              <a:extLst>
                <a:ext uri="{FF2B5EF4-FFF2-40B4-BE49-F238E27FC236}">
                  <a16:creationId xmlns:a16="http://schemas.microsoft.com/office/drawing/2014/main" id="{B6C0712E-CA47-F25B-5886-953396AD7207}"/>
                </a:ext>
              </a:extLst>
            </p:cNvPr>
            <p:cNvSpPr>
              <a:spLocks noChangeArrowheads="1"/>
            </p:cNvSpPr>
            <p:nvPr/>
          </p:nvSpPr>
          <p:spPr bwMode="auto">
            <a:xfrm>
              <a:off x="9900975" y="3173105"/>
              <a:ext cx="141288"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16" name="Freeform 355">
              <a:extLst>
                <a:ext uri="{FF2B5EF4-FFF2-40B4-BE49-F238E27FC236}">
                  <a16:creationId xmlns:a16="http://schemas.microsoft.com/office/drawing/2014/main" id="{36FB8357-5F64-141B-3308-8A5BCEAA85BC}"/>
                </a:ext>
              </a:extLst>
            </p:cNvPr>
            <p:cNvSpPr>
              <a:spLocks/>
            </p:cNvSpPr>
            <p:nvPr/>
          </p:nvSpPr>
          <p:spPr bwMode="auto">
            <a:xfrm>
              <a:off x="9900975" y="3173105"/>
              <a:ext cx="141288" cy="74613"/>
            </a:xfrm>
            <a:custGeom>
              <a:avLst/>
              <a:gdLst>
                <a:gd name="T0" fmla="*/ 0 w 89"/>
                <a:gd name="T1" fmla="*/ 2147483646 h 47"/>
                <a:gd name="T2" fmla="*/ 2147483646 w 89"/>
                <a:gd name="T3" fmla="*/ 2147483646 h 47"/>
                <a:gd name="T4" fmla="*/ 0 w 89"/>
                <a:gd name="T5" fmla="*/ 0 h 47"/>
                <a:gd name="T6" fmla="*/ 0 w 89"/>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7">
                  <a:moveTo>
                    <a:pt x="0" y="47"/>
                  </a:moveTo>
                  <a:lnTo>
                    <a:pt x="89"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17" name="Rectangle 356">
              <a:extLst>
                <a:ext uri="{FF2B5EF4-FFF2-40B4-BE49-F238E27FC236}">
                  <a16:creationId xmlns:a16="http://schemas.microsoft.com/office/drawing/2014/main" id="{1FBAB64D-D2E9-A2D7-9814-87E8F4AD846A}"/>
                </a:ext>
              </a:extLst>
            </p:cNvPr>
            <p:cNvSpPr>
              <a:spLocks noChangeArrowheads="1"/>
            </p:cNvSpPr>
            <p:nvPr/>
          </p:nvSpPr>
          <p:spPr bwMode="auto">
            <a:xfrm>
              <a:off x="10266100" y="3303280"/>
              <a:ext cx="141288"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18" name="Freeform 357">
              <a:extLst>
                <a:ext uri="{FF2B5EF4-FFF2-40B4-BE49-F238E27FC236}">
                  <a16:creationId xmlns:a16="http://schemas.microsoft.com/office/drawing/2014/main" id="{321F1C58-3599-189D-EAF3-3EA7FDFAAF4E}"/>
                </a:ext>
              </a:extLst>
            </p:cNvPr>
            <p:cNvSpPr>
              <a:spLocks/>
            </p:cNvSpPr>
            <p:nvPr/>
          </p:nvSpPr>
          <p:spPr bwMode="auto">
            <a:xfrm>
              <a:off x="10266100" y="3303280"/>
              <a:ext cx="141288" cy="74613"/>
            </a:xfrm>
            <a:custGeom>
              <a:avLst/>
              <a:gdLst>
                <a:gd name="T0" fmla="*/ 0 w 89"/>
                <a:gd name="T1" fmla="*/ 2147483646 h 47"/>
                <a:gd name="T2" fmla="*/ 2147483646 w 89"/>
                <a:gd name="T3" fmla="*/ 2147483646 h 47"/>
                <a:gd name="T4" fmla="*/ 0 w 89"/>
                <a:gd name="T5" fmla="*/ 0 h 47"/>
                <a:gd name="T6" fmla="*/ 0 w 89"/>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7">
                  <a:moveTo>
                    <a:pt x="0" y="47"/>
                  </a:moveTo>
                  <a:lnTo>
                    <a:pt x="89"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19" name="Rectangle 358">
              <a:extLst>
                <a:ext uri="{FF2B5EF4-FFF2-40B4-BE49-F238E27FC236}">
                  <a16:creationId xmlns:a16="http://schemas.microsoft.com/office/drawing/2014/main" id="{44A3B765-670D-5EDD-BAC1-C4758B6E6745}"/>
                </a:ext>
              </a:extLst>
            </p:cNvPr>
            <p:cNvSpPr>
              <a:spLocks noChangeArrowheads="1"/>
            </p:cNvSpPr>
            <p:nvPr/>
          </p:nvSpPr>
          <p:spPr bwMode="auto">
            <a:xfrm>
              <a:off x="10080363" y="3303280"/>
              <a:ext cx="146050"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20" name="Freeform 359">
              <a:extLst>
                <a:ext uri="{FF2B5EF4-FFF2-40B4-BE49-F238E27FC236}">
                  <a16:creationId xmlns:a16="http://schemas.microsoft.com/office/drawing/2014/main" id="{B84840FF-4D1F-65D7-C390-B602B0E31DC2}"/>
                </a:ext>
              </a:extLst>
            </p:cNvPr>
            <p:cNvSpPr>
              <a:spLocks/>
            </p:cNvSpPr>
            <p:nvPr/>
          </p:nvSpPr>
          <p:spPr bwMode="auto">
            <a:xfrm>
              <a:off x="10080363" y="3303280"/>
              <a:ext cx="146050" cy="74613"/>
            </a:xfrm>
            <a:custGeom>
              <a:avLst/>
              <a:gdLst>
                <a:gd name="T0" fmla="*/ 0 w 92"/>
                <a:gd name="T1" fmla="*/ 2147483646 h 47"/>
                <a:gd name="T2" fmla="*/ 2147483646 w 92"/>
                <a:gd name="T3" fmla="*/ 2147483646 h 47"/>
                <a:gd name="T4" fmla="*/ 0 w 92"/>
                <a:gd name="T5" fmla="*/ 0 h 47"/>
                <a:gd name="T6" fmla="*/ 0 w 92"/>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 h="47">
                  <a:moveTo>
                    <a:pt x="0" y="47"/>
                  </a:moveTo>
                  <a:lnTo>
                    <a:pt x="92"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21" name="Rectangle 360">
              <a:extLst>
                <a:ext uri="{FF2B5EF4-FFF2-40B4-BE49-F238E27FC236}">
                  <a16:creationId xmlns:a16="http://schemas.microsoft.com/office/drawing/2014/main" id="{A0F3BCF9-5462-3072-5131-99CB35FEDD81}"/>
                </a:ext>
              </a:extLst>
            </p:cNvPr>
            <p:cNvSpPr>
              <a:spLocks noChangeArrowheads="1"/>
            </p:cNvSpPr>
            <p:nvPr/>
          </p:nvSpPr>
          <p:spPr bwMode="auto">
            <a:xfrm>
              <a:off x="9900975" y="3303280"/>
              <a:ext cx="141288"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22" name="Freeform 361">
              <a:extLst>
                <a:ext uri="{FF2B5EF4-FFF2-40B4-BE49-F238E27FC236}">
                  <a16:creationId xmlns:a16="http://schemas.microsoft.com/office/drawing/2014/main" id="{684051E0-8574-9887-BEF8-3B3D0E229327}"/>
                </a:ext>
              </a:extLst>
            </p:cNvPr>
            <p:cNvSpPr>
              <a:spLocks/>
            </p:cNvSpPr>
            <p:nvPr/>
          </p:nvSpPr>
          <p:spPr bwMode="auto">
            <a:xfrm>
              <a:off x="9900975" y="3303280"/>
              <a:ext cx="141288" cy="74613"/>
            </a:xfrm>
            <a:custGeom>
              <a:avLst/>
              <a:gdLst>
                <a:gd name="T0" fmla="*/ 0 w 89"/>
                <a:gd name="T1" fmla="*/ 2147483646 h 47"/>
                <a:gd name="T2" fmla="*/ 2147483646 w 89"/>
                <a:gd name="T3" fmla="*/ 2147483646 h 47"/>
                <a:gd name="T4" fmla="*/ 0 w 89"/>
                <a:gd name="T5" fmla="*/ 0 h 47"/>
                <a:gd name="T6" fmla="*/ 0 w 89"/>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7">
                  <a:moveTo>
                    <a:pt x="0" y="47"/>
                  </a:moveTo>
                  <a:lnTo>
                    <a:pt x="89"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23" name="Rectangle 362">
              <a:extLst>
                <a:ext uri="{FF2B5EF4-FFF2-40B4-BE49-F238E27FC236}">
                  <a16:creationId xmlns:a16="http://schemas.microsoft.com/office/drawing/2014/main" id="{278806C5-2DA9-2F33-257F-7608098A2915}"/>
                </a:ext>
              </a:extLst>
            </p:cNvPr>
            <p:cNvSpPr>
              <a:spLocks noChangeArrowheads="1"/>
            </p:cNvSpPr>
            <p:nvPr/>
          </p:nvSpPr>
          <p:spPr bwMode="auto">
            <a:xfrm>
              <a:off x="9712063" y="2912755"/>
              <a:ext cx="141288"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24" name="Freeform 363">
              <a:extLst>
                <a:ext uri="{FF2B5EF4-FFF2-40B4-BE49-F238E27FC236}">
                  <a16:creationId xmlns:a16="http://schemas.microsoft.com/office/drawing/2014/main" id="{B7B32CC0-23D4-176D-19E3-B4A7EE406309}"/>
                </a:ext>
              </a:extLst>
            </p:cNvPr>
            <p:cNvSpPr>
              <a:spLocks/>
            </p:cNvSpPr>
            <p:nvPr/>
          </p:nvSpPr>
          <p:spPr bwMode="auto">
            <a:xfrm>
              <a:off x="9712063" y="2912755"/>
              <a:ext cx="141288" cy="74613"/>
            </a:xfrm>
            <a:custGeom>
              <a:avLst/>
              <a:gdLst>
                <a:gd name="T0" fmla="*/ 0 w 89"/>
                <a:gd name="T1" fmla="*/ 2147483646 h 47"/>
                <a:gd name="T2" fmla="*/ 2147483646 w 89"/>
                <a:gd name="T3" fmla="*/ 2147483646 h 47"/>
                <a:gd name="T4" fmla="*/ 0 w 89"/>
                <a:gd name="T5" fmla="*/ 0 h 47"/>
                <a:gd name="T6" fmla="*/ 0 w 89"/>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7">
                  <a:moveTo>
                    <a:pt x="0" y="47"/>
                  </a:moveTo>
                  <a:lnTo>
                    <a:pt x="89"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25" name="Rectangle 364">
              <a:extLst>
                <a:ext uri="{FF2B5EF4-FFF2-40B4-BE49-F238E27FC236}">
                  <a16:creationId xmlns:a16="http://schemas.microsoft.com/office/drawing/2014/main" id="{4293D343-A9C5-DE48-D489-A188FAFD7057}"/>
                </a:ext>
              </a:extLst>
            </p:cNvPr>
            <p:cNvSpPr>
              <a:spLocks noChangeArrowheads="1"/>
            </p:cNvSpPr>
            <p:nvPr/>
          </p:nvSpPr>
          <p:spPr bwMode="auto">
            <a:xfrm>
              <a:off x="9526325" y="2912755"/>
              <a:ext cx="141288"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26" name="Freeform 365">
              <a:extLst>
                <a:ext uri="{FF2B5EF4-FFF2-40B4-BE49-F238E27FC236}">
                  <a16:creationId xmlns:a16="http://schemas.microsoft.com/office/drawing/2014/main" id="{5DC9F4A3-7E6D-C10D-2F80-221F35EFD85E}"/>
                </a:ext>
              </a:extLst>
            </p:cNvPr>
            <p:cNvSpPr>
              <a:spLocks/>
            </p:cNvSpPr>
            <p:nvPr/>
          </p:nvSpPr>
          <p:spPr bwMode="auto">
            <a:xfrm>
              <a:off x="9526325" y="2912755"/>
              <a:ext cx="141288" cy="74613"/>
            </a:xfrm>
            <a:custGeom>
              <a:avLst/>
              <a:gdLst>
                <a:gd name="T0" fmla="*/ 0 w 89"/>
                <a:gd name="T1" fmla="*/ 2147483646 h 47"/>
                <a:gd name="T2" fmla="*/ 2147483646 w 89"/>
                <a:gd name="T3" fmla="*/ 2147483646 h 47"/>
                <a:gd name="T4" fmla="*/ 0 w 89"/>
                <a:gd name="T5" fmla="*/ 0 h 47"/>
                <a:gd name="T6" fmla="*/ 0 w 89"/>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7">
                  <a:moveTo>
                    <a:pt x="0" y="47"/>
                  </a:moveTo>
                  <a:lnTo>
                    <a:pt x="89"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27" name="Rectangle 366">
              <a:extLst>
                <a:ext uri="{FF2B5EF4-FFF2-40B4-BE49-F238E27FC236}">
                  <a16:creationId xmlns:a16="http://schemas.microsoft.com/office/drawing/2014/main" id="{FE6D00F8-AA0B-F9FD-579C-7D8A3EC57FA4}"/>
                </a:ext>
              </a:extLst>
            </p:cNvPr>
            <p:cNvSpPr>
              <a:spLocks noChangeArrowheads="1"/>
            </p:cNvSpPr>
            <p:nvPr/>
          </p:nvSpPr>
          <p:spPr bwMode="auto">
            <a:xfrm>
              <a:off x="9342175" y="2912755"/>
              <a:ext cx="146050"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28" name="Freeform 367">
              <a:extLst>
                <a:ext uri="{FF2B5EF4-FFF2-40B4-BE49-F238E27FC236}">
                  <a16:creationId xmlns:a16="http://schemas.microsoft.com/office/drawing/2014/main" id="{CBF432A0-3E41-1EDD-32F6-5FBC110E3091}"/>
                </a:ext>
              </a:extLst>
            </p:cNvPr>
            <p:cNvSpPr>
              <a:spLocks/>
            </p:cNvSpPr>
            <p:nvPr/>
          </p:nvSpPr>
          <p:spPr bwMode="auto">
            <a:xfrm>
              <a:off x="9342175" y="2912755"/>
              <a:ext cx="146050" cy="74613"/>
            </a:xfrm>
            <a:custGeom>
              <a:avLst/>
              <a:gdLst>
                <a:gd name="T0" fmla="*/ 0 w 92"/>
                <a:gd name="T1" fmla="*/ 2147483646 h 47"/>
                <a:gd name="T2" fmla="*/ 2147483646 w 92"/>
                <a:gd name="T3" fmla="*/ 2147483646 h 47"/>
                <a:gd name="T4" fmla="*/ 0 w 92"/>
                <a:gd name="T5" fmla="*/ 0 h 47"/>
                <a:gd name="T6" fmla="*/ 0 w 92"/>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 h="47">
                  <a:moveTo>
                    <a:pt x="0" y="47"/>
                  </a:moveTo>
                  <a:lnTo>
                    <a:pt x="92"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29" name="Rectangle 368">
              <a:extLst>
                <a:ext uri="{FF2B5EF4-FFF2-40B4-BE49-F238E27FC236}">
                  <a16:creationId xmlns:a16="http://schemas.microsoft.com/office/drawing/2014/main" id="{CD4D8FFD-DD59-B043-01A7-8DA4FA1ED5A2}"/>
                </a:ext>
              </a:extLst>
            </p:cNvPr>
            <p:cNvSpPr>
              <a:spLocks noChangeArrowheads="1"/>
            </p:cNvSpPr>
            <p:nvPr/>
          </p:nvSpPr>
          <p:spPr bwMode="auto">
            <a:xfrm>
              <a:off x="9712063" y="3042930"/>
              <a:ext cx="141288"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30" name="Freeform 369">
              <a:extLst>
                <a:ext uri="{FF2B5EF4-FFF2-40B4-BE49-F238E27FC236}">
                  <a16:creationId xmlns:a16="http://schemas.microsoft.com/office/drawing/2014/main" id="{D461ADA3-1D8F-587D-89D3-D4AB927D3D0E}"/>
                </a:ext>
              </a:extLst>
            </p:cNvPr>
            <p:cNvSpPr>
              <a:spLocks/>
            </p:cNvSpPr>
            <p:nvPr/>
          </p:nvSpPr>
          <p:spPr bwMode="auto">
            <a:xfrm>
              <a:off x="9712063" y="3042930"/>
              <a:ext cx="141288" cy="74613"/>
            </a:xfrm>
            <a:custGeom>
              <a:avLst/>
              <a:gdLst>
                <a:gd name="T0" fmla="*/ 0 w 89"/>
                <a:gd name="T1" fmla="*/ 2147483646 h 47"/>
                <a:gd name="T2" fmla="*/ 2147483646 w 89"/>
                <a:gd name="T3" fmla="*/ 2147483646 h 47"/>
                <a:gd name="T4" fmla="*/ 0 w 89"/>
                <a:gd name="T5" fmla="*/ 0 h 47"/>
                <a:gd name="T6" fmla="*/ 0 w 89"/>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7">
                  <a:moveTo>
                    <a:pt x="0" y="47"/>
                  </a:moveTo>
                  <a:lnTo>
                    <a:pt x="89"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31" name="Rectangle 370">
              <a:extLst>
                <a:ext uri="{FF2B5EF4-FFF2-40B4-BE49-F238E27FC236}">
                  <a16:creationId xmlns:a16="http://schemas.microsoft.com/office/drawing/2014/main" id="{10D5E931-C347-EB43-C7BA-52863CE493AA}"/>
                </a:ext>
              </a:extLst>
            </p:cNvPr>
            <p:cNvSpPr>
              <a:spLocks noChangeArrowheads="1"/>
            </p:cNvSpPr>
            <p:nvPr/>
          </p:nvSpPr>
          <p:spPr bwMode="auto">
            <a:xfrm>
              <a:off x="9526325" y="3042930"/>
              <a:ext cx="141288"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32" name="Freeform 371">
              <a:extLst>
                <a:ext uri="{FF2B5EF4-FFF2-40B4-BE49-F238E27FC236}">
                  <a16:creationId xmlns:a16="http://schemas.microsoft.com/office/drawing/2014/main" id="{96ABBDEE-1D17-7382-6A4F-F7683C873F69}"/>
                </a:ext>
              </a:extLst>
            </p:cNvPr>
            <p:cNvSpPr>
              <a:spLocks/>
            </p:cNvSpPr>
            <p:nvPr/>
          </p:nvSpPr>
          <p:spPr bwMode="auto">
            <a:xfrm>
              <a:off x="9526325" y="3042930"/>
              <a:ext cx="141288" cy="74613"/>
            </a:xfrm>
            <a:custGeom>
              <a:avLst/>
              <a:gdLst>
                <a:gd name="T0" fmla="*/ 0 w 89"/>
                <a:gd name="T1" fmla="*/ 2147483646 h 47"/>
                <a:gd name="T2" fmla="*/ 2147483646 w 89"/>
                <a:gd name="T3" fmla="*/ 2147483646 h 47"/>
                <a:gd name="T4" fmla="*/ 0 w 89"/>
                <a:gd name="T5" fmla="*/ 0 h 47"/>
                <a:gd name="T6" fmla="*/ 0 w 89"/>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7">
                  <a:moveTo>
                    <a:pt x="0" y="47"/>
                  </a:moveTo>
                  <a:lnTo>
                    <a:pt x="89"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33" name="Rectangle 372">
              <a:extLst>
                <a:ext uri="{FF2B5EF4-FFF2-40B4-BE49-F238E27FC236}">
                  <a16:creationId xmlns:a16="http://schemas.microsoft.com/office/drawing/2014/main" id="{0A27C1AA-71B6-E220-00AA-7C970059A8C0}"/>
                </a:ext>
              </a:extLst>
            </p:cNvPr>
            <p:cNvSpPr>
              <a:spLocks noChangeArrowheads="1"/>
            </p:cNvSpPr>
            <p:nvPr/>
          </p:nvSpPr>
          <p:spPr bwMode="auto">
            <a:xfrm>
              <a:off x="9342175" y="3042930"/>
              <a:ext cx="146050"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34" name="Freeform 373">
              <a:extLst>
                <a:ext uri="{FF2B5EF4-FFF2-40B4-BE49-F238E27FC236}">
                  <a16:creationId xmlns:a16="http://schemas.microsoft.com/office/drawing/2014/main" id="{E6C16CEC-60E0-EDBF-3D16-57526EA0539A}"/>
                </a:ext>
              </a:extLst>
            </p:cNvPr>
            <p:cNvSpPr>
              <a:spLocks/>
            </p:cNvSpPr>
            <p:nvPr/>
          </p:nvSpPr>
          <p:spPr bwMode="auto">
            <a:xfrm>
              <a:off x="9342175" y="3042930"/>
              <a:ext cx="146050" cy="74613"/>
            </a:xfrm>
            <a:custGeom>
              <a:avLst/>
              <a:gdLst>
                <a:gd name="T0" fmla="*/ 0 w 92"/>
                <a:gd name="T1" fmla="*/ 2147483646 h 47"/>
                <a:gd name="T2" fmla="*/ 2147483646 w 92"/>
                <a:gd name="T3" fmla="*/ 2147483646 h 47"/>
                <a:gd name="T4" fmla="*/ 0 w 92"/>
                <a:gd name="T5" fmla="*/ 0 h 47"/>
                <a:gd name="T6" fmla="*/ 0 w 92"/>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 h="47">
                  <a:moveTo>
                    <a:pt x="0" y="47"/>
                  </a:moveTo>
                  <a:lnTo>
                    <a:pt x="92"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35" name="Rectangle 374">
              <a:extLst>
                <a:ext uri="{FF2B5EF4-FFF2-40B4-BE49-F238E27FC236}">
                  <a16:creationId xmlns:a16="http://schemas.microsoft.com/office/drawing/2014/main" id="{41D48FE5-4B94-2A93-6BDB-230AA4C3DA7D}"/>
                </a:ext>
              </a:extLst>
            </p:cNvPr>
            <p:cNvSpPr>
              <a:spLocks noChangeArrowheads="1"/>
            </p:cNvSpPr>
            <p:nvPr/>
          </p:nvSpPr>
          <p:spPr bwMode="auto">
            <a:xfrm>
              <a:off x="9712063" y="3173105"/>
              <a:ext cx="141288"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36" name="Freeform 375">
              <a:extLst>
                <a:ext uri="{FF2B5EF4-FFF2-40B4-BE49-F238E27FC236}">
                  <a16:creationId xmlns:a16="http://schemas.microsoft.com/office/drawing/2014/main" id="{2D1E2187-DC77-99E1-C0A1-C3D15F1A23F2}"/>
                </a:ext>
              </a:extLst>
            </p:cNvPr>
            <p:cNvSpPr>
              <a:spLocks/>
            </p:cNvSpPr>
            <p:nvPr/>
          </p:nvSpPr>
          <p:spPr bwMode="auto">
            <a:xfrm>
              <a:off x="9712063" y="3173105"/>
              <a:ext cx="141288" cy="74613"/>
            </a:xfrm>
            <a:custGeom>
              <a:avLst/>
              <a:gdLst>
                <a:gd name="T0" fmla="*/ 0 w 89"/>
                <a:gd name="T1" fmla="*/ 2147483646 h 47"/>
                <a:gd name="T2" fmla="*/ 2147483646 w 89"/>
                <a:gd name="T3" fmla="*/ 2147483646 h 47"/>
                <a:gd name="T4" fmla="*/ 0 w 89"/>
                <a:gd name="T5" fmla="*/ 0 h 47"/>
                <a:gd name="T6" fmla="*/ 0 w 89"/>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7">
                  <a:moveTo>
                    <a:pt x="0" y="47"/>
                  </a:moveTo>
                  <a:lnTo>
                    <a:pt x="89"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37" name="Rectangle 376">
              <a:extLst>
                <a:ext uri="{FF2B5EF4-FFF2-40B4-BE49-F238E27FC236}">
                  <a16:creationId xmlns:a16="http://schemas.microsoft.com/office/drawing/2014/main" id="{176C19DB-3211-7739-13A1-CC2E617CC2E3}"/>
                </a:ext>
              </a:extLst>
            </p:cNvPr>
            <p:cNvSpPr>
              <a:spLocks noChangeArrowheads="1"/>
            </p:cNvSpPr>
            <p:nvPr/>
          </p:nvSpPr>
          <p:spPr bwMode="auto">
            <a:xfrm>
              <a:off x="9526325" y="3173105"/>
              <a:ext cx="141288"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38" name="Freeform 377">
              <a:extLst>
                <a:ext uri="{FF2B5EF4-FFF2-40B4-BE49-F238E27FC236}">
                  <a16:creationId xmlns:a16="http://schemas.microsoft.com/office/drawing/2014/main" id="{858873A4-15B4-F198-36D3-E2A2C42B5708}"/>
                </a:ext>
              </a:extLst>
            </p:cNvPr>
            <p:cNvSpPr>
              <a:spLocks/>
            </p:cNvSpPr>
            <p:nvPr/>
          </p:nvSpPr>
          <p:spPr bwMode="auto">
            <a:xfrm>
              <a:off x="9526325" y="3173105"/>
              <a:ext cx="141288" cy="74613"/>
            </a:xfrm>
            <a:custGeom>
              <a:avLst/>
              <a:gdLst>
                <a:gd name="T0" fmla="*/ 0 w 89"/>
                <a:gd name="T1" fmla="*/ 2147483646 h 47"/>
                <a:gd name="T2" fmla="*/ 2147483646 w 89"/>
                <a:gd name="T3" fmla="*/ 2147483646 h 47"/>
                <a:gd name="T4" fmla="*/ 0 w 89"/>
                <a:gd name="T5" fmla="*/ 0 h 47"/>
                <a:gd name="T6" fmla="*/ 0 w 89"/>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7">
                  <a:moveTo>
                    <a:pt x="0" y="47"/>
                  </a:moveTo>
                  <a:lnTo>
                    <a:pt x="89"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39" name="Rectangle 378">
              <a:extLst>
                <a:ext uri="{FF2B5EF4-FFF2-40B4-BE49-F238E27FC236}">
                  <a16:creationId xmlns:a16="http://schemas.microsoft.com/office/drawing/2014/main" id="{95EADCF4-E5E1-E7F7-6BDD-1E27FDA024CB}"/>
                </a:ext>
              </a:extLst>
            </p:cNvPr>
            <p:cNvSpPr>
              <a:spLocks noChangeArrowheads="1"/>
            </p:cNvSpPr>
            <p:nvPr/>
          </p:nvSpPr>
          <p:spPr bwMode="auto">
            <a:xfrm>
              <a:off x="9342175" y="3173105"/>
              <a:ext cx="146050"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40" name="Freeform 379">
              <a:extLst>
                <a:ext uri="{FF2B5EF4-FFF2-40B4-BE49-F238E27FC236}">
                  <a16:creationId xmlns:a16="http://schemas.microsoft.com/office/drawing/2014/main" id="{157B17A9-46B5-460E-6DDE-29B5CF0D086D}"/>
                </a:ext>
              </a:extLst>
            </p:cNvPr>
            <p:cNvSpPr>
              <a:spLocks/>
            </p:cNvSpPr>
            <p:nvPr/>
          </p:nvSpPr>
          <p:spPr bwMode="auto">
            <a:xfrm>
              <a:off x="9342175" y="3173105"/>
              <a:ext cx="146050" cy="74613"/>
            </a:xfrm>
            <a:custGeom>
              <a:avLst/>
              <a:gdLst>
                <a:gd name="T0" fmla="*/ 0 w 92"/>
                <a:gd name="T1" fmla="*/ 2147483646 h 47"/>
                <a:gd name="T2" fmla="*/ 2147483646 w 92"/>
                <a:gd name="T3" fmla="*/ 2147483646 h 47"/>
                <a:gd name="T4" fmla="*/ 0 w 92"/>
                <a:gd name="T5" fmla="*/ 0 h 47"/>
                <a:gd name="T6" fmla="*/ 0 w 92"/>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 h="47">
                  <a:moveTo>
                    <a:pt x="0" y="47"/>
                  </a:moveTo>
                  <a:lnTo>
                    <a:pt x="92"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41" name="Rectangle 380">
              <a:extLst>
                <a:ext uri="{FF2B5EF4-FFF2-40B4-BE49-F238E27FC236}">
                  <a16:creationId xmlns:a16="http://schemas.microsoft.com/office/drawing/2014/main" id="{987472EE-F5ED-651D-CA40-2ED1AAFC16F8}"/>
                </a:ext>
              </a:extLst>
            </p:cNvPr>
            <p:cNvSpPr>
              <a:spLocks noChangeArrowheads="1"/>
            </p:cNvSpPr>
            <p:nvPr/>
          </p:nvSpPr>
          <p:spPr bwMode="auto">
            <a:xfrm>
              <a:off x="9712063" y="3303280"/>
              <a:ext cx="141288"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42" name="Freeform 381">
              <a:extLst>
                <a:ext uri="{FF2B5EF4-FFF2-40B4-BE49-F238E27FC236}">
                  <a16:creationId xmlns:a16="http://schemas.microsoft.com/office/drawing/2014/main" id="{AB9299B1-97A7-8FCC-9135-34138CBAB971}"/>
                </a:ext>
              </a:extLst>
            </p:cNvPr>
            <p:cNvSpPr>
              <a:spLocks/>
            </p:cNvSpPr>
            <p:nvPr/>
          </p:nvSpPr>
          <p:spPr bwMode="auto">
            <a:xfrm>
              <a:off x="9712063" y="3303280"/>
              <a:ext cx="141288" cy="74613"/>
            </a:xfrm>
            <a:custGeom>
              <a:avLst/>
              <a:gdLst>
                <a:gd name="T0" fmla="*/ 0 w 89"/>
                <a:gd name="T1" fmla="*/ 2147483646 h 47"/>
                <a:gd name="T2" fmla="*/ 2147483646 w 89"/>
                <a:gd name="T3" fmla="*/ 2147483646 h 47"/>
                <a:gd name="T4" fmla="*/ 0 w 89"/>
                <a:gd name="T5" fmla="*/ 0 h 47"/>
                <a:gd name="T6" fmla="*/ 0 w 89"/>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7">
                  <a:moveTo>
                    <a:pt x="0" y="47"/>
                  </a:moveTo>
                  <a:lnTo>
                    <a:pt x="89"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43" name="Rectangle 382">
              <a:extLst>
                <a:ext uri="{FF2B5EF4-FFF2-40B4-BE49-F238E27FC236}">
                  <a16:creationId xmlns:a16="http://schemas.microsoft.com/office/drawing/2014/main" id="{09E87D3E-1A60-BCA9-FBBA-AEF2BBFEB00D}"/>
                </a:ext>
              </a:extLst>
            </p:cNvPr>
            <p:cNvSpPr>
              <a:spLocks noChangeArrowheads="1"/>
            </p:cNvSpPr>
            <p:nvPr/>
          </p:nvSpPr>
          <p:spPr bwMode="auto">
            <a:xfrm>
              <a:off x="9526325" y="3303280"/>
              <a:ext cx="141288"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44" name="Freeform 383">
              <a:extLst>
                <a:ext uri="{FF2B5EF4-FFF2-40B4-BE49-F238E27FC236}">
                  <a16:creationId xmlns:a16="http://schemas.microsoft.com/office/drawing/2014/main" id="{61127B1F-3827-8748-A11A-5125CF4E59CB}"/>
                </a:ext>
              </a:extLst>
            </p:cNvPr>
            <p:cNvSpPr>
              <a:spLocks/>
            </p:cNvSpPr>
            <p:nvPr/>
          </p:nvSpPr>
          <p:spPr bwMode="auto">
            <a:xfrm>
              <a:off x="9526325" y="3303280"/>
              <a:ext cx="141288" cy="74613"/>
            </a:xfrm>
            <a:custGeom>
              <a:avLst/>
              <a:gdLst>
                <a:gd name="T0" fmla="*/ 0 w 89"/>
                <a:gd name="T1" fmla="*/ 2147483646 h 47"/>
                <a:gd name="T2" fmla="*/ 2147483646 w 89"/>
                <a:gd name="T3" fmla="*/ 2147483646 h 47"/>
                <a:gd name="T4" fmla="*/ 0 w 89"/>
                <a:gd name="T5" fmla="*/ 0 h 47"/>
                <a:gd name="T6" fmla="*/ 0 w 89"/>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47">
                  <a:moveTo>
                    <a:pt x="0" y="47"/>
                  </a:moveTo>
                  <a:lnTo>
                    <a:pt x="89"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45" name="Rectangle 384">
              <a:extLst>
                <a:ext uri="{FF2B5EF4-FFF2-40B4-BE49-F238E27FC236}">
                  <a16:creationId xmlns:a16="http://schemas.microsoft.com/office/drawing/2014/main" id="{E7993263-303D-C0C4-8DBD-02CB6C8A918E}"/>
                </a:ext>
              </a:extLst>
            </p:cNvPr>
            <p:cNvSpPr>
              <a:spLocks noChangeArrowheads="1"/>
            </p:cNvSpPr>
            <p:nvPr/>
          </p:nvSpPr>
          <p:spPr bwMode="auto">
            <a:xfrm>
              <a:off x="9342175" y="3303280"/>
              <a:ext cx="146050" cy="74613"/>
            </a:xfrm>
            <a:prstGeom prst="rect">
              <a:avLst/>
            </a:prstGeom>
            <a:solidFill>
              <a:srgbClr val="0072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spcBef>
                  <a:spcPct val="0"/>
                </a:spcBef>
                <a:buFontTx/>
                <a:buNone/>
              </a:pPr>
              <a:endParaRPr lang="tr-TR" altLang="tr-TR" sz="1800">
                <a:latin typeface="Calibri" panose="020F0502020204030204" pitchFamily="34" charset="0"/>
              </a:endParaRPr>
            </a:p>
          </p:txBody>
        </p:sp>
        <p:sp>
          <p:nvSpPr>
            <p:cNvPr id="28846" name="Freeform 385">
              <a:extLst>
                <a:ext uri="{FF2B5EF4-FFF2-40B4-BE49-F238E27FC236}">
                  <a16:creationId xmlns:a16="http://schemas.microsoft.com/office/drawing/2014/main" id="{4566CEE8-527B-B61A-234B-75779FA30CC0}"/>
                </a:ext>
              </a:extLst>
            </p:cNvPr>
            <p:cNvSpPr>
              <a:spLocks/>
            </p:cNvSpPr>
            <p:nvPr/>
          </p:nvSpPr>
          <p:spPr bwMode="auto">
            <a:xfrm>
              <a:off x="9342175" y="3303280"/>
              <a:ext cx="146050" cy="74613"/>
            </a:xfrm>
            <a:custGeom>
              <a:avLst/>
              <a:gdLst>
                <a:gd name="T0" fmla="*/ 0 w 92"/>
                <a:gd name="T1" fmla="*/ 2147483646 h 47"/>
                <a:gd name="T2" fmla="*/ 2147483646 w 92"/>
                <a:gd name="T3" fmla="*/ 2147483646 h 47"/>
                <a:gd name="T4" fmla="*/ 0 w 92"/>
                <a:gd name="T5" fmla="*/ 0 h 47"/>
                <a:gd name="T6" fmla="*/ 0 w 92"/>
                <a:gd name="T7" fmla="*/ 2147483646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 h="47">
                  <a:moveTo>
                    <a:pt x="0" y="47"/>
                  </a:moveTo>
                  <a:lnTo>
                    <a:pt x="92" y="47"/>
                  </a:lnTo>
                  <a:lnTo>
                    <a:pt x="0" y="0"/>
                  </a:lnTo>
                  <a:lnTo>
                    <a:pt x="0" y="47"/>
                  </a:lnTo>
                  <a:close/>
                </a:path>
              </a:pathLst>
            </a:custGeom>
            <a:solidFill>
              <a:srgbClr val="005E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47" name="Freeform 386">
              <a:extLst>
                <a:ext uri="{FF2B5EF4-FFF2-40B4-BE49-F238E27FC236}">
                  <a16:creationId xmlns:a16="http://schemas.microsoft.com/office/drawing/2014/main" id="{2E82D667-60B1-1529-70AA-1CAD8D24A870}"/>
                </a:ext>
              </a:extLst>
            </p:cNvPr>
            <p:cNvSpPr>
              <a:spLocks/>
            </p:cNvSpPr>
            <p:nvPr/>
          </p:nvSpPr>
          <p:spPr bwMode="auto">
            <a:xfrm>
              <a:off x="10210538" y="3646180"/>
              <a:ext cx="274638" cy="165100"/>
            </a:xfrm>
            <a:custGeom>
              <a:avLst/>
              <a:gdLst>
                <a:gd name="T0" fmla="*/ 2147483646 w 70"/>
                <a:gd name="T1" fmla="*/ 2147483646 h 42"/>
                <a:gd name="T2" fmla="*/ 2147483646 w 70"/>
                <a:gd name="T3" fmla="*/ 0 h 42"/>
                <a:gd name="T4" fmla="*/ 2147483646 w 70"/>
                <a:gd name="T5" fmla="*/ 2147483646 h 42"/>
                <a:gd name="T6" fmla="*/ 2147483646 w 70"/>
                <a:gd name="T7" fmla="*/ 2147483646 h 4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42">
                  <a:moveTo>
                    <a:pt x="12" y="42"/>
                  </a:moveTo>
                  <a:cubicBezTo>
                    <a:pt x="12" y="42"/>
                    <a:pt x="0" y="11"/>
                    <a:pt x="35" y="0"/>
                  </a:cubicBezTo>
                  <a:cubicBezTo>
                    <a:pt x="70" y="11"/>
                    <a:pt x="58" y="42"/>
                    <a:pt x="58" y="42"/>
                  </a:cubicBezTo>
                  <a:cubicBezTo>
                    <a:pt x="12" y="42"/>
                    <a:pt x="12" y="42"/>
                    <a:pt x="12" y="42"/>
                  </a:cubicBezTo>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48" name="Freeform 387">
              <a:extLst>
                <a:ext uri="{FF2B5EF4-FFF2-40B4-BE49-F238E27FC236}">
                  <a16:creationId xmlns:a16="http://schemas.microsoft.com/office/drawing/2014/main" id="{C97895FA-8465-0FA3-A06A-ADD77ACFD752}"/>
                </a:ext>
              </a:extLst>
            </p:cNvPr>
            <p:cNvSpPr>
              <a:spLocks/>
            </p:cNvSpPr>
            <p:nvPr/>
          </p:nvSpPr>
          <p:spPr bwMode="auto">
            <a:xfrm>
              <a:off x="10348650" y="3646180"/>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909AA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49" name="Freeform 388">
              <a:extLst>
                <a:ext uri="{FF2B5EF4-FFF2-40B4-BE49-F238E27FC236}">
                  <a16:creationId xmlns:a16="http://schemas.microsoft.com/office/drawing/2014/main" id="{D11DC085-54D6-71A6-3653-8F0466EF3D72}"/>
                </a:ext>
              </a:extLst>
            </p:cNvPr>
            <p:cNvSpPr>
              <a:spLocks/>
            </p:cNvSpPr>
            <p:nvPr/>
          </p:nvSpPr>
          <p:spPr bwMode="auto">
            <a:xfrm>
              <a:off x="10348650" y="3646180"/>
              <a:ext cx="136525" cy="165100"/>
            </a:xfrm>
            <a:custGeom>
              <a:avLst/>
              <a:gdLst>
                <a:gd name="T0" fmla="*/ 0 w 35"/>
                <a:gd name="T1" fmla="*/ 0 h 42"/>
                <a:gd name="T2" fmla="*/ 0 w 35"/>
                <a:gd name="T3" fmla="*/ 0 h 42"/>
                <a:gd name="T4" fmla="*/ 0 w 35"/>
                <a:gd name="T5" fmla="*/ 2147483646 h 42"/>
                <a:gd name="T6" fmla="*/ 2147483646 w 35"/>
                <a:gd name="T7" fmla="*/ 2147483646 h 42"/>
                <a:gd name="T8" fmla="*/ 0 w 35"/>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5" h="42">
                  <a:moveTo>
                    <a:pt x="0" y="0"/>
                  </a:moveTo>
                  <a:cubicBezTo>
                    <a:pt x="0" y="0"/>
                    <a:pt x="0" y="0"/>
                    <a:pt x="0" y="0"/>
                  </a:cubicBezTo>
                  <a:cubicBezTo>
                    <a:pt x="0" y="42"/>
                    <a:pt x="0" y="42"/>
                    <a:pt x="0" y="42"/>
                  </a:cubicBezTo>
                  <a:cubicBezTo>
                    <a:pt x="23" y="42"/>
                    <a:pt x="23" y="42"/>
                    <a:pt x="23" y="42"/>
                  </a:cubicBezTo>
                  <a:cubicBezTo>
                    <a:pt x="23" y="42"/>
                    <a:pt x="35" y="11"/>
                    <a:pt x="0" y="0"/>
                  </a:cubicBezTo>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50" name="Freeform 389">
              <a:extLst>
                <a:ext uri="{FF2B5EF4-FFF2-40B4-BE49-F238E27FC236}">
                  <a16:creationId xmlns:a16="http://schemas.microsoft.com/office/drawing/2014/main" id="{F2BDEF66-B54E-799C-E3A2-D1A0D00FC062}"/>
                </a:ext>
              </a:extLst>
            </p:cNvPr>
            <p:cNvSpPr>
              <a:spLocks/>
            </p:cNvSpPr>
            <p:nvPr/>
          </p:nvSpPr>
          <p:spPr bwMode="auto">
            <a:xfrm>
              <a:off x="9248513" y="3646180"/>
              <a:ext cx="274638" cy="165100"/>
            </a:xfrm>
            <a:custGeom>
              <a:avLst/>
              <a:gdLst>
                <a:gd name="T0" fmla="*/ 2147483646 w 70"/>
                <a:gd name="T1" fmla="*/ 2147483646 h 42"/>
                <a:gd name="T2" fmla="*/ 2147483646 w 70"/>
                <a:gd name="T3" fmla="*/ 0 h 42"/>
                <a:gd name="T4" fmla="*/ 2147483646 w 70"/>
                <a:gd name="T5" fmla="*/ 2147483646 h 42"/>
                <a:gd name="T6" fmla="*/ 2147483646 w 70"/>
                <a:gd name="T7" fmla="*/ 2147483646 h 4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42">
                  <a:moveTo>
                    <a:pt x="12" y="42"/>
                  </a:moveTo>
                  <a:cubicBezTo>
                    <a:pt x="12" y="42"/>
                    <a:pt x="0" y="11"/>
                    <a:pt x="35" y="0"/>
                  </a:cubicBezTo>
                  <a:cubicBezTo>
                    <a:pt x="70" y="11"/>
                    <a:pt x="58" y="42"/>
                    <a:pt x="58" y="42"/>
                  </a:cubicBezTo>
                  <a:cubicBezTo>
                    <a:pt x="12" y="42"/>
                    <a:pt x="12" y="42"/>
                    <a:pt x="12" y="42"/>
                  </a:cubicBezTo>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51" name="Freeform 391">
              <a:extLst>
                <a:ext uri="{FF2B5EF4-FFF2-40B4-BE49-F238E27FC236}">
                  <a16:creationId xmlns:a16="http://schemas.microsoft.com/office/drawing/2014/main" id="{D19BF3C7-7E02-D41A-2758-5A9DC87383F1}"/>
                </a:ext>
              </a:extLst>
            </p:cNvPr>
            <p:cNvSpPr>
              <a:spLocks/>
            </p:cNvSpPr>
            <p:nvPr/>
          </p:nvSpPr>
          <p:spPr bwMode="auto">
            <a:xfrm>
              <a:off x="9385038" y="3646180"/>
              <a:ext cx="138113" cy="165100"/>
            </a:xfrm>
            <a:custGeom>
              <a:avLst/>
              <a:gdLst>
                <a:gd name="T0" fmla="*/ 0 w 35"/>
                <a:gd name="T1" fmla="*/ 0 h 42"/>
                <a:gd name="T2" fmla="*/ 0 w 35"/>
                <a:gd name="T3" fmla="*/ 0 h 42"/>
                <a:gd name="T4" fmla="*/ 0 w 35"/>
                <a:gd name="T5" fmla="*/ 2147483646 h 42"/>
                <a:gd name="T6" fmla="*/ 2147483646 w 35"/>
                <a:gd name="T7" fmla="*/ 2147483646 h 42"/>
                <a:gd name="T8" fmla="*/ 0 w 35"/>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5" h="42">
                  <a:moveTo>
                    <a:pt x="0" y="0"/>
                  </a:moveTo>
                  <a:cubicBezTo>
                    <a:pt x="0" y="0"/>
                    <a:pt x="0" y="0"/>
                    <a:pt x="0" y="0"/>
                  </a:cubicBezTo>
                  <a:cubicBezTo>
                    <a:pt x="0" y="42"/>
                    <a:pt x="0" y="42"/>
                    <a:pt x="0" y="42"/>
                  </a:cubicBezTo>
                  <a:cubicBezTo>
                    <a:pt x="23" y="42"/>
                    <a:pt x="23" y="42"/>
                    <a:pt x="23" y="42"/>
                  </a:cubicBezTo>
                  <a:cubicBezTo>
                    <a:pt x="23" y="42"/>
                    <a:pt x="35" y="11"/>
                    <a:pt x="0" y="0"/>
                  </a:cubicBezTo>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68" name="Freeform 2575">
              <a:extLst>
                <a:ext uri="{FF2B5EF4-FFF2-40B4-BE49-F238E27FC236}">
                  <a16:creationId xmlns:a16="http://schemas.microsoft.com/office/drawing/2014/main" id="{3ABD6301-74E4-BC88-AAAA-D392A212926E}"/>
                </a:ext>
              </a:extLst>
            </p:cNvPr>
            <p:cNvSpPr>
              <a:spLocks noEditPoints="1"/>
            </p:cNvSpPr>
            <p:nvPr/>
          </p:nvSpPr>
          <p:spPr bwMode="auto">
            <a:xfrm>
              <a:off x="7130784" y="2352420"/>
              <a:ext cx="1427065" cy="1435160"/>
            </a:xfrm>
            <a:custGeom>
              <a:avLst/>
              <a:gdLst>
                <a:gd name="T0" fmla="*/ 662 w 902"/>
                <a:gd name="T1" fmla="*/ 430 h 901"/>
                <a:gd name="T2" fmla="*/ 839 w 902"/>
                <a:gd name="T3" fmla="*/ 427 h 901"/>
                <a:gd name="T4" fmla="*/ 826 w 902"/>
                <a:gd name="T5" fmla="*/ 450 h 901"/>
                <a:gd name="T6" fmla="*/ 662 w 902"/>
                <a:gd name="T7" fmla="*/ 490 h 901"/>
                <a:gd name="T8" fmla="*/ 839 w 902"/>
                <a:gd name="T9" fmla="*/ 488 h 901"/>
                <a:gd name="T10" fmla="*/ 826 w 902"/>
                <a:gd name="T11" fmla="*/ 570 h 901"/>
                <a:gd name="T12" fmla="*/ 664 w 902"/>
                <a:gd name="T13" fmla="*/ 547 h 901"/>
                <a:gd name="T14" fmla="*/ 840 w 902"/>
                <a:gd name="T15" fmla="*/ 550 h 901"/>
                <a:gd name="T16" fmla="*/ 826 w 902"/>
                <a:gd name="T17" fmla="*/ 631 h 901"/>
                <a:gd name="T18" fmla="*/ 664 w 902"/>
                <a:gd name="T19" fmla="*/ 608 h 901"/>
                <a:gd name="T20" fmla="*/ 840 w 902"/>
                <a:gd name="T21" fmla="*/ 610 h 901"/>
                <a:gd name="T22" fmla="*/ 676 w 902"/>
                <a:gd name="T23" fmla="*/ 690 h 901"/>
                <a:gd name="T24" fmla="*/ 665 w 902"/>
                <a:gd name="T25" fmla="*/ 665 h 901"/>
                <a:gd name="T26" fmla="*/ 841 w 902"/>
                <a:gd name="T27" fmla="*/ 673 h 901"/>
                <a:gd name="T28" fmla="*/ 676 w 902"/>
                <a:gd name="T29" fmla="*/ 751 h 901"/>
                <a:gd name="T30" fmla="*/ 665 w 902"/>
                <a:gd name="T31" fmla="*/ 726 h 901"/>
                <a:gd name="T32" fmla="*/ 841 w 902"/>
                <a:gd name="T33" fmla="*/ 733 h 901"/>
                <a:gd name="T34" fmla="*/ 403 w 902"/>
                <a:gd name="T35" fmla="*/ 631 h 901"/>
                <a:gd name="T36" fmla="*/ 398 w 902"/>
                <a:gd name="T37" fmla="*/ 604 h 901"/>
                <a:gd name="T38" fmla="*/ 572 w 902"/>
                <a:gd name="T39" fmla="*/ 616 h 901"/>
                <a:gd name="T40" fmla="*/ 400 w 902"/>
                <a:gd name="T41" fmla="*/ 689 h 901"/>
                <a:gd name="T42" fmla="*/ 400 w 902"/>
                <a:gd name="T43" fmla="*/ 662 h 901"/>
                <a:gd name="T44" fmla="*/ 571 w 902"/>
                <a:gd name="T45" fmla="*/ 679 h 901"/>
                <a:gd name="T46" fmla="*/ 400 w 902"/>
                <a:gd name="T47" fmla="*/ 750 h 901"/>
                <a:gd name="T48" fmla="*/ 400 w 902"/>
                <a:gd name="T49" fmla="*/ 722 h 901"/>
                <a:gd name="T50" fmla="*/ 571 w 902"/>
                <a:gd name="T51" fmla="*/ 739 h 901"/>
                <a:gd name="T52" fmla="*/ 67 w 902"/>
                <a:gd name="T53" fmla="*/ 358 h 901"/>
                <a:gd name="T54" fmla="*/ 73 w 902"/>
                <a:gd name="T55" fmla="*/ 330 h 901"/>
                <a:gd name="T56" fmla="*/ 300 w 902"/>
                <a:gd name="T57" fmla="*/ 351 h 901"/>
                <a:gd name="T58" fmla="*/ 65 w 902"/>
                <a:gd name="T59" fmla="*/ 416 h 901"/>
                <a:gd name="T60" fmla="*/ 76 w 902"/>
                <a:gd name="T61" fmla="*/ 391 h 901"/>
                <a:gd name="T62" fmla="*/ 299 w 902"/>
                <a:gd name="T63" fmla="*/ 414 h 901"/>
                <a:gd name="T64" fmla="*/ 65 w 902"/>
                <a:gd name="T65" fmla="*/ 477 h 901"/>
                <a:gd name="T66" fmla="*/ 76 w 902"/>
                <a:gd name="T67" fmla="*/ 450 h 901"/>
                <a:gd name="T68" fmla="*/ 299 w 902"/>
                <a:gd name="T69" fmla="*/ 475 h 901"/>
                <a:gd name="T70" fmla="*/ 63 w 902"/>
                <a:gd name="T71" fmla="*/ 534 h 901"/>
                <a:gd name="T72" fmla="*/ 285 w 902"/>
                <a:gd name="T73" fmla="*/ 511 h 901"/>
                <a:gd name="T74" fmla="*/ 296 w 902"/>
                <a:gd name="T75" fmla="*/ 536 h 901"/>
                <a:gd name="T76" fmla="*/ 63 w 902"/>
                <a:gd name="T77" fmla="*/ 595 h 901"/>
                <a:gd name="T78" fmla="*/ 285 w 902"/>
                <a:gd name="T79" fmla="*/ 570 h 901"/>
                <a:gd name="T80" fmla="*/ 296 w 902"/>
                <a:gd name="T81" fmla="*/ 597 h 901"/>
                <a:gd name="T82" fmla="*/ 62 w 902"/>
                <a:gd name="T83" fmla="*/ 652 h 901"/>
                <a:gd name="T84" fmla="*/ 289 w 902"/>
                <a:gd name="T85" fmla="*/ 631 h 901"/>
                <a:gd name="T86" fmla="*/ 294 w 902"/>
                <a:gd name="T87" fmla="*/ 659 h 901"/>
                <a:gd name="T88" fmla="*/ 62 w 902"/>
                <a:gd name="T89" fmla="*/ 711 h 901"/>
                <a:gd name="T90" fmla="*/ 289 w 902"/>
                <a:gd name="T91" fmla="*/ 692 h 901"/>
                <a:gd name="T92" fmla="*/ 294 w 902"/>
                <a:gd name="T93" fmla="*/ 718 h 901"/>
                <a:gd name="T94" fmla="*/ 239 w 902"/>
                <a:gd name="T95" fmla="*/ 219 h 901"/>
                <a:gd name="T96" fmla="*/ 132 w 902"/>
                <a:gd name="T97" fmla="*/ 240 h 901"/>
                <a:gd name="T98" fmla="*/ 127 w 902"/>
                <a:gd name="T99" fmla="*/ 213 h 901"/>
                <a:gd name="T100" fmla="*/ 833 w 902"/>
                <a:gd name="T101" fmla="*/ 272 h 901"/>
                <a:gd name="T102" fmla="*/ 661 w 902"/>
                <a:gd name="T103" fmla="*/ 360 h 901"/>
                <a:gd name="T104" fmla="*/ 361 w 902"/>
                <a:gd name="T105" fmla="*/ 285 h 901"/>
                <a:gd name="T106" fmla="*/ 300 w 902"/>
                <a:gd name="T107" fmla="*/ 160 h 901"/>
                <a:gd name="T108" fmla="*/ 176 w 902"/>
                <a:gd name="T109" fmla="*/ 5 h 901"/>
                <a:gd name="T110" fmla="*/ 151 w 902"/>
                <a:gd name="T111" fmla="*/ 16 h 901"/>
                <a:gd name="T112" fmla="*/ 16 w 902"/>
                <a:gd name="T113" fmla="*/ 271 h 901"/>
                <a:gd name="T114" fmla="*/ 3 w 902"/>
                <a:gd name="T115" fmla="*/ 894 h 901"/>
                <a:gd name="T116" fmla="*/ 127 w 902"/>
                <a:gd name="T117" fmla="*/ 784 h 901"/>
                <a:gd name="T118" fmla="*/ 210 w 902"/>
                <a:gd name="T119" fmla="*/ 796 h 901"/>
                <a:gd name="T120" fmla="*/ 733 w 902"/>
                <a:gd name="T121" fmla="*/ 782 h 901"/>
                <a:gd name="T122" fmla="*/ 887 w 902"/>
                <a:gd name="T123" fmla="*/ 901 h 901"/>
                <a:gd name="T124" fmla="*/ 899 w 902"/>
                <a:gd name="T125" fmla="*/ 36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2" h="901">
                  <a:moveTo>
                    <a:pt x="826" y="450"/>
                  </a:moveTo>
                  <a:lnTo>
                    <a:pt x="676" y="450"/>
                  </a:lnTo>
                  <a:lnTo>
                    <a:pt x="673" y="450"/>
                  </a:lnTo>
                  <a:lnTo>
                    <a:pt x="671" y="449"/>
                  </a:lnTo>
                  <a:lnTo>
                    <a:pt x="667" y="448"/>
                  </a:lnTo>
                  <a:lnTo>
                    <a:pt x="665" y="446"/>
                  </a:lnTo>
                  <a:lnTo>
                    <a:pt x="664" y="444"/>
                  </a:lnTo>
                  <a:lnTo>
                    <a:pt x="662" y="442"/>
                  </a:lnTo>
                  <a:lnTo>
                    <a:pt x="662" y="438"/>
                  </a:lnTo>
                  <a:lnTo>
                    <a:pt x="661" y="436"/>
                  </a:lnTo>
                  <a:lnTo>
                    <a:pt x="662" y="433"/>
                  </a:lnTo>
                  <a:lnTo>
                    <a:pt x="662" y="430"/>
                  </a:lnTo>
                  <a:lnTo>
                    <a:pt x="664" y="427"/>
                  </a:lnTo>
                  <a:lnTo>
                    <a:pt x="665" y="425"/>
                  </a:lnTo>
                  <a:lnTo>
                    <a:pt x="667" y="423"/>
                  </a:lnTo>
                  <a:lnTo>
                    <a:pt x="671" y="422"/>
                  </a:lnTo>
                  <a:lnTo>
                    <a:pt x="673" y="421"/>
                  </a:lnTo>
                  <a:lnTo>
                    <a:pt x="676" y="421"/>
                  </a:lnTo>
                  <a:lnTo>
                    <a:pt x="826" y="421"/>
                  </a:lnTo>
                  <a:lnTo>
                    <a:pt x="829" y="421"/>
                  </a:lnTo>
                  <a:lnTo>
                    <a:pt x="833" y="422"/>
                  </a:lnTo>
                  <a:lnTo>
                    <a:pt x="835" y="423"/>
                  </a:lnTo>
                  <a:lnTo>
                    <a:pt x="837" y="425"/>
                  </a:lnTo>
                  <a:lnTo>
                    <a:pt x="839" y="427"/>
                  </a:lnTo>
                  <a:lnTo>
                    <a:pt x="840" y="430"/>
                  </a:lnTo>
                  <a:lnTo>
                    <a:pt x="841" y="433"/>
                  </a:lnTo>
                  <a:lnTo>
                    <a:pt x="841" y="436"/>
                  </a:lnTo>
                  <a:lnTo>
                    <a:pt x="841" y="438"/>
                  </a:lnTo>
                  <a:lnTo>
                    <a:pt x="840" y="442"/>
                  </a:lnTo>
                  <a:lnTo>
                    <a:pt x="839" y="444"/>
                  </a:lnTo>
                  <a:lnTo>
                    <a:pt x="837" y="446"/>
                  </a:lnTo>
                  <a:lnTo>
                    <a:pt x="835" y="448"/>
                  </a:lnTo>
                  <a:lnTo>
                    <a:pt x="833" y="449"/>
                  </a:lnTo>
                  <a:lnTo>
                    <a:pt x="829" y="450"/>
                  </a:lnTo>
                  <a:lnTo>
                    <a:pt x="826" y="450"/>
                  </a:lnTo>
                  <a:lnTo>
                    <a:pt x="826" y="450"/>
                  </a:lnTo>
                  <a:close/>
                  <a:moveTo>
                    <a:pt x="826" y="511"/>
                  </a:moveTo>
                  <a:lnTo>
                    <a:pt x="676" y="511"/>
                  </a:lnTo>
                  <a:lnTo>
                    <a:pt x="673" y="510"/>
                  </a:lnTo>
                  <a:lnTo>
                    <a:pt x="671" y="510"/>
                  </a:lnTo>
                  <a:lnTo>
                    <a:pt x="667" y="508"/>
                  </a:lnTo>
                  <a:lnTo>
                    <a:pt x="665" y="507"/>
                  </a:lnTo>
                  <a:lnTo>
                    <a:pt x="664" y="504"/>
                  </a:lnTo>
                  <a:lnTo>
                    <a:pt x="662" y="501"/>
                  </a:lnTo>
                  <a:lnTo>
                    <a:pt x="662" y="499"/>
                  </a:lnTo>
                  <a:lnTo>
                    <a:pt x="661" y="496"/>
                  </a:lnTo>
                  <a:lnTo>
                    <a:pt x="662" y="492"/>
                  </a:lnTo>
                  <a:lnTo>
                    <a:pt x="662" y="490"/>
                  </a:lnTo>
                  <a:lnTo>
                    <a:pt x="664" y="488"/>
                  </a:lnTo>
                  <a:lnTo>
                    <a:pt x="665" y="486"/>
                  </a:lnTo>
                  <a:lnTo>
                    <a:pt x="667" y="484"/>
                  </a:lnTo>
                  <a:lnTo>
                    <a:pt x="671" y="482"/>
                  </a:lnTo>
                  <a:lnTo>
                    <a:pt x="673" y="481"/>
                  </a:lnTo>
                  <a:lnTo>
                    <a:pt x="676" y="481"/>
                  </a:lnTo>
                  <a:lnTo>
                    <a:pt x="826" y="481"/>
                  </a:lnTo>
                  <a:lnTo>
                    <a:pt x="829" y="481"/>
                  </a:lnTo>
                  <a:lnTo>
                    <a:pt x="833" y="482"/>
                  </a:lnTo>
                  <a:lnTo>
                    <a:pt x="835" y="484"/>
                  </a:lnTo>
                  <a:lnTo>
                    <a:pt x="837" y="486"/>
                  </a:lnTo>
                  <a:lnTo>
                    <a:pt x="839" y="488"/>
                  </a:lnTo>
                  <a:lnTo>
                    <a:pt x="840" y="490"/>
                  </a:lnTo>
                  <a:lnTo>
                    <a:pt x="841" y="492"/>
                  </a:lnTo>
                  <a:lnTo>
                    <a:pt x="841" y="496"/>
                  </a:lnTo>
                  <a:lnTo>
                    <a:pt x="841" y="499"/>
                  </a:lnTo>
                  <a:lnTo>
                    <a:pt x="840" y="501"/>
                  </a:lnTo>
                  <a:lnTo>
                    <a:pt x="839" y="504"/>
                  </a:lnTo>
                  <a:lnTo>
                    <a:pt x="837" y="507"/>
                  </a:lnTo>
                  <a:lnTo>
                    <a:pt x="835" y="508"/>
                  </a:lnTo>
                  <a:lnTo>
                    <a:pt x="833" y="510"/>
                  </a:lnTo>
                  <a:lnTo>
                    <a:pt x="829" y="511"/>
                  </a:lnTo>
                  <a:lnTo>
                    <a:pt x="826" y="511"/>
                  </a:lnTo>
                  <a:close/>
                  <a:moveTo>
                    <a:pt x="826" y="570"/>
                  </a:moveTo>
                  <a:lnTo>
                    <a:pt x="676" y="570"/>
                  </a:lnTo>
                  <a:lnTo>
                    <a:pt x="673" y="570"/>
                  </a:lnTo>
                  <a:lnTo>
                    <a:pt x="671" y="569"/>
                  </a:lnTo>
                  <a:lnTo>
                    <a:pt x="667" y="568"/>
                  </a:lnTo>
                  <a:lnTo>
                    <a:pt x="665" y="566"/>
                  </a:lnTo>
                  <a:lnTo>
                    <a:pt x="664" y="564"/>
                  </a:lnTo>
                  <a:lnTo>
                    <a:pt x="662" y="562"/>
                  </a:lnTo>
                  <a:lnTo>
                    <a:pt x="662" y="558"/>
                  </a:lnTo>
                  <a:lnTo>
                    <a:pt x="661" y="556"/>
                  </a:lnTo>
                  <a:lnTo>
                    <a:pt x="662" y="553"/>
                  </a:lnTo>
                  <a:lnTo>
                    <a:pt x="662" y="550"/>
                  </a:lnTo>
                  <a:lnTo>
                    <a:pt x="664" y="547"/>
                  </a:lnTo>
                  <a:lnTo>
                    <a:pt x="665" y="545"/>
                  </a:lnTo>
                  <a:lnTo>
                    <a:pt x="667" y="543"/>
                  </a:lnTo>
                  <a:lnTo>
                    <a:pt x="671" y="542"/>
                  </a:lnTo>
                  <a:lnTo>
                    <a:pt x="673" y="541"/>
                  </a:lnTo>
                  <a:lnTo>
                    <a:pt x="676" y="541"/>
                  </a:lnTo>
                  <a:lnTo>
                    <a:pt x="826" y="541"/>
                  </a:lnTo>
                  <a:lnTo>
                    <a:pt x="829" y="541"/>
                  </a:lnTo>
                  <a:lnTo>
                    <a:pt x="833" y="542"/>
                  </a:lnTo>
                  <a:lnTo>
                    <a:pt x="835" y="543"/>
                  </a:lnTo>
                  <a:lnTo>
                    <a:pt x="837" y="545"/>
                  </a:lnTo>
                  <a:lnTo>
                    <a:pt x="839" y="547"/>
                  </a:lnTo>
                  <a:lnTo>
                    <a:pt x="840" y="550"/>
                  </a:lnTo>
                  <a:lnTo>
                    <a:pt x="841" y="553"/>
                  </a:lnTo>
                  <a:lnTo>
                    <a:pt x="841" y="556"/>
                  </a:lnTo>
                  <a:lnTo>
                    <a:pt x="841" y="558"/>
                  </a:lnTo>
                  <a:lnTo>
                    <a:pt x="840" y="562"/>
                  </a:lnTo>
                  <a:lnTo>
                    <a:pt x="839" y="564"/>
                  </a:lnTo>
                  <a:lnTo>
                    <a:pt x="837" y="566"/>
                  </a:lnTo>
                  <a:lnTo>
                    <a:pt x="835" y="568"/>
                  </a:lnTo>
                  <a:lnTo>
                    <a:pt x="833" y="569"/>
                  </a:lnTo>
                  <a:lnTo>
                    <a:pt x="829" y="570"/>
                  </a:lnTo>
                  <a:lnTo>
                    <a:pt x="826" y="570"/>
                  </a:lnTo>
                  <a:lnTo>
                    <a:pt x="826" y="570"/>
                  </a:lnTo>
                  <a:close/>
                  <a:moveTo>
                    <a:pt x="826" y="631"/>
                  </a:moveTo>
                  <a:lnTo>
                    <a:pt x="676" y="631"/>
                  </a:lnTo>
                  <a:lnTo>
                    <a:pt x="673" y="631"/>
                  </a:lnTo>
                  <a:lnTo>
                    <a:pt x="671" y="630"/>
                  </a:lnTo>
                  <a:lnTo>
                    <a:pt x="667" y="629"/>
                  </a:lnTo>
                  <a:lnTo>
                    <a:pt x="665" y="627"/>
                  </a:lnTo>
                  <a:lnTo>
                    <a:pt x="664" y="624"/>
                  </a:lnTo>
                  <a:lnTo>
                    <a:pt x="662" y="622"/>
                  </a:lnTo>
                  <a:lnTo>
                    <a:pt x="662" y="619"/>
                  </a:lnTo>
                  <a:lnTo>
                    <a:pt x="661" y="616"/>
                  </a:lnTo>
                  <a:lnTo>
                    <a:pt x="662" y="613"/>
                  </a:lnTo>
                  <a:lnTo>
                    <a:pt x="662" y="610"/>
                  </a:lnTo>
                  <a:lnTo>
                    <a:pt x="664" y="608"/>
                  </a:lnTo>
                  <a:lnTo>
                    <a:pt x="665" y="606"/>
                  </a:lnTo>
                  <a:lnTo>
                    <a:pt x="667" y="604"/>
                  </a:lnTo>
                  <a:lnTo>
                    <a:pt x="671" y="602"/>
                  </a:lnTo>
                  <a:lnTo>
                    <a:pt x="673" y="601"/>
                  </a:lnTo>
                  <a:lnTo>
                    <a:pt x="676" y="601"/>
                  </a:lnTo>
                  <a:lnTo>
                    <a:pt x="826" y="601"/>
                  </a:lnTo>
                  <a:lnTo>
                    <a:pt x="829" y="601"/>
                  </a:lnTo>
                  <a:lnTo>
                    <a:pt x="833" y="602"/>
                  </a:lnTo>
                  <a:lnTo>
                    <a:pt x="835" y="604"/>
                  </a:lnTo>
                  <a:lnTo>
                    <a:pt x="837" y="606"/>
                  </a:lnTo>
                  <a:lnTo>
                    <a:pt x="839" y="608"/>
                  </a:lnTo>
                  <a:lnTo>
                    <a:pt x="840" y="610"/>
                  </a:lnTo>
                  <a:lnTo>
                    <a:pt x="841" y="613"/>
                  </a:lnTo>
                  <a:lnTo>
                    <a:pt x="841" y="616"/>
                  </a:lnTo>
                  <a:lnTo>
                    <a:pt x="841" y="619"/>
                  </a:lnTo>
                  <a:lnTo>
                    <a:pt x="840" y="622"/>
                  </a:lnTo>
                  <a:lnTo>
                    <a:pt x="839" y="624"/>
                  </a:lnTo>
                  <a:lnTo>
                    <a:pt x="837" y="627"/>
                  </a:lnTo>
                  <a:lnTo>
                    <a:pt x="835" y="629"/>
                  </a:lnTo>
                  <a:lnTo>
                    <a:pt x="833" y="630"/>
                  </a:lnTo>
                  <a:lnTo>
                    <a:pt x="829" y="631"/>
                  </a:lnTo>
                  <a:lnTo>
                    <a:pt x="826" y="631"/>
                  </a:lnTo>
                  <a:close/>
                  <a:moveTo>
                    <a:pt x="826" y="690"/>
                  </a:moveTo>
                  <a:lnTo>
                    <a:pt x="676" y="690"/>
                  </a:lnTo>
                  <a:lnTo>
                    <a:pt x="673" y="690"/>
                  </a:lnTo>
                  <a:lnTo>
                    <a:pt x="671" y="689"/>
                  </a:lnTo>
                  <a:lnTo>
                    <a:pt x="667" y="688"/>
                  </a:lnTo>
                  <a:lnTo>
                    <a:pt x="665" y="686"/>
                  </a:lnTo>
                  <a:lnTo>
                    <a:pt x="664" y="684"/>
                  </a:lnTo>
                  <a:lnTo>
                    <a:pt x="662" y="682"/>
                  </a:lnTo>
                  <a:lnTo>
                    <a:pt x="662" y="679"/>
                  </a:lnTo>
                  <a:lnTo>
                    <a:pt x="661" y="676"/>
                  </a:lnTo>
                  <a:lnTo>
                    <a:pt x="662" y="673"/>
                  </a:lnTo>
                  <a:lnTo>
                    <a:pt x="662" y="671"/>
                  </a:lnTo>
                  <a:lnTo>
                    <a:pt x="664" y="667"/>
                  </a:lnTo>
                  <a:lnTo>
                    <a:pt x="665" y="665"/>
                  </a:lnTo>
                  <a:lnTo>
                    <a:pt x="667" y="664"/>
                  </a:lnTo>
                  <a:lnTo>
                    <a:pt x="671" y="662"/>
                  </a:lnTo>
                  <a:lnTo>
                    <a:pt x="673" y="661"/>
                  </a:lnTo>
                  <a:lnTo>
                    <a:pt x="676" y="661"/>
                  </a:lnTo>
                  <a:lnTo>
                    <a:pt x="826" y="661"/>
                  </a:lnTo>
                  <a:lnTo>
                    <a:pt x="829" y="661"/>
                  </a:lnTo>
                  <a:lnTo>
                    <a:pt x="833" y="662"/>
                  </a:lnTo>
                  <a:lnTo>
                    <a:pt x="835" y="664"/>
                  </a:lnTo>
                  <a:lnTo>
                    <a:pt x="837" y="665"/>
                  </a:lnTo>
                  <a:lnTo>
                    <a:pt x="839" y="667"/>
                  </a:lnTo>
                  <a:lnTo>
                    <a:pt x="840" y="671"/>
                  </a:lnTo>
                  <a:lnTo>
                    <a:pt x="841" y="673"/>
                  </a:lnTo>
                  <a:lnTo>
                    <a:pt x="841" y="676"/>
                  </a:lnTo>
                  <a:lnTo>
                    <a:pt x="841" y="679"/>
                  </a:lnTo>
                  <a:lnTo>
                    <a:pt x="840" y="682"/>
                  </a:lnTo>
                  <a:lnTo>
                    <a:pt x="839" y="684"/>
                  </a:lnTo>
                  <a:lnTo>
                    <a:pt x="837" y="686"/>
                  </a:lnTo>
                  <a:lnTo>
                    <a:pt x="835" y="688"/>
                  </a:lnTo>
                  <a:lnTo>
                    <a:pt x="833" y="689"/>
                  </a:lnTo>
                  <a:lnTo>
                    <a:pt x="829" y="690"/>
                  </a:lnTo>
                  <a:lnTo>
                    <a:pt x="826" y="690"/>
                  </a:lnTo>
                  <a:lnTo>
                    <a:pt x="826" y="690"/>
                  </a:lnTo>
                  <a:close/>
                  <a:moveTo>
                    <a:pt x="826" y="751"/>
                  </a:moveTo>
                  <a:lnTo>
                    <a:pt x="676" y="751"/>
                  </a:lnTo>
                  <a:lnTo>
                    <a:pt x="673" y="751"/>
                  </a:lnTo>
                  <a:lnTo>
                    <a:pt x="671" y="750"/>
                  </a:lnTo>
                  <a:lnTo>
                    <a:pt x="667" y="749"/>
                  </a:lnTo>
                  <a:lnTo>
                    <a:pt x="665" y="747"/>
                  </a:lnTo>
                  <a:lnTo>
                    <a:pt x="664" y="744"/>
                  </a:lnTo>
                  <a:lnTo>
                    <a:pt x="662" y="742"/>
                  </a:lnTo>
                  <a:lnTo>
                    <a:pt x="662" y="739"/>
                  </a:lnTo>
                  <a:lnTo>
                    <a:pt x="661" y="736"/>
                  </a:lnTo>
                  <a:lnTo>
                    <a:pt x="662" y="733"/>
                  </a:lnTo>
                  <a:lnTo>
                    <a:pt x="662" y="730"/>
                  </a:lnTo>
                  <a:lnTo>
                    <a:pt x="664" y="728"/>
                  </a:lnTo>
                  <a:lnTo>
                    <a:pt x="665" y="726"/>
                  </a:lnTo>
                  <a:lnTo>
                    <a:pt x="667" y="724"/>
                  </a:lnTo>
                  <a:lnTo>
                    <a:pt x="671" y="722"/>
                  </a:lnTo>
                  <a:lnTo>
                    <a:pt x="673" y="721"/>
                  </a:lnTo>
                  <a:lnTo>
                    <a:pt x="676" y="721"/>
                  </a:lnTo>
                  <a:lnTo>
                    <a:pt x="826" y="721"/>
                  </a:lnTo>
                  <a:lnTo>
                    <a:pt x="829" y="721"/>
                  </a:lnTo>
                  <a:lnTo>
                    <a:pt x="833" y="722"/>
                  </a:lnTo>
                  <a:lnTo>
                    <a:pt x="835" y="724"/>
                  </a:lnTo>
                  <a:lnTo>
                    <a:pt x="837" y="726"/>
                  </a:lnTo>
                  <a:lnTo>
                    <a:pt x="839" y="728"/>
                  </a:lnTo>
                  <a:lnTo>
                    <a:pt x="840" y="730"/>
                  </a:lnTo>
                  <a:lnTo>
                    <a:pt x="841" y="733"/>
                  </a:lnTo>
                  <a:lnTo>
                    <a:pt x="841" y="736"/>
                  </a:lnTo>
                  <a:lnTo>
                    <a:pt x="841" y="739"/>
                  </a:lnTo>
                  <a:lnTo>
                    <a:pt x="840" y="742"/>
                  </a:lnTo>
                  <a:lnTo>
                    <a:pt x="839" y="744"/>
                  </a:lnTo>
                  <a:lnTo>
                    <a:pt x="837" y="747"/>
                  </a:lnTo>
                  <a:lnTo>
                    <a:pt x="835" y="749"/>
                  </a:lnTo>
                  <a:lnTo>
                    <a:pt x="833" y="750"/>
                  </a:lnTo>
                  <a:lnTo>
                    <a:pt x="829" y="751"/>
                  </a:lnTo>
                  <a:lnTo>
                    <a:pt x="826" y="751"/>
                  </a:lnTo>
                  <a:close/>
                  <a:moveTo>
                    <a:pt x="556" y="631"/>
                  </a:moveTo>
                  <a:lnTo>
                    <a:pt x="406" y="631"/>
                  </a:lnTo>
                  <a:lnTo>
                    <a:pt x="403" y="631"/>
                  </a:lnTo>
                  <a:lnTo>
                    <a:pt x="400" y="630"/>
                  </a:lnTo>
                  <a:lnTo>
                    <a:pt x="398" y="629"/>
                  </a:lnTo>
                  <a:lnTo>
                    <a:pt x="395" y="627"/>
                  </a:lnTo>
                  <a:lnTo>
                    <a:pt x="393" y="624"/>
                  </a:lnTo>
                  <a:lnTo>
                    <a:pt x="392" y="622"/>
                  </a:lnTo>
                  <a:lnTo>
                    <a:pt x="391" y="619"/>
                  </a:lnTo>
                  <a:lnTo>
                    <a:pt x="391" y="616"/>
                  </a:lnTo>
                  <a:lnTo>
                    <a:pt x="391" y="613"/>
                  </a:lnTo>
                  <a:lnTo>
                    <a:pt x="392" y="610"/>
                  </a:lnTo>
                  <a:lnTo>
                    <a:pt x="393" y="608"/>
                  </a:lnTo>
                  <a:lnTo>
                    <a:pt x="395" y="606"/>
                  </a:lnTo>
                  <a:lnTo>
                    <a:pt x="398" y="604"/>
                  </a:lnTo>
                  <a:lnTo>
                    <a:pt x="400" y="602"/>
                  </a:lnTo>
                  <a:lnTo>
                    <a:pt x="403" y="601"/>
                  </a:lnTo>
                  <a:lnTo>
                    <a:pt x="406" y="601"/>
                  </a:lnTo>
                  <a:lnTo>
                    <a:pt x="556" y="601"/>
                  </a:lnTo>
                  <a:lnTo>
                    <a:pt x="560" y="601"/>
                  </a:lnTo>
                  <a:lnTo>
                    <a:pt x="562" y="602"/>
                  </a:lnTo>
                  <a:lnTo>
                    <a:pt x="565" y="604"/>
                  </a:lnTo>
                  <a:lnTo>
                    <a:pt x="567" y="606"/>
                  </a:lnTo>
                  <a:lnTo>
                    <a:pt x="568" y="608"/>
                  </a:lnTo>
                  <a:lnTo>
                    <a:pt x="569" y="610"/>
                  </a:lnTo>
                  <a:lnTo>
                    <a:pt x="571" y="613"/>
                  </a:lnTo>
                  <a:lnTo>
                    <a:pt x="572" y="616"/>
                  </a:lnTo>
                  <a:lnTo>
                    <a:pt x="571" y="619"/>
                  </a:lnTo>
                  <a:lnTo>
                    <a:pt x="569" y="622"/>
                  </a:lnTo>
                  <a:lnTo>
                    <a:pt x="568" y="624"/>
                  </a:lnTo>
                  <a:lnTo>
                    <a:pt x="567" y="627"/>
                  </a:lnTo>
                  <a:lnTo>
                    <a:pt x="565" y="629"/>
                  </a:lnTo>
                  <a:lnTo>
                    <a:pt x="562" y="630"/>
                  </a:lnTo>
                  <a:lnTo>
                    <a:pt x="560" y="631"/>
                  </a:lnTo>
                  <a:lnTo>
                    <a:pt x="556" y="631"/>
                  </a:lnTo>
                  <a:close/>
                  <a:moveTo>
                    <a:pt x="556" y="690"/>
                  </a:moveTo>
                  <a:lnTo>
                    <a:pt x="406" y="690"/>
                  </a:lnTo>
                  <a:lnTo>
                    <a:pt x="403" y="690"/>
                  </a:lnTo>
                  <a:lnTo>
                    <a:pt x="400" y="689"/>
                  </a:lnTo>
                  <a:lnTo>
                    <a:pt x="398" y="688"/>
                  </a:lnTo>
                  <a:lnTo>
                    <a:pt x="395" y="686"/>
                  </a:lnTo>
                  <a:lnTo>
                    <a:pt x="393" y="684"/>
                  </a:lnTo>
                  <a:lnTo>
                    <a:pt x="392" y="682"/>
                  </a:lnTo>
                  <a:lnTo>
                    <a:pt x="391" y="679"/>
                  </a:lnTo>
                  <a:lnTo>
                    <a:pt x="391" y="676"/>
                  </a:lnTo>
                  <a:lnTo>
                    <a:pt x="391" y="673"/>
                  </a:lnTo>
                  <a:lnTo>
                    <a:pt x="392" y="671"/>
                  </a:lnTo>
                  <a:lnTo>
                    <a:pt x="393" y="667"/>
                  </a:lnTo>
                  <a:lnTo>
                    <a:pt x="395" y="665"/>
                  </a:lnTo>
                  <a:lnTo>
                    <a:pt x="398" y="664"/>
                  </a:lnTo>
                  <a:lnTo>
                    <a:pt x="400" y="662"/>
                  </a:lnTo>
                  <a:lnTo>
                    <a:pt x="403" y="661"/>
                  </a:lnTo>
                  <a:lnTo>
                    <a:pt x="406" y="661"/>
                  </a:lnTo>
                  <a:lnTo>
                    <a:pt x="556" y="661"/>
                  </a:lnTo>
                  <a:lnTo>
                    <a:pt x="560" y="661"/>
                  </a:lnTo>
                  <a:lnTo>
                    <a:pt x="562" y="662"/>
                  </a:lnTo>
                  <a:lnTo>
                    <a:pt x="565" y="664"/>
                  </a:lnTo>
                  <a:lnTo>
                    <a:pt x="567" y="665"/>
                  </a:lnTo>
                  <a:lnTo>
                    <a:pt x="568" y="667"/>
                  </a:lnTo>
                  <a:lnTo>
                    <a:pt x="569" y="671"/>
                  </a:lnTo>
                  <a:lnTo>
                    <a:pt x="571" y="673"/>
                  </a:lnTo>
                  <a:lnTo>
                    <a:pt x="572" y="676"/>
                  </a:lnTo>
                  <a:lnTo>
                    <a:pt x="571" y="679"/>
                  </a:lnTo>
                  <a:lnTo>
                    <a:pt x="569" y="682"/>
                  </a:lnTo>
                  <a:lnTo>
                    <a:pt x="568" y="684"/>
                  </a:lnTo>
                  <a:lnTo>
                    <a:pt x="567" y="686"/>
                  </a:lnTo>
                  <a:lnTo>
                    <a:pt x="565" y="688"/>
                  </a:lnTo>
                  <a:lnTo>
                    <a:pt x="562" y="689"/>
                  </a:lnTo>
                  <a:lnTo>
                    <a:pt x="560" y="690"/>
                  </a:lnTo>
                  <a:lnTo>
                    <a:pt x="556" y="690"/>
                  </a:lnTo>
                  <a:lnTo>
                    <a:pt x="556" y="690"/>
                  </a:lnTo>
                  <a:close/>
                  <a:moveTo>
                    <a:pt x="556" y="751"/>
                  </a:moveTo>
                  <a:lnTo>
                    <a:pt x="406" y="751"/>
                  </a:lnTo>
                  <a:lnTo>
                    <a:pt x="403" y="751"/>
                  </a:lnTo>
                  <a:lnTo>
                    <a:pt x="400" y="750"/>
                  </a:lnTo>
                  <a:lnTo>
                    <a:pt x="398" y="749"/>
                  </a:lnTo>
                  <a:lnTo>
                    <a:pt x="395" y="747"/>
                  </a:lnTo>
                  <a:lnTo>
                    <a:pt x="393" y="744"/>
                  </a:lnTo>
                  <a:lnTo>
                    <a:pt x="392" y="742"/>
                  </a:lnTo>
                  <a:lnTo>
                    <a:pt x="391" y="739"/>
                  </a:lnTo>
                  <a:lnTo>
                    <a:pt x="391" y="736"/>
                  </a:lnTo>
                  <a:lnTo>
                    <a:pt x="391" y="733"/>
                  </a:lnTo>
                  <a:lnTo>
                    <a:pt x="392" y="730"/>
                  </a:lnTo>
                  <a:lnTo>
                    <a:pt x="393" y="728"/>
                  </a:lnTo>
                  <a:lnTo>
                    <a:pt x="395" y="726"/>
                  </a:lnTo>
                  <a:lnTo>
                    <a:pt x="398" y="724"/>
                  </a:lnTo>
                  <a:lnTo>
                    <a:pt x="400" y="722"/>
                  </a:lnTo>
                  <a:lnTo>
                    <a:pt x="403" y="721"/>
                  </a:lnTo>
                  <a:lnTo>
                    <a:pt x="406" y="721"/>
                  </a:lnTo>
                  <a:lnTo>
                    <a:pt x="556" y="721"/>
                  </a:lnTo>
                  <a:lnTo>
                    <a:pt x="560" y="721"/>
                  </a:lnTo>
                  <a:lnTo>
                    <a:pt x="562" y="722"/>
                  </a:lnTo>
                  <a:lnTo>
                    <a:pt x="565" y="724"/>
                  </a:lnTo>
                  <a:lnTo>
                    <a:pt x="567" y="726"/>
                  </a:lnTo>
                  <a:lnTo>
                    <a:pt x="568" y="728"/>
                  </a:lnTo>
                  <a:lnTo>
                    <a:pt x="569" y="730"/>
                  </a:lnTo>
                  <a:lnTo>
                    <a:pt x="571" y="733"/>
                  </a:lnTo>
                  <a:lnTo>
                    <a:pt x="572" y="736"/>
                  </a:lnTo>
                  <a:lnTo>
                    <a:pt x="571" y="739"/>
                  </a:lnTo>
                  <a:lnTo>
                    <a:pt x="569" y="742"/>
                  </a:lnTo>
                  <a:lnTo>
                    <a:pt x="568" y="744"/>
                  </a:lnTo>
                  <a:lnTo>
                    <a:pt x="567" y="747"/>
                  </a:lnTo>
                  <a:lnTo>
                    <a:pt x="565" y="749"/>
                  </a:lnTo>
                  <a:lnTo>
                    <a:pt x="562" y="750"/>
                  </a:lnTo>
                  <a:lnTo>
                    <a:pt x="560" y="751"/>
                  </a:lnTo>
                  <a:lnTo>
                    <a:pt x="556" y="751"/>
                  </a:lnTo>
                  <a:close/>
                  <a:moveTo>
                    <a:pt x="285" y="360"/>
                  </a:moveTo>
                  <a:lnTo>
                    <a:pt x="76" y="360"/>
                  </a:lnTo>
                  <a:lnTo>
                    <a:pt x="73" y="360"/>
                  </a:lnTo>
                  <a:lnTo>
                    <a:pt x="70" y="359"/>
                  </a:lnTo>
                  <a:lnTo>
                    <a:pt x="67" y="358"/>
                  </a:lnTo>
                  <a:lnTo>
                    <a:pt x="65" y="356"/>
                  </a:lnTo>
                  <a:lnTo>
                    <a:pt x="63" y="354"/>
                  </a:lnTo>
                  <a:lnTo>
                    <a:pt x="62" y="351"/>
                  </a:lnTo>
                  <a:lnTo>
                    <a:pt x="61" y="349"/>
                  </a:lnTo>
                  <a:lnTo>
                    <a:pt x="61" y="346"/>
                  </a:lnTo>
                  <a:lnTo>
                    <a:pt x="61" y="343"/>
                  </a:lnTo>
                  <a:lnTo>
                    <a:pt x="62" y="339"/>
                  </a:lnTo>
                  <a:lnTo>
                    <a:pt x="63" y="337"/>
                  </a:lnTo>
                  <a:lnTo>
                    <a:pt x="65" y="335"/>
                  </a:lnTo>
                  <a:lnTo>
                    <a:pt x="67" y="333"/>
                  </a:lnTo>
                  <a:lnTo>
                    <a:pt x="70" y="332"/>
                  </a:lnTo>
                  <a:lnTo>
                    <a:pt x="73" y="330"/>
                  </a:lnTo>
                  <a:lnTo>
                    <a:pt x="76" y="330"/>
                  </a:lnTo>
                  <a:lnTo>
                    <a:pt x="285" y="330"/>
                  </a:lnTo>
                  <a:lnTo>
                    <a:pt x="289" y="330"/>
                  </a:lnTo>
                  <a:lnTo>
                    <a:pt x="292" y="332"/>
                  </a:lnTo>
                  <a:lnTo>
                    <a:pt x="294" y="333"/>
                  </a:lnTo>
                  <a:lnTo>
                    <a:pt x="296" y="335"/>
                  </a:lnTo>
                  <a:lnTo>
                    <a:pt x="299" y="337"/>
                  </a:lnTo>
                  <a:lnTo>
                    <a:pt x="300" y="339"/>
                  </a:lnTo>
                  <a:lnTo>
                    <a:pt x="301" y="343"/>
                  </a:lnTo>
                  <a:lnTo>
                    <a:pt x="301" y="346"/>
                  </a:lnTo>
                  <a:lnTo>
                    <a:pt x="301" y="349"/>
                  </a:lnTo>
                  <a:lnTo>
                    <a:pt x="300" y="351"/>
                  </a:lnTo>
                  <a:lnTo>
                    <a:pt x="299" y="354"/>
                  </a:lnTo>
                  <a:lnTo>
                    <a:pt x="296" y="356"/>
                  </a:lnTo>
                  <a:lnTo>
                    <a:pt x="294" y="358"/>
                  </a:lnTo>
                  <a:lnTo>
                    <a:pt x="292" y="359"/>
                  </a:lnTo>
                  <a:lnTo>
                    <a:pt x="289" y="360"/>
                  </a:lnTo>
                  <a:lnTo>
                    <a:pt x="285" y="360"/>
                  </a:lnTo>
                  <a:close/>
                  <a:moveTo>
                    <a:pt x="285" y="421"/>
                  </a:moveTo>
                  <a:lnTo>
                    <a:pt x="76" y="421"/>
                  </a:lnTo>
                  <a:lnTo>
                    <a:pt x="73" y="421"/>
                  </a:lnTo>
                  <a:lnTo>
                    <a:pt x="70" y="420"/>
                  </a:lnTo>
                  <a:lnTo>
                    <a:pt x="67" y="419"/>
                  </a:lnTo>
                  <a:lnTo>
                    <a:pt x="65" y="416"/>
                  </a:lnTo>
                  <a:lnTo>
                    <a:pt x="63" y="414"/>
                  </a:lnTo>
                  <a:lnTo>
                    <a:pt x="62" y="412"/>
                  </a:lnTo>
                  <a:lnTo>
                    <a:pt x="61" y="409"/>
                  </a:lnTo>
                  <a:lnTo>
                    <a:pt x="61" y="405"/>
                  </a:lnTo>
                  <a:lnTo>
                    <a:pt x="61" y="403"/>
                  </a:lnTo>
                  <a:lnTo>
                    <a:pt x="62" y="400"/>
                  </a:lnTo>
                  <a:lnTo>
                    <a:pt x="63" y="398"/>
                  </a:lnTo>
                  <a:lnTo>
                    <a:pt x="65" y="395"/>
                  </a:lnTo>
                  <a:lnTo>
                    <a:pt x="67" y="393"/>
                  </a:lnTo>
                  <a:lnTo>
                    <a:pt x="70" y="392"/>
                  </a:lnTo>
                  <a:lnTo>
                    <a:pt x="73" y="391"/>
                  </a:lnTo>
                  <a:lnTo>
                    <a:pt x="76" y="391"/>
                  </a:lnTo>
                  <a:lnTo>
                    <a:pt x="285" y="391"/>
                  </a:lnTo>
                  <a:lnTo>
                    <a:pt x="289" y="391"/>
                  </a:lnTo>
                  <a:lnTo>
                    <a:pt x="292" y="392"/>
                  </a:lnTo>
                  <a:lnTo>
                    <a:pt x="294" y="393"/>
                  </a:lnTo>
                  <a:lnTo>
                    <a:pt x="296" y="395"/>
                  </a:lnTo>
                  <a:lnTo>
                    <a:pt x="299" y="398"/>
                  </a:lnTo>
                  <a:lnTo>
                    <a:pt x="300" y="400"/>
                  </a:lnTo>
                  <a:lnTo>
                    <a:pt x="301" y="403"/>
                  </a:lnTo>
                  <a:lnTo>
                    <a:pt x="301" y="405"/>
                  </a:lnTo>
                  <a:lnTo>
                    <a:pt x="301" y="409"/>
                  </a:lnTo>
                  <a:lnTo>
                    <a:pt x="300" y="412"/>
                  </a:lnTo>
                  <a:lnTo>
                    <a:pt x="299" y="414"/>
                  </a:lnTo>
                  <a:lnTo>
                    <a:pt x="296" y="416"/>
                  </a:lnTo>
                  <a:lnTo>
                    <a:pt x="294" y="419"/>
                  </a:lnTo>
                  <a:lnTo>
                    <a:pt x="292" y="420"/>
                  </a:lnTo>
                  <a:lnTo>
                    <a:pt x="289" y="421"/>
                  </a:lnTo>
                  <a:lnTo>
                    <a:pt x="285" y="421"/>
                  </a:lnTo>
                  <a:lnTo>
                    <a:pt x="285" y="421"/>
                  </a:lnTo>
                  <a:close/>
                  <a:moveTo>
                    <a:pt x="285" y="481"/>
                  </a:moveTo>
                  <a:lnTo>
                    <a:pt x="76" y="481"/>
                  </a:lnTo>
                  <a:lnTo>
                    <a:pt x="73" y="480"/>
                  </a:lnTo>
                  <a:lnTo>
                    <a:pt x="70" y="479"/>
                  </a:lnTo>
                  <a:lnTo>
                    <a:pt x="67" y="478"/>
                  </a:lnTo>
                  <a:lnTo>
                    <a:pt x="65" y="477"/>
                  </a:lnTo>
                  <a:lnTo>
                    <a:pt x="63" y="475"/>
                  </a:lnTo>
                  <a:lnTo>
                    <a:pt x="62" y="471"/>
                  </a:lnTo>
                  <a:lnTo>
                    <a:pt x="61" y="469"/>
                  </a:lnTo>
                  <a:lnTo>
                    <a:pt x="61" y="466"/>
                  </a:lnTo>
                  <a:lnTo>
                    <a:pt x="61" y="463"/>
                  </a:lnTo>
                  <a:lnTo>
                    <a:pt x="62" y="460"/>
                  </a:lnTo>
                  <a:lnTo>
                    <a:pt x="63" y="457"/>
                  </a:lnTo>
                  <a:lnTo>
                    <a:pt x="65" y="455"/>
                  </a:lnTo>
                  <a:lnTo>
                    <a:pt x="67" y="454"/>
                  </a:lnTo>
                  <a:lnTo>
                    <a:pt x="70" y="452"/>
                  </a:lnTo>
                  <a:lnTo>
                    <a:pt x="73" y="452"/>
                  </a:lnTo>
                  <a:lnTo>
                    <a:pt x="76" y="450"/>
                  </a:lnTo>
                  <a:lnTo>
                    <a:pt x="285" y="450"/>
                  </a:lnTo>
                  <a:lnTo>
                    <a:pt x="289" y="450"/>
                  </a:lnTo>
                  <a:lnTo>
                    <a:pt x="292" y="452"/>
                  </a:lnTo>
                  <a:lnTo>
                    <a:pt x="294" y="454"/>
                  </a:lnTo>
                  <a:lnTo>
                    <a:pt x="296" y="455"/>
                  </a:lnTo>
                  <a:lnTo>
                    <a:pt x="299" y="457"/>
                  </a:lnTo>
                  <a:lnTo>
                    <a:pt x="300" y="460"/>
                  </a:lnTo>
                  <a:lnTo>
                    <a:pt x="301" y="463"/>
                  </a:lnTo>
                  <a:lnTo>
                    <a:pt x="301" y="466"/>
                  </a:lnTo>
                  <a:lnTo>
                    <a:pt x="301" y="469"/>
                  </a:lnTo>
                  <a:lnTo>
                    <a:pt x="300" y="471"/>
                  </a:lnTo>
                  <a:lnTo>
                    <a:pt x="299" y="475"/>
                  </a:lnTo>
                  <a:lnTo>
                    <a:pt x="296" y="477"/>
                  </a:lnTo>
                  <a:lnTo>
                    <a:pt x="294" y="478"/>
                  </a:lnTo>
                  <a:lnTo>
                    <a:pt x="292" y="479"/>
                  </a:lnTo>
                  <a:lnTo>
                    <a:pt x="289" y="480"/>
                  </a:lnTo>
                  <a:lnTo>
                    <a:pt x="285" y="481"/>
                  </a:lnTo>
                  <a:close/>
                  <a:moveTo>
                    <a:pt x="285" y="541"/>
                  </a:moveTo>
                  <a:lnTo>
                    <a:pt x="76" y="541"/>
                  </a:lnTo>
                  <a:lnTo>
                    <a:pt x="73" y="541"/>
                  </a:lnTo>
                  <a:lnTo>
                    <a:pt x="70" y="540"/>
                  </a:lnTo>
                  <a:lnTo>
                    <a:pt x="67" y="539"/>
                  </a:lnTo>
                  <a:lnTo>
                    <a:pt x="65" y="536"/>
                  </a:lnTo>
                  <a:lnTo>
                    <a:pt x="63" y="534"/>
                  </a:lnTo>
                  <a:lnTo>
                    <a:pt x="62" y="532"/>
                  </a:lnTo>
                  <a:lnTo>
                    <a:pt x="61" y="529"/>
                  </a:lnTo>
                  <a:lnTo>
                    <a:pt x="61" y="525"/>
                  </a:lnTo>
                  <a:lnTo>
                    <a:pt x="61" y="523"/>
                  </a:lnTo>
                  <a:lnTo>
                    <a:pt x="62" y="520"/>
                  </a:lnTo>
                  <a:lnTo>
                    <a:pt x="63" y="518"/>
                  </a:lnTo>
                  <a:lnTo>
                    <a:pt x="65" y="515"/>
                  </a:lnTo>
                  <a:lnTo>
                    <a:pt x="67" y="513"/>
                  </a:lnTo>
                  <a:lnTo>
                    <a:pt x="70" y="512"/>
                  </a:lnTo>
                  <a:lnTo>
                    <a:pt x="73" y="511"/>
                  </a:lnTo>
                  <a:lnTo>
                    <a:pt x="76" y="511"/>
                  </a:lnTo>
                  <a:lnTo>
                    <a:pt x="285" y="511"/>
                  </a:lnTo>
                  <a:lnTo>
                    <a:pt x="289" y="511"/>
                  </a:lnTo>
                  <a:lnTo>
                    <a:pt x="292" y="512"/>
                  </a:lnTo>
                  <a:lnTo>
                    <a:pt x="294" y="513"/>
                  </a:lnTo>
                  <a:lnTo>
                    <a:pt x="296" y="515"/>
                  </a:lnTo>
                  <a:lnTo>
                    <a:pt x="299" y="518"/>
                  </a:lnTo>
                  <a:lnTo>
                    <a:pt x="300" y="520"/>
                  </a:lnTo>
                  <a:lnTo>
                    <a:pt x="301" y="523"/>
                  </a:lnTo>
                  <a:lnTo>
                    <a:pt x="301" y="525"/>
                  </a:lnTo>
                  <a:lnTo>
                    <a:pt x="301" y="529"/>
                  </a:lnTo>
                  <a:lnTo>
                    <a:pt x="300" y="532"/>
                  </a:lnTo>
                  <a:lnTo>
                    <a:pt x="299" y="534"/>
                  </a:lnTo>
                  <a:lnTo>
                    <a:pt x="296" y="536"/>
                  </a:lnTo>
                  <a:lnTo>
                    <a:pt x="294" y="539"/>
                  </a:lnTo>
                  <a:lnTo>
                    <a:pt x="292" y="540"/>
                  </a:lnTo>
                  <a:lnTo>
                    <a:pt x="289" y="541"/>
                  </a:lnTo>
                  <a:lnTo>
                    <a:pt x="285" y="541"/>
                  </a:lnTo>
                  <a:lnTo>
                    <a:pt x="285" y="541"/>
                  </a:lnTo>
                  <a:close/>
                  <a:moveTo>
                    <a:pt x="285" y="601"/>
                  </a:moveTo>
                  <a:lnTo>
                    <a:pt x="76" y="601"/>
                  </a:lnTo>
                  <a:lnTo>
                    <a:pt x="73" y="600"/>
                  </a:lnTo>
                  <a:lnTo>
                    <a:pt x="70" y="600"/>
                  </a:lnTo>
                  <a:lnTo>
                    <a:pt x="67" y="598"/>
                  </a:lnTo>
                  <a:lnTo>
                    <a:pt x="65" y="597"/>
                  </a:lnTo>
                  <a:lnTo>
                    <a:pt x="63" y="595"/>
                  </a:lnTo>
                  <a:lnTo>
                    <a:pt x="62" y="591"/>
                  </a:lnTo>
                  <a:lnTo>
                    <a:pt x="61" y="589"/>
                  </a:lnTo>
                  <a:lnTo>
                    <a:pt x="61" y="586"/>
                  </a:lnTo>
                  <a:lnTo>
                    <a:pt x="61" y="583"/>
                  </a:lnTo>
                  <a:lnTo>
                    <a:pt x="62" y="580"/>
                  </a:lnTo>
                  <a:lnTo>
                    <a:pt x="63" y="577"/>
                  </a:lnTo>
                  <a:lnTo>
                    <a:pt x="65" y="575"/>
                  </a:lnTo>
                  <a:lnTo>
                    <a:pt x="67" y="574"/>
                  </a:lnTo>
                  <a:lnTo>
                    <a:pt x="70" y="572"/>
                  </a:lnTo>
                  <a:lnTo>
                    <a:pt x="73" y="572"/>
                  </a:lnTo>
                  <a:lnTo>
                    <a:pt x="76" y="570"/>
                  </a:lnTo>
                  <a:lnTo>
                    <a:pt x="285" y="570"/>
                  </a:lnTo>
                  <a:lnTo>
                    <a:pt x="289" y="572"/>
                  </a:lnTo>
                  <a:lnTo>
                    <a:pt x="292" y="572"/>
                  </a:lnTo>
                  <a:lnTo>
                    <a:pt x="294" y="574"/>
                  </a:lnTo>
                  <a:lnTo>
                    <a:pt x="296" y="575"/>
                  </a:lnTo>
                  <a:lnTo>
                    <a:pt x="299" y="577"/>
                  </a:lnTo>
                  <a:lnTo>
                    <a:pt x="300" y="580"/>
                  </a:lnTo>
                  <a:lnTo>
                    <a:pt x="301" y="583"/>
                  </a:lnTo>
                  <a:lnTo>
                    <a:pt x="301" y="586"/>
                  </a:lnTo>
                  <a:lnTo>
                    <a:pt x="301" y="589"/>
                  </a:lnTo>
                  <a:lnTo>
                    <a:pt x="300" y="591"/>
                  </a:lnTo>
                  <a:lnTo>
                    <a:pt x="299" y="595"/>
                  </a:lnTo>
                  <a:lnTo>
                    <a:pt x="296" y="597"/>
                  </a:lnTo>
                  <a:lnTo>
                    <a:pt x="294" y="598"/>
                  </a:lnTo>
                  <a:lnTo>
                    <a:pt x="292" y="600"/>
                  </a:lnTo>
                  <a:lnTo>
                    <a:pt x="289" y="600"/>
                  </a:lnTo>
                  <a:lnTo>
                    <a:pt x="285" y="601"/>
                  </a:lnTo>
                  <a:close/>
                  <a:moveTo>
                    <a:pt x="285" y="661"/>
                  </a:moveTo>
                  <a:lnTo>
                    <a:pt x="76" y="661"/>
                  </a:lnTo>
                  <a:lnTo>
                    <a:pt x="73" y="661"/>
                  </a:lnTo>
                  <a:lnTo>
                    <a:pt x="70" y="660"/>
                  </a:lnTo>
                  <a:lnTo>
                    <a:pt x="67" y="659"/>
                  </a:lnTo>
                  <a:lnTo>
                    <a:pt x="65" y="656"/>
                  </a:lnTo>
                  <a:lnTo>
                    <a:pt x="63" y="654"/>
                  </a:lnTo>
                  <a:lnTo>
                    <a:pt x="62" y="652"/>
                  </a:lnTo>
                  <a:lnTo>
                    <a:pt x="61" y="649"/>
                  </a:lnTo>
                  <a:lnTo>
                    <a:pt x="61" y="646"/>
                  </a:lnTo>
                  <a:lnTo>
                    <a:pt x="61" y="643"/>
                  </a:lnTo>
                  <a:lnTo>
                    <a:pt x="62" y="640"/>
                  </a:lnTo>
                  <a:lnTo>
                    <a:pt x="63" y="638"/>
                  </a:lnTo>
                  <a:lnTo>
                    <a:pt x="65" y="635"/>
                  </a:lnTo>
                  <a:lnTo>
                    <a:pt x="67" y="633"/>
                  </a:lnTo>
                  <a:lnTo>
                    <a:pt x="70" y="632"/>
                  </a:lnTo>
                  <a:lnTo>
                    <a:pt x="73" y="631"/>
                  </a:lnTo>
                  <a:lnTo>
                    <a:pt x="76" y="631"/>
                  </a:lnTo>
                  <a:lnTo>
                    <a:pt x="285" y="631"/>
                  </a:lnTo>
                  <a:lnTo>
                    <a:pt x="289" y="631"/>
                  </a:lnTo>
                  <a:lnTo>
                    <a:pt x="292" y="632"/>
                  </a:lnTo>
                  <a:lnTo>
                    <a:pt x="294" y="633"/>
                  </a:lnTo>
                  <a:lnTo>
                    <a:pt x="296" y="635"/>
                  </a:lnTo>
                  <a:lnTo>
                    <a:pt x="299" y="638"/>
                  </a:lnTo>
                  <a:lnTo>
                    <a:pt x="300" y="640"/>
                  </a:lnTo>
                  <a:lnTo>
                    <a:pt x="301" y="643"/>
                  </a:lnTo>
                  <a:lnTo>
                    <a:pt x="301" y="646"/>
                  </a:lnTo>
                  <a:lnTo>
                    <a:pt x="301" y="649"/>
                  </a:lnTo>
                  <a:lnTo>
                    <a:pt x="300" y="652"/>
                  </a:lnTo>
                  <a:lnTo>
                    <a:pt x="299" y="654"/>
                  </a:lnTo>
                  <a:lnTo>
                    <a:pt x="296" y="656"/>
                  </a:lnTo>
                  <a:lnTo>
                    <a:pt x="294" y="659"/>
                  </a:lnTo>
                  <a:lnTo>
                    <a:pt x="292" y="660"/>
                  </a:lnTo>
                  <a:lnTo>
                    <a:pt x="289" y="661"/>
                  </a:lnTo>
                  <a:lnTo>
                    <a:pt x="285" y="661"/>
                  </a:lnTo>
                  <a:lnTo>
                    <a:pt x="285" y="661"/>
                  </a:lnTo>
                  <a:close/>
                  <a:moveTo>
                    <a:pt x="285" y="721"/>
                  </a:moveTo>
                  <a:lnTo>
                    <a:pt x="76" y="721"/>
                  </a:lnTo>
                  <a:lnTo>
                    <a:pt x="73" y="720"/>
                  </a:lnTo>
                  <a:lnTo>
                    <a:pt x="70" y="720"/>
                  </a:lnTo>
                  <a:lnTo>
                    <a:pt x="67" y="718"/>
                  </a:lnTo>
                  <a:lnTo>
                    <a:pt x="65" y="717"/>
                  </a:lnTo>
                  <a:lnTo>
                    <a:pt x="63" y="715"/>
                  </a:lnTo>
                  <a:lnTo>
                    <a:pt x="62" y="711"/>
                  </a:lnTo>
                  <a:lnTo>
                    <a:pt x="61" y="709"/>
                  </a:lnTo>
                  <a:lnTo>
                    <a:pt x="61" y="706"/>
                  </a:lnTo>
                  <a:lnTo>
                    <a:pt x="61" y="703"/>
                  </a:lnTo>
                  <a:lnTo>
                    <a:pt x="62" y="700"/>
                  </a:lnTo>
                  <a:lnTo>
                    <a:pt x="63" y="697"/>
                  </a:lnTo>
                  <a:lnTo>
                    <a:pt x="65" y="695"/>
                  </a:lnTo>
                  <a:lnTo>
                    <a:pt x="67" y="694"/>
                  </a:lnTo>
                  <a:lnTo>
                    <a:pt x="70" y="693"/>
                  </a:lnTo>
                  <a:lnTo>
                    <a:pt x="73" y="692"/>
                  </a:lnTo>
                  <a:lnTo>
                    <a:pt x="76" y="690"/>
                  </a:lnTo>
                  <a:lnTo>
                    <a:pt x="285" y="690"/>
                  </a:lnTo>
                  <a:lnTo>
                    <a:pt x="289" y="692"/>
                  </a:lnTo>
                  <a:lnTo>
                    <a:pt x="292" y="692"/>
                  </a:lnTo>
                  <a:lnTo>
                    <a:pt x="294" y="694"/>
                  </a:lnTo>
                  <a:lnTo>
                    <a:pt x="296" y="695"/>
                  </a:lnTo>
                  <a:lnTo>
                    <a:pt x="299" y="697"/>
                  </a:lnTo>
                  <a:lnTo>
                    <a:pt x="300" y="700"/>
                  </a:lnTo>
                  <a:lnTo>
                    <a:pt x="301" y="703"/>
                  </a:lnTo>
                  <a:lnTo>
                    <a:pt x="301" y="706"/>
                  </a:lnTo>
                  <a:lnTo>
                    <a:pt x="301" y="709"/>
                  </a:lnTo>
                  <a:lnTo>
                    <a:pt x="300" y="711"/>
                  </a:lnTo>
                  <a:lnTo>
                    <a:pt x="299" y="715"/>
                  </a:lnTo>
                  <a:lnTo>
                    <a:pt x="296" y="717"/>
                  </a:lnTo>
                  <a:lnTo>
                    <a:pt x="294" y="718"/>
                  </a:lnTo>
                  <a:lnTo>
                    <a:pt x="292" y="720"/>
                  </a:lnTo>
                  <a:lnTo>
                    <a:pt x="289" y="720"/>
                  </a:lnTo>
                  <a:lnTo>
                    <a:pt x="285" y="721"/>
                  </a:lnTo>
                  <a:lnTo>
                    <a:pt x="285" y="721"/>
                  </a:lnTo>
                  <a:close/>
                  <a:moveTo>
                    <a:pt x="136" y="210"/>
                  </a:moveTo>
                  <a:lnTo>
                    <a:pt x="226" y="210"/>
                  </a:lnTo>
                  <a:lnTo>
                    <a:pt x="229" y="210"/>
                  </a:lnTo>
                  <a:lnTo>
                    <a:pt x="231" y="212"/>
                  </a:lnTo>
                  <a:lnTo>
                    <a:pt x="235" y="213"/>
                  </a:lnTo>
                  <a:lnTo>
                    <a:pt x="237" y="215"/>
                  </a:lnTo>
                  <a:lnTo>
                    <a:pt x="238" y="217"/>
                  </a:lnTo>
                  <a:lnTo>
                    <a:pt x="239" y="219"/>
                  </a:lnTo>
                  <a:lnTo>
                    <a:pt x="240" y="223"/>
                  </a:lnTo>
                  <a:lnTo>
                    <a:pt x="241" y="226"/>
                  </a:lnTo>
                  <a:lnTo>
                    <a:pt x="240" y="228"/>
                  </a:lnTo>
                  <a:lnTo>
                    <a:pt x="239" y="231"/>
                  </a:lnTo>
                  <a:lnTo>
                    <a:pt x="238" y="234"/>
                  </a:lnTo>
                  <a:lnTo>
                    <a:pt x="237" y="236"/>
                  </a:lnTo>
                  <a:lnTo>
                    <a:pt x="235" y="238"/>
                  </a:lnTo>
                  <a:lnTo>
                    <a:pt x="231" y="239"/>
                  </a:lnTo>
                  <a:lnTo>
                    <a:pt x="229" y="240"/>
                  </a:lnTo>
                  <a:lnTo>
                    <a:pt x="226" y="240"/>
                  </a:lnTo>
                  <a:lnTo>
                    <a:pt x="136" y="240"/>
                  </a:lnTo>
                  <a:lnTo>
                    <a:pt x="132" y="240"/>
                  </a:lnTo>
                  <a:lnTo>
                    <a:pt x="130" y="239"/>
                  </a:lnTo>
                  <a:lnTo>
                    <a:pt x="127" y="238"/>
                  </a:lnTo>
                  <a:lnTo>
                    <a:pt x="125" y="236"/>
                  </a:lnTo>
                  <a:lnTo>
                    <a:pt x="123" y="234"/>
                  </a:lnTo>
                  <a:lnTo>
                    <a:pt x="122" y="231"/>
                  </a:lnTo>
                  <a:lnTo>
                    <a:pt x="121" y="228"/>
                  </a:lnTo>
                  <a:lnTo>
                    <a:pt x="120" y="226"/>
                  </a:lnTo>
                  <a:lnTo>
                    <a:pt x="121" y="223"/>
                  </a:lnTo>
                  <a:lnTo>
                    <a:pt x="122" y="219"/>
                  </a:lnTo>
                  <a:lnTo>
                    <a:pt x="123" y="217"/>
                  </a:lnTo>
                  <a:lnTo>
                    <a:pt x="125" y="215"/>
                  </a:lnTo>
                  <a:lnTo>
                    <a:pt x="127" y="213"/>
                  </a:lnTo>
                  <a:lnTo>
                    <a:pt x="130" y="212"/>
                  </a:lnTo>
                  <a:lnTo>
                    <a:pt x="132" y="210"/>
                  </a:lnTo>
                  <a:lnTo>
                    <a:pt x="136" y="210"/>
                  </a:lnTo>
                  <a:close/>
                  <a:moveTo>
                    <a:pt x="887" y="360"/>
                  </a:moveTo>
                  <a:lnTo>
                    <a:pt x="841" y="360"/>
                  </a:lnTo>
                  <a:lnTo>
                    <a:pt x="841" y="285"/>
                  </a:lnTo>
                  <a:lnTo>
                    <a:pt x="841" y="282"/>
                  </a:lnTo>
                  <a:lnTo>
                    <a:pt x="840" y="280"/>
                  </a:lnTo>
                  <a:lnTo>
                    <a:pt x="839" y="278"/>
                  </a:lnTo>
                  <a:lnTo>
                    <a:pt x="837" y="275"/>
                  </a:lnTo>
                  <a:lnTo>
                    <a:pt x="835" y="273"/>
                  </a:lnTo>
                  <a:lnTo>
                    <a:pt x="833" y="272"/>
                  </a:lnTo>
                  <a:lnTo>
                    <a:pt x="829" y="271"/>
                  </a:lnTo>
                  <a:lnTo>
                    <a:pt x="826" y="271"/>
                  </a:lnTo>
                  <a:lnTo>
                    <a:pt x="676" y="271"/>
                  </a:lnTo>
                  <a:lnTo>
                    <a:pt x="673" y="271"/>
                  </a:lnTo>
                  <a:lnTo>
                    <a:pt x="671" y="272"/>
                  </a:lnTo>
                  <a:lnTo>
                    <a:pt x="667" y="273"/>
                  </a:lnTo>
                  <a:lnTo>
                    <a:pt x="665" y="275"/>
                  </a:lnTo>
                  <a:lnTo>
                    <a:pt x="664" y="278"/>
                  </a:lnTo>
                  <a:lnTo>
                    <a:pt x="662" y="280"/>
                  </a:lnTo>
                  <a:lnTo>
                    <a:pt x="662" y="282"/>
                  </a:lnTo>
                  <a:lnTo>
                    <a:pt x="661" y="285"/>
                  </a:lnTo>
                  <a:lnTo>
                    <a:pt x="661" y="360"/>
                  </a:lnTo>
                  <a:lnTo>
                    <a:pt x="616" y="360"/>
                  </a:lnTo>
                  <a:lnTo>
                    <a:pt x="613" y="361"/>
                  </a:lnTo>
                  <a:lnTo>
                    <a:pt x="610" y="361"/>
                  </a:lnTo>
                  <a:lnTo>
                    <a:pt x="608" y="364"/>
                  </a:lnTo>
                  <a:lnTo>
                    <a:pt x="606" y="365"/>
                  </a:lnTo>
                  <a:lnTo>
                    <a:pt x="604" y="367"/>
                  </a:lnTo>
                  <a:lnTo>
                    <a:pt x="602" y="370"/>
                  </a:lnTo>
                  <a:lnTo>
                    <a:pt x="601" y="372"/>
                  </a:lnTo>
                  <a:lnTo>
                    <a:pt x="601" y="376"/>
                  </a:lnTo>
                  <a:lnTo>
                    <a:pt x="601" y="511"/>
                  </a:lnTo>
                  <a:lnTo>
                    <a:pt x="361" y="511"/>
                  </a:lnTo>
                  <a:lnTo>
                    <a:pt x="361" y="285"/>
                  </a:lnTo>
                  <a:lnTo>
                    <a:pt x="360" y="282"/>
                  </a:lnTo>
                  <a:lnTo>
                    <a:pt x="360" y="280"/>
                  </a:lnTo>
                  <a:lnTo>
                    <a:pt x="358" y="278"/>
                  </a:lnTo>
                  <a:lnTo>
                    <a:pt x="357" y="275"/>
                  </a:lnTo>
                  <a:lnTo>
                    <a:pt x="355" y="273"/>
                  </a:lnTo>
                  <a:lnTo>
                    <a:pt x="351" y="272"/>
                  </a:lnTo>
                  <a:lnTo>
                    <a:pt x="349" y="271"/>
                  </a:lnTo>
                  <a:lnTo>
                    <a:pt x="346" y="271"/>
                  </a:lnTo>
                  <a:lnTo>
                    <a:pt x="301" y="271"/>
                  </a:lnTo>
                  <a:lnTo>
                    <a:pt x="301" y="165"/>
                  </a:lnTo>
                  <a:lnTo>
                    <a:pt x="301" y="162"/>
                  </a:lnTo>
                  <a:lnTo>
                    <a:pt x="300" y="160"/>
                  </a:lnTo>
                  <a:lnTo>
                    <a:pt x="299" y="157"/>
                  </a:lnTo>
                  <a:lnTo>
                    <a:pt x="296" y="154"/>
                  </a:lnTo>
                  <a:lnTo>
                    <a:pt x="294" y="153"/>
                  </a:lnTo>
                  <a:lnTo>
                    <a:pt x="292" y="152"/>
                  </a:lnTo>
                  <a:lnTo>
                    <a:pt x="289" y="151"/>
                  </a:lnTo>
                  <a:lnTo>
                    <a:pt x="285" y="150"/>
                  </a:lnTo>
                  <a:lnTo>
                    <a:pt x="181" y="150"/>
                  </a:lnTo>
                  <a:lnTo>
                    <a:pt x="181" y="16"/>
                  </a:lnTo>
                  <a:lnTo>
                    <a:pt x="181" y="12"/>
                  </a:lnTo>
                  <a:lnTo>
                    <a:pt x="180" y="9"/>
                  </a:lnTo>
                  <a:lnTo>
                    <a:pt x="179" y="7"/>
                  </a:lnTo>
                  <a:lnTo>
                    <a:pt x="176" y="5"/>
                  </a:lnTo>
                  <a:lnTo>
                    <a:pt x="174" y="2"/>
                  </a:lnTo>
                  <a:lnTo>
                    <a:pt x="172" y="1"/>
                  </a:lnTo>
                  <a:lnTo>
                    <a:pt x="169" y="0"/>
                  </a:lnTo>
                  <a:lnTo>
                    <a:pt x="165" y="0"/>
                  </a:lnTo>
                  <a:lnTo>
                    <a:pt x="163" y="0"/>
                  </a:lnTo>
                  <a:lnTo>
                    <a:pt x="160" y="1"/>
                  </a:lnTo>
                  <a:lnTo>
                    <a:pt x="158" y="2"/>
                  </a:lnTo>
                  <a:lnTo>
                    <a:pt x="155" y="5"/>
                  </a:lnTo>
                  <a:lnTo>
                    <a:pt x="153" y="7"/>
                  </a:lnTo>
                  <a:lnTo>
                    <a:pt x="152" y="9"/>
                  </a:lnTo>
                  <a:lnTo>
                    <a:pt x="151" y="12"/>
                  </a:lnTo>
                  <a:lnTo>
                    <a:pt x="151" y="16"/>
                  </a:lnTo>
                  <a:lnTo>
                    <a:pt x="151" y="150"/>
                  </a:lnTo>
                  <a:lnTo>
                    <a:pt x="76" y="150"/>
                  </a:lnTo>
                  <a:lnTo>
                    <a:pt x="73" y="151"/>
                  </a:lnTo>
                  <a:lnTo>
                    <a:pt x="70" y="152"/>
                  </a:lnTo>
                  <a:lnTo>
                    <a:pt x="67" y="153"/>
                  </a:lnTo>
                  <a:lnTo>
                    <a:pt x="65" y="154"/>
                  </a:lnTo>
                  <a:lnTo>
                    <a:pt x="63" y="157"/>
                  </a:lnTo>
                  <a:lnTo>
                    <a:pt x="62" y="160"/>
                  </a:lnTo>
                  <a:lnTo>
                    <a:pt x="61" y="162"/>
                  </a:lnTo>
                  <a:lnTo>
                    <a:pt x="61" y="165"/>
                  </a:lnTo>
                  <a:lnTo>
                    <a:pt x="61" y="271"/>
                  </a:lnTo>
                  <a:lnTo>
                    <a:pt x="16" y="271"/>
                  </a:lnTo>
                  <a:lnTo>
                    <a:pt x="12" y="271"/>
                  </a:lnTo>
                  <a:lnTo>
                    <a:pt x="10" y="272"/>
                  </a:lnTo>
                  <a:lnTo>
                    <a:pt x="7" y="273"/>
                  </a:lnTo>
                  <a:lnTo>
                    <a:pt x="5" y="275"/>
                  </a:lnTo>
                  <a:lnTo>
                    <a:pt x="3" y="278"/>
                  </a:lnTo>
                  <a:lnTo>
                    <a:pt x="1" y="280"/>
                  </a:lnTo>
                  <a:lnTo>
                    <a:pt x="1" y="282"/>
                  </a:lnTo>
                  <a:lnTo>
                    <a:pt x="0" y="285"/>
                  </a:lnTo>
                  <a:lnTo>
                    <a:pt x="0" y="886"/>
                  </a:lnTo>
                  <a:lnTo>
                    <a:pt x="1" y="889"/>
                  </a:lnTo>
                  <a:lnTo>
                    <a:pt x="1" y="892"/>
                  </a:lnTo>
                  <a:lnTo>
                    <a:pt x="3" y="894"/>
                  </a:lnTo>
                  <a:lnTo>
                    <a:pt x="5" y="896"/>
                  </a:lnTo>
                  <a:lnTo>
                    <a:pt x="7" y="899"/>
                  </a:lnTo>
                  <a:lnTo>
                    <a:pt x="10" y="900"/>
                  </a:lnTo>
                  <a:lnTo>
                    <a:pt x="12" y="901"/>
                  </a:lnTo>
                  <a:lnTo>
                    <a:pt x="16" y="901"/>
                  </a:lnTo>
                  <a:lnTo>
                    <a:pt x="120" y="901"/>
                  </a:lnTo>
                  <a:lnTo>
                    <a:pt x="120" y="796"/>
                  </a:lnTo>
                  <a:lnTo>
                    <a:pt x="121" y="793"/>
                  </a:lnTo>
                  <a:lnTo>
                    <a:pt x="122" y="791"/>
                  </a:lnTo>
                  <a:lnTo>
                    <a:pt x="123" y="787"/>
                  </a:lnTo>
                  <a:lnTo>
                    <a:pt x="125" y="785"/>
                  </a:lnTo>
                  <a:lnTo>
                    <a:pt x="127" y="784"/>
                  </a:lnTo>
                  <a:lnTo>
                    <a:pt x="130" y="782"/>
                  </a:lnTo>
                  <a:lnTo>
                    <a:pt x="132" y="782"/>
                  </a:lnTo>
                  <a:lnTo>
                    <a:pt x="136" y="781"/>
                  </a:lnTo>
                  <a:lnTo>
                    <a:pt x="196" y="781"/>
                  </a:lnTo>
                  <a:lnTo>
                    <a:pt x="198" y="782"/>
                  </a:lnTo>
                  <a:lnTo>
                    <a:pt x="202" y="782"/>
                  </a:lnTo>
                  <a:lnTo>
                    <a:pt x="204" y="784"/>
                  </a:lnTo>
                  <a:lnTo>
                    <a:pt x="206" y="785"/>
                  </a:lnTo>
                  <a:lnTo>
                    <a:pt x="208" y="787"/>
                  </a:lnTo>
                  <a:lnTo>
                    <a:pt x="209" y="791"/>
                  </a:lnTo>
                  <a:lnTo>
                    <a:pt x="210" y="793"/>
                  </a:lnTo>
                  <a:lnTo>
                    <a:pt x="210" y="796"/>
                  </a:lnTo>
                  <a:lnTo>
                    <a:pt x="210" y="901"/>
                  </a:lnTo>
                  <a:lnTo>
                    <a:pt x="346" y="901"/>
                  </a:lnTo>
                  <a:lnTo>
                    <a:pt x="616" y="901"/>
                  </a:lnTo>
                  <a:lnTo>
                    <a:pt x="721" y="901"/>
                  </a:lnTo>
                  <a:lnTo>
                    <a:pt x="721" y="796"/>
                  </a:lnTo>
                  <a:lnTo>
                    <a:pt x="721" y="793"/>
                  </a:lnTo>
                  <a:lnTo>
                    <a:pt x="722" y="791"/>
                  </a:lnTo>
                  <a:lnTo>
                    <a:pt x="724" y="787"/>
                  </a:lnTo>
                  <a:lnTo>
                    <a:pt x="726" y="785"/>
                  </a:lnTo>
                  <a:lnTo>
                    <a:pt x="728" y="784"/>
                  </a:lnTo>
                  <a:lnTo>
                    <a:pt x="730" y="782"/>
                  </a:lnTo>
                  <a:lnTo>
                    <a:pt x="733" y="782"/>
                  </a:lnTo>
                  <a:lnTo>
                    <a:pt x="737" y="781"/>
                  </a:lnTo>
                  <a:lnTo>
                    <a:pt x="796" y="781"/>
                  </a:lnTo>
                  <a:lnTo>
                    <a:pt x="800" y="782"/>
                  </a:lnTo>
                  <a:lnTo>
                    <a:pt x="802" y="782"/>
                  </a:lnTo>
                  <a:lnTo>
                    <a:pt x="805" y="784"/>
                  </a:lnTo>
                  <a:lnTo>
                    <a:pt x="807" y="785"/>
                  </a:lnTo>
                  <a:lnTo>
                    <a:pt x="808" y="787"/>
                  </a:lnTo>
                  <a:lnTo>
                    <a:pt x="811" y="791"/>
                  </a:lnTo>
                  <a:lnTo>
                    <a:pt x="811" y="793"/>
                  </a:lnTo>
                  <a:lnTo>
                    <a:pt x="812" y="796"/>
                  </a:lnTo>
                  <a:lnTo>
                    <a:pt x="812" y="901"/>
                  </a:lnTo>
                  <a:lnTo>
                    <a:pt x="887" y="901"/>
                  </a:lnTo>
                  <a:lnTo>
                    <a:pt x="890" y="901"/>
                  </a:lnTo>
                  <a:lnTo>
                    <a:pt x="892" y="900"/>
                  </a:lnTo>
                  <a:lnTo>
                    <a:pt x="895" y="899"/>
                  </a:lnTo>
                  <a:lnTo>
                    <a:pt x="898" y="896"/>
                  </a:lnTo>
                  <a:lnTo>
                    <a:pt x="899" y="894"/>
                  </a:lnTo>
                  <a:lnTo>
                    <a:pt x="901" y="892"/>
                  </a:lnTo>
                  <a:lnTo>
                    <a:pt x="901" y="890"/>
                  </a:lnTo>
                  <a:lnTo>
                    <a:pt x="902" y="886"/>
                  </a:lnTo>
                  <a:lnTo>
                    <a:pt x="902" y="376"/>
                  </a:lnTo>
                  <a:lnTo>
                    <a:pt x="901" y="372"/>
                  </a:lnTo>
                  <a:lnTo>
                    <a:pt x="901" y="370"/>
                  </a:lnTo>
                  <a:lnTo>
                    <a:pt x="899" y="367"/>
                  </a:lnTo>
                  <a:lnTo>
                    <a:pt x="898" y="365"/>
                  </a:lnTo>
                  <a:lnTo>
                    <a:pt x="895" y="364"/>
                  </a:lnTo>
                  <a:lnTo>
                    <a:pt x="892" y="361"/>
                  </a:lnTo>
                  <a:lnTo>
                    <a:pt x="890" y="361"/>
                  </a:lnTo>
                  <a:lnTo>
                    <a:pt x="887" y="360"/>
                  </a:lnTo>
                  <a:close/>
                </a:path>
              </a:pathLst>
            </a:custGeom>
            <a:solidFill>
              <a:schemeClr val="accent2">
                <a:lumMod val="75000"/>
              </a:schemeClr>
            </a:solidFill>
            <a:ln>
              <a:noFill/>
            </a:ln>
          </p:spPr>
          <p:txBody>
            <a:bodyPr/>
            <a:lstStyle/>
            <a:p>
              <a:pPr eaLnBrk="1" fontAlgn="auto" hangingPunct="1">
                <a:spcBef>
                  <a:spcPts val="0"/>
                </a:spcBef>
                <a:spcAft>
                  <a:spcPts val="0"/>
                </a:spcAft>
                <a:defRPr/>
              </a:pPr>
              <a:endParaRPr lang="en-US">
                <a:latin typeface="+mn-lt"/>
              </a:endParaRPr>
            </a:p>
          </p:txBody>
        </p:sp>
      </p:grpSp>
      <p:sp>
        <p:nvSpPr>
          <p:cNvPr id="28682" name="İçerik Yer Tutucusu 2">
            <a:extLst>
              <a:ext uri="{FF2B5EF4-FFF2-40B4-BE49-F238E27FC236}">
                <a16:creationId xmlns:a16="http://schemas.microsoft.com/office/drawing/2014/main" id="{5D3F1C9F-CE50-5D1E-C8EC-32EF7E23114D}"/>
              </a:ext>
            </a:extLst>
          </p:cNvPr>
          <p:cNvSpPr txBox="1">
            <a:spLocks noChangeArrowheads="1"/>
          </p:cNvSpPr>
          <p:nvPr/>
        </p:nvSpPr>
        <p:spPr bwMode="auto">
          <a:xfrm>
            <a:off x="1308100" y="1687513"/>
            <a:ext cx="8596313" cy="488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100000"/>
              </a:lnSpc>
            </a:pPr>
            <a:r>
              <a:rPr lang="tr-TR" altLang="tr-TR" sz="2000">
                <a:latin typeface="Open Sans" panose="020B0606030504020204" pitchFamily="34" charset="0"/>
                <a:cs typeface="Open Sans" panose="020B0606030504020204" pitchFamily="34" charset="0"/>
              </a:rPr>
              <a:t>Konut ve Ticari Özel Karma Projelerin Lansman Fiyatlaması</a:t>
            </a:r>
          </a:p>
          <a:p>
            <a:pPr eaLnBrk="1" hangingPunct="1">
              <a:lnSpc>
                <a:spcPct val="100000"/>
              </a:lnSpc>
            </a:pPr>
            <a:r>
              <a:rPr lang="tr-TR" altLang="tr-TR" sz="2000">
                <a:latin typeface="Open Sans" panose="020B0606030504020204" pitchFamily="34" charset="0"/>
                <a:cs typeface="Open Sans" panose="020B0606030504020204" pitchFamily="34" charset="0"/>
              </a:rPr>
              <a:t>Yabancı Yatırımcılar için Nitelikli Taşınmaz Değerlemesi </a:t>
            </a:r>
          </a:p>
          <a:p>
            <a:pPr eaLnBrk="1" hangingPunct="1">
              <a:lnSpc>
                <a:spcPct val="100000"/>
              </a:lnSpc>
            </a:pPr>
            <a:r>
              <a:rPr lang="tr-TR" altLang="tr-TR" sz="2000">
                <a:latin typeface="Open Sans" panose="020B0606030504020204" pitchFamily="34" charset="0"/>
                <a:cs typeface="Open Sans" panose="020B0606030504020204" pitchFamily="34" charset="0"/>
              </a:rPr>
              <a:t>En Etkin ve En İyi Verimli Kullanım Analizi</a:t>
            </a:r>
          </a:p>
          <a:p>
            <a:pPr eaLnBrk="1" hangingPunct="1">
              <a:lnSpc>
                <a:spcPct val="100000"/>
              </a:lnSpc>
            </a:pPr>
            <a:r>
              <a:rPr lang="tr-TR" altLang="tr-TR" sz="2000">
                <a:latin typeface="Open Sans" panose="020B0606030504020204" pitchFamily="34" charset="0"/>
                <a:cs typeface="Open Sans" panose="020B0606030504020204" pitchFamily="34" charset="0"/>
              </a:rPr>
              <a:t>Sektörel Raporlamalar</a:t>
            </a:r>
          </a:p>
          <a:p>
            <a:pPr eaLnBrk="1" hangingPunct="1">
              <a:lnSpc>
                <a:spcPct val="100000"/>
              </a:lnSpc>
            </a:pPr>
            <a:r>
              <a:rPr lang="tr-TR" altLang="tr-TR" sz="2000">
                <a:latin typeface="Open Sans" panose="020B0606030504020204" pitchFamily="34" charset="0"/>
                <a:cs typeface="Open Sans" panose="020B0606030504020204" pitchFamily="34" charset="0"/>
              </a:rPr>
              <a:t>İnşaat İlerleme Seviye Tespit Raporları</a:t>
            </a:r>
          </a:p>
          <a:p>
            <a:pPr eaLnBrk="1" hangingPunct="1">
              <a:lnSpc>
                <a:spcPct val="100000"/>
              </a:lnSpc>
            </a:pPr>
            <a:r>
              <a:rPr lang="tr-TR" altLang="tr-TR" sz="2000">
                <a:latin typeface="Open Sans" panose="020B0606030504020204" pitchFamily="34" charset="0"/>
                <a:cs typeface="Open Sans" panose="020B0606030504020204" pitchFamily="34" charset="0"/>
              </a:rPr>
              <a:t>Kentsel Dönüşüm Projeleri</a:t>
            </a:r>
          </a:p>
          <a:p>
            <a:pPr eaLnBrk="1" hangingPunct="1">
              <a:lnSpc>
                <a:spcPct val="100000"/>
              </a:lnSpc>
            </a:pPr>
            <a:r>
              <a:rPr lang="tr-TR" altLang="tr-TR" sz="2000">
                <a:latin typeface="Open Sans" panose="020B0606030504020204" pitchFamily="34" charset="0"/>
                <a:cs typeface="Open Sans" panose="020B0606030504020204" pitchFamily="34" charset="0"/>
              </a:rPr>
              <a:t>Fizibilite Raporları</a:t>
            </a:r>
          </a:p>
          <a:p>
            <a:pPr eaLnBrk="1" hangingPunct="1">
              <a:lnSpc>
                <a:spcPct val="100000"/>
              </a:lnSpc>
            </a:pPr>
            <a:r>
              <a:rPr lang="tr-TR" altLang="tr-TR" sz="2000">
                <a:latin typeface="Open Sans" panose="020B0606030504020204" pitchFamily="34" charset="0"/>
                <a:cs typeface="Open Sans" panose="020B0606030504020204" pitchFamily="34" charset="0"/>
              </a:rPr>
              <a:t>Yabancı Uyruklu Kişilerin Alım-Satış </a:t>
            </a:r>
            <a:br>
              <a:rPr lang="tr-TR" altLang="tr-TR" sz="2000">
                <a:latin typeface="Open Sans" panose="020B0606030504020204" pitchFamily="34" charset="0"/>
                <a:cs typeface="Open Sans" panose="020B0606030504020204" pitchFamily="34" charset="0"/>
              </a:rPr>
            </a:br>
            <a:r>
              <a:rPr lang="tr-TR" altLang="tr-TR" sz="2000">
                <a:latin typeface="Open Sans" panose="020B0606030504020204" pitchFamily="34" charset="0"/>
                <a:cs typeface="Open Sans" panose="020B0606030504020204" pitchFamily="34" charset="0"/>
              </a:rPr>
              <a:t>Taşınmaz Değerlemesi</a:t>
            </a:r>
          </a:p>
          <a:p>
            <a:pPr eaLnBrk="1" hangingPunct="1">
              <a:lnSpc>
                <a:spcPct val="100000"/>
              </a:lnSpc>
            </a:pPr>
            <a:r>
              <a:rPr lang="tr-TR" altLang="tr-TR" sz="2000">
                <a:latin typeface="Open Sans" panose="020B0606030504020204" pitchFamily="34" charset="0"/>
                <a:cs typeface="Open Sans" panose="020B0606030504020204" pitchFamily="34" charset="0"/>
              </a:rPr>
              <a:t>Vatandaşlık için Taşınmaz Değerlemesi</a:t>
            </a:r>
          </a:p>
          <a:p>
            <a:pPr eaLnBrk="1" hangingPunct="1">
              <a:lnSpc>
                <a:spcPct val="100000"/>
              </a:lnSpc>
            </a:pPr>
            <a:r>
              <a:rPr lang="tr-TR" altLang="tr-TR" sz="2000" b="1"/>
              <a:t>Yabancı Uyruklu kişilere </a:t>
            </a:r>
            <a:br>
              <a:rPr lang="tr-TR" altLang="tr-TR" sz="2000" b="1"/>
            </a:br>
            <a:r>
              <a:rPr lang="tr-TR" altLang="tr-TR" sz="2000" b="1"/>
              <a:t>Tapu Satışı için Rapor Hazırlanması</a:t>
            </a:r>
          </a:p>
          <a:p>
            <a:pPr eaLnBrk="1" hangingPunct="1">
              <a:lnSpc>
                <a:spcPct val="100000"/>
              </a:lnSpc>
            </a:pPr>
            <a:endParaRPr lang="tr-TR" altLang="tr-TR" sz="2000">
              <a:latin typeface="Open Sans" panose="020B0606030504020204" pitchFamily="34" charset="0"/>
              <a:cs typeface="Open Sans" panose="020B0606030504020204" pitchFamily="34" charset="0"/>
            </a:endParaRPr>
          </a:p>
          <a:p>
            <a:pPr eaLnBrk="1" hangingPunct="1">
              <a:lnSpc>
                <a:spcPct val="100000"/>
              </a:lnSpc>
            </a:pPr>
            <a:endParaRPr lang="tr-TR" altLang="tr-TR" sz="2000">
              <a:latin typeface="Open Sans" panose="020B0606030504020204" pitchFamily="34" charset="0"/>
              <a:cs typeface="Open Sans" panose="020B0606030504020204" pitchFamily="34" charset="0"/>
            </a:endParaRPr>
          </a:p>
          <a:p>
            <a:pPr eaLnBrk="1" hangingPunct="1">
              <a:lnSpc>
                <a:spcPct val="100000"/>
              </a:lnSpc>
            </a:pPr>
            <a:endParaRPr lang="tr-TR" altLang="tr-TR" sz="2000">
              <a:latin typeface="Open Sans" panose="020B0606030504020204" pitchFamily="34" charset="0"/>
              <a:cs typeface="Open Sans" panose="020B0606030504020204" pitchFamily="34" charset="0"/>
            </a:endParaRPr>
          </a:p>
          <a:p>
            <a:pPr eaLnBrk="1" hangingPunct="1">
              <a:lnSpc>
                <a:spcPct val="100000"/>
              </a:lnSpc>
              <a:buFont typeface="Arial" panose="020B0604020202020204" pitchFamily="34" charset="0"/>
              <a:buNone/>
            </a:pPr>
            <a:endParaRPr lang="tr-TR" altLang="tr-TR" sz="2000">
              <a:latin typeface="Open Sans" panose="020B0606030504020204" pitchFamily="34" charset="0"/>
              <a:cs typeface="Open Sans" panose="020B0606030504020204" pitchFamily="34" charset="0"/>
            </a:endParaRPr>
          </a:p>
          <a:p>
            <a:pPr eaLnBrk="1" hangingPunct="1">
              <a:lnSpc>
                <a:spcPct val="100000"/>
              </a:lnSpc>
              <a:buFont typeface="Arial" panose="020B0604020202020204" pitchFamily="34" charset="0"/>
              <a:buNone/>
            </a:pPr>
            <a:endParaRPr lang="tr-TR" altLang="tr-TR" sz="2000">
              <a:latin typeface="Open Sans" panose="020B0606030504020204" pitchFamily="34" charset="0"/>
              <a:cs typeface="Open Sans" panose="020B0606030504020204" pitchFamily="34" charset="0"/>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ayt Numarası Yer Tutucusu 1">
            <a:extLst>
              <a:ext uri="{FF2B5EF4-FFF2-40B4-BE49-F238E27FC236}">
                <a16:creationId xmlns:a16="http://schemas.microsoft.com/office/drawing/2014/main" id="{63D0FA35-24A8-D737-AE76-2F724347E370}"/>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nSpc>
                <a:spcPct val="100000"/>
              </a:lnSpc>
              <a:spcBef>
                <a:spcPct val="0"/>
              </a:spcBef>
              <a:buFontTx/>
              <a:buNone/>
            </a:pPr>
            <a:fld id="{81E8D591-8B2E-43FF-B309-164D9E816B51}" type="slidenum">
              <a:rPr lang="en-US" altLang="tr-TR" sz="1200" smtClean="0">
                <a:solidFill>
                  <a:srgbClr val="898989"/>
                </a:solidFill>
              </a:rPr>
              <a:pPr>
                <a:lnSpc>
                  <a:spcPct val="100000"/>
                </a:lnSpc>
                <a:spcBef>
                  <a:spcPct val="0"/>
                </a:spcBef>
                <a:buFontTx/>
                <a:buNone/>
              </a:pPr>
              <a:t>8</a:t>
            </a:fld>
            <a:endParaRPr lang="en-US" altLang="tr-TR" sz="1200">
              <a:solidFill>
                <a:srgbClr val="898989"/>
              </a:solidFill>
            </a:endParaRPr>
          </a:p>
        </p:txBody>
      </p:sp>
      <p:grpSp>
        <p:nvGrpSpPr>
          <p:cNvPr id="29699" name="Group 307">
            <a:extLst>
              <a:ext uri="{FF2B5EF4-FFF2-40B4-BE49-F238E27FC236}">
                <a16:creationId xmlns:a16="http://schemas.microsoft.com/office/drawing/2014/main" id="{95AA5730-1AAE-A05E-34D7-4D62DC84B414}"/>
              </a:ext>
            </a:extLst>
          </p:cNvPr>
          <p:cNvGrpSpPr>
            <a:grpSpLocks/>
          </p:cNvGrpSpPr>
          <p:nvPr/>
        </p:nvGrpSpPr>
        <p:grpSpPr bwMode="auto">
          <a:xfrm>
            <a:off x="-3175" y="6743700"/>
            <a:ext cx="12195175" cy="114300"/>
            <a:chOff x="-3175" y="4762500"/>
            <a:chExt cx="12195174" cy="2092323"/>
          </a:xfrm>
        </p:grpSpPr>
        <p:sp>
          <p:nvSpPr>
            <p:cNvPr id="5" name="Rectangle 308">
              <a:extLst>
                <a:ext uri="{FF2B5EF4-FFF2-40B4-BE49-F238E27FC236}">
                  <a16:creationId xmlns:a16="http://schemas.microsoft.com/office/drawing/2014/main" id="{37865A77-DF2C-3C1B-E6AF-FFE8036D2857}"/>
                </a:ext>
              </a:extLst>
            </p:cNvPr>
            <p:cNvSpPr/>
            <p:nvPr/>
          </p:nvSpPr>
          <p:spPr>
            <a:xfrm>
              <a:off x="-3175" y="4762500"/>
              <a:ext cx="2032000" cy="2092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309">
              <a:extLst>
                <a:ext uri="{FF2B5EF4-FFF2-40B4-BE49-F238E27FC236}">
                  <a16:creationId xmlns:a16="http://schemas.microsoft.com/office/drawing/2014/main" id="{AB091ED4-DC75-5D48-14F0-E4292EE07C09}"/>
                </a:ext>
              </a:extLst>
            </p:cNvPr>
            <p:cNvSpPr/>
            <p:nvPr/>
          </p:nvSpPr>
          <p:spPr>
            <a:xfrm>
              <a:off x="2027238" y="4762500"/>
              <a:ext cx="2032000" cy="2092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Rectangle 310">
              <a:extLst>
                <a:ext uri="{FF2B5EF4-FFF2-40B4-BE49-F238E27FC236}">
                  <a16:creationId xmlns:a16="http://schemas.microsoft.com/office/drawing/2014/main" id="{1AC98978-F421-3190-4BDE-48D74AB6558D}"/>
                </a:ext>
              </a:extLst>
            </p:cNvPr>
            <p:cNvSpPr/>
            <p:nvPr/>
          </p:nvSpPr>
          <p:spPr>
            <a:xfrm>
              <a:off x="4059238" y="4762500"/>
              <a:ext cx="2032000" cy="2092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Rectangle 311">
              <a:extLst>
                <a:ext uri="{FF2B5EF4-FFF2-40B4-BE49-F238E27FC236}">
                  <a16:creationId xmlns:a16="http://schemas.microsoft.com/office/drawing/2014/main" id="{C16084E1-5B82-B605-BED3-900BEC3C89BA}"/>
                </a:ext>
              </a:extLst>
            </p:cNvPr>
            <p:cNvSpPr/>
            <p:nvPr/>
          </p:nvSpPr>
          <p:spPr>
            <a:xfrm>
              <a:off x="6089650" y="4762500"/>
              <a:ext cx="2032000" cy="2092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 name="Rectangle 312">
              <a:extLst>
                <a:ext uri="{FF2B5EF4-FFF2-40B4-BE49-F238E27FC236}">
                  <a16:creationId xmlns:a16="http://schemas.microsoft.com/office/drawing/2014/main" id="{BC5DA397-8931-7F85-5C3C-DB76B61A7DFC}"/>
                </a:ext>
              </a:extLst>
            </p:cNvPr>
            <p:cNvSpPr/>
            <p:nvPr/>
          </p:nvSpPr>
          <p:spPr>
            <a:xfrm>
              <a:off x="8118474" y="4762500"/>
              <a:ext cx="2032000" cy="2092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0" name="Rectangle 313">
              <a:extLst>
                <a:ext uri="{FF2B5EF4-FFF2-40B4-BE49-F238E27FC236}">
                  <a16:creationId xmlns:a16="http://schemas.microsoft.com/office/drawing/2014/main" id="{30CBF9C0-EA22-B15C-D305-A46F50BAAD94}"/>
                </a:ext>
              </a:extLst>
            </p:cNvPr>
            <p:cNvSpPr/>
            <p:nvPr/>
          </p:nvSpPr>
          <p:spPr>
            <a:xfrm>
              <a:off x="10148887" y="4762500"/>
              <a:ext cx="2043112" cy="20923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29700" name="Group 307">
            <a:extLst>
              <a:ext uri="{FF2B5EF4-FFF2-40B4-BE49-F238E27FC236}">
                <a16:creationId xmlns:a16="http://schemas.microsoft.com/office/drawing/2014/main" id="{9E6EDD31-79A5-C32A-0942-3CF1CAE8E6FD}"/>
              </a:ext>
            </a:extLst>
          </p:cNvPr>
          <p:cNvGrpSpPr>
            <a:grpSpLocks/>
          </p:cNvGrpSpPr>
          <p:nvPr/>
        </p:nvGrpSpPr>
        <p:grpSpPr bwMode="auto">
          <a:xfrm>
            <a:off x="0" y="6754813"/>
            <a:ext cx="12195175" cy="114300"/>
            <a:chOff x="-3175" y="4762500"/>
            <a:chExt cx="12195174" cy="2092323"/>
          </a:xfrm>
        </p:grpSpPr>
        <p:sp>
          <p:nvSpPr>
            <p:cNvPr id="13" name="Rectangle 308">
              <a:extLst>
                <a:ext uri="{FF2B5EF4-FFF2-40B4-BE49-F238E27FC236}">
                  <a16:creationId xmlns:a16="http://schemas.microsoft.com/office/drawing/2014/main" id="{CA21E880-C651-3A64-4567-36923D6B63BD}"/>
                </a:ext>
              </a:extLst>
            </p:cNvPr>
            <p:cNvSpPr/>
            <p:nvPr/>
          </p:nvSpPr>
          <p:spPr>
            <a:xfrm>
              <a:off x="-3175" y="4762500"/>
              <a:ext cx="2032000" cy="2092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4" name="Rectangle 309">
              <a:extLst>
                <a:ext uri="{FF2B5EF4-FFF2-40B4-BE49-F238E27FC236}">
                  <a16:creationId xmlns:a16="http://schemas.microsoft.com/office/drawing/2014/main" id="{C86B6D13-069C-C460-80E6-C8E0C03AA671}"/>
                </a:ext>
              </a:extLst>
            </p:cNvPr>
            <p:cNvSpPr/>
            <p:nvPr/>
          </p:nvSpPr>
          <p:spPr>
            <a:xfrm>
              <a:off x="2027238" y="4762500"/>
              <a:ext cx="2032000" cy="2092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5" name="Rectangle 310">
              <a:extLst>
                <a:ext uri="{FF2B5EF4-FFF2-40B4-BE49-F238E27FC236}">
                  <a16:creationId xmlns:a16="http://schemas.microsoft.com/office/drawing/2014/main" id="{D89B0109-170B-D066-6158-13CF398F4B30}"/>
                </a:ext>
              </a:extLst>
            </p:cNvPr>
            <p:cNvSpPr/>
            <p:nvPr/>
          </p:nvSpPr>
          <p:spPr>
            <a:xfrm>
              <a:off x="4059238" y="4762500"/>
              <a:ext cx="2032000" cy="2092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6" name="Rectangle 311">
              <a:extLst>
                <a:ext uri="{FF2B5EF4-FFF2-40B4-BE49-F238E27FC236}">
                  <a16:creationId xmlns:a16="http://schemas.microsoft.com/office/drawing/2014/main" id="{DADC9ECD-994E-0DF1-2F8C-D7C64587F3F5}"/>
                </a:ext>
              </a:extLst>
            </p:cNvPr>
            <p:cNvSpPr/>
            <p:nvPr/>
          </p:nvSpPr>
          <p:spPr>
            <a:xfrm>
              <a:off x="6089650" y="4762500"/>
              <a:ext cx="2032000" cy="2092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7" name="Rectangle 312">
              <a:extLst>
                <a:ext uri="{FF2B5EF4-FFF2-40B4-BE49-F238E27FC236}">
                  <a16:creationId xmlns:a16="http://schemas.microsoft.com/office/drawing/2014/main" id="{7439254E-5F77-40C8-9E04-7903163871D0}"/>
                </a:ext>
              </a:extLst>
            </p:cNvPr>
            <p:cNvSpPr/>
            <p:nvPr/>
          </p:nvSpPr>
          <p:spPr>
            <a:xfrm>
              <a:off x="8118474" y="4762500"/>
              <a:ext cx="2032000" cy="2092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8" name="Rectangle 313">
              <a:extLst>
                <a:ext uri="{FF2B5EF4-FFF2-40B4-BE49-F238E27FC236}">
                  <a16:creationId xmlns:a16="http://schemas.microsoft.com/office/drawing/2014/main" id="{73E235DA-DF29-E6CD-C629-D02F60EBDA40}"/>
                </a:ext>
              </a:extLst>
            </p:cNvPr>
            <p:cNvSpPr/>
            <p:nvPr/>
          </p:nvSpPr>
          <p:spPr>
            <a:xfrm>
              <a:off x="10148887" y="4762500"/>
              <a:ext cx="2043112" cy="20923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cxnSp>
        <p:nvCxnSpPr>
          <p:cNvPr id="23" name="Straight Connector 6">
            <a:extLst>
              <a:ext uri="{FF2B5EF4-FFF2-40B4-BE49-F238E27FC236}">
                <a16:creationId xmlns:a16="http://schemas.microsoft.com/office/drawing/2014/main" id="{ED59A8C2-FAFD-5594-1EF8-4D255020F021}"/>
              </a:ext>
            </a:extLst>
          </p:cNvPr>
          <p:cNvCxnSpPr/>
          <p:nvPr/>
        </p:nvCxnSpPr>
        <p:spPr>
          <a:xfrm>
            <a:off x="12700" y="587375"/>
            <a:ext cx="124301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702" name="İçerik Yer Tutucusu 2">
            <a:extLst>
              <a:ext uri="{FF2B5EF4-FFF2-40B4-BE49-F238E27FC236}">
                <a16:creationId xmlns:a16="http://schemas.microsoft.com/office/drawing/2014/main" id="{B37A3E72-6F2E-9596-CF76-08161AA166BF}"/>
              </a:ext>
            </a:extLst>
          </p:cNvPr>
          <p:cNvSpPr txBox="1">
            <a:spLocks noChangeArrowheads="1"/>
          </p:cNvSpPr>
          <p:nvPr/>
        </p:nvSpPr>
        <p:spPr bwMode="auto">
          <a:xfrm>
            <a:off x="573088" y="180975"/>
            <a:ext cx="3059112"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70000"/>
              </a:lnSpc>
              <a:buFont typeface="Arial" panose="020B0604020202020204" pitchFamily="34" charset="0"/>
              <a:buNone/>
            </a:pPr>
            <a:r>
              <a:rPr lang="tr-TR" altLang="tr-TR" sz="2200" b="1">
                <a:solidFill>
                  <a:srgbClr val="AD119B"/>
                </a:solidFill>
                <a:latin typeface="Open Sans" panose="020B0606030504020204" pitchFamily="34" charset="0"/>
                <a:cs typeface="Open Sans" panose="020B0606030504020204" pitchFamily="34" charset="0"/>
              </a:rPr>
              <a:t>Bölge Yapılanması</a:t>
            </a:r>
          </a:p>
          <a:p>
            <a:pPr eaLnBrk="1" hangingPunct="1">
              <a:lnSpc>
                <a:spcPct val="70000"/>
              </a:lnSpc>
              <a:buFont typeface="Arial" panose="020B0604020202020204" pitchFamily="34" charset="0"/>
              <a:buNone/>
            </a:pPr>
            <a:endParaRPr lang="tr-TR" altLang="tr-TR" sz="2200">
              <a:solidFill>
                <a:srgbClr val="AD119B"/>
              </a:solidFill>
            </a:endParaRPr>
          </a:p>
        </p:txBody>
      </p:sp>
      <p:sp>
        <p:nvSpPr>
          <p:cNvPr id="26" name="Rectangle 7">
            <a:extLst>
              <a:ext uri="{FF2B5EF4-FFF2-40B4-BE49-F238E27FC236}">
                <a16:creationId xmlns:a16="http://schemas.microsoft.com/office/drawing/2014/main" id="{BA726600-4B79-767A-3956-341CAB4DF2E8}"/>
              </a:ext>
            </a:extLst>
          </p:cNvPr>
          <p:cNvSpPr/>
          <p:nvPr/>
        </p:nvSpPr>
        <p:spPr>
          <a:xfrm>
            <a:off x="685800" y="573088"/>
            <a:ext cx="623888" cy="2698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3" name="Resim 2">
            <a:extLst>
              <a:ext uri="{FF2B5EF4-FFF2-40B4-BE49-F238E27FC236}">
                <a16:creationId xmlns:a16="http://schemas.microsoft.com/office/drawing/2014/main" id="{9D691C3F-E995-49E1-A7A4-C956CA44168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41487" y="622467"/>
            <a:ext cx="8696325" cy="5372100"/>
          </a:xfrm>
          <a:prstGeom prst="rect">
            <a:avLst/>
          </a:prstGeom>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ayt Numarası Yer Tutucusu 1">
            <a:extLst>
              <a:ext uri="{FF2B5EF4-FFF2-40B4-BE49-F238E27FC236}">
                <a16:creationId xmlns:a16="http://schemas.microsoft.com/office/drawing/2014/main" id="{7FFC230A-1368-F7D5-7F70-2AC0B7E94707}"/>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nSpc>
                <a:spcPct val="100000"/>
              </a:lnSpc>
              <a:spcBef>
                <a:spcPct val="0"/>
              </a:spcBef>
              <a:buFontTx/>
              <a:buNone/>
            </a:pPr>
            <a:fld id="{499E5F9A-0AF7-475A-9DB9-8ABA6097F7E4}" type="slidenum">
              <a:rPr lang="en-US" altLang="tr-TR" sz="1200" smtClean="0">
                <a:solidFill>
                  <a:srgbClr val="898989"/>
                </a:solidFill>
              </a:rPr>
              <a:pPr>
                <a:lnSpc>
                  <a:spcPct val="100000"/>
                </a:lnSpc>
                <a:spcBef>
                  <a:spcPct val="0"/>
                </a:spcBef>
                <a:buFontTx/>
                <a:buNone/>
              </a:pPr>
              <a:t>9</a:t>
            </a:fld>
            <a:endParaRPr lang="en-US" altLang="tr-TR" sz="1200">
              <a:solidFill>
                <a:srgbClr val="898989"/>
              </a:solidFill>
            </a:endParaRPr>
          </a:p>
        </p:txBody>
      </p:sp>
      <p:grpSp>
        <p:nvGrpSpPr>
          <p:cNvPr id="30723" name="Group 307">
            <a:extLst>
              <a:ext uri="{FF2B5EF4-FFF2-40B4-BE49-F238E27FC236}">
                <a16:creationId xmlns:a16="http://schemas.microsoft.com/office/drawing/2014/main" id="{501649B7-F4D4-A14F-103C-FC298238C57D}"/>
              </a:ext>
            </a:extLst>
          </p:cNvPr>
          <p:cNvGrpSpPr>
            <a:grpSpLocks/>
          </p:cNvGrpSpPr>
          <p:nvPr/>
        </p:nvGrpSpPr>
        <p:grpSpPr bwMode="auto">
          <a:xfrm>
            <a:off x="-3175" y="6743700"/>
            <a:ext cx="12195175" cy="114300"/>
            <a:chOff x="-3175" y="4762500"/>
            <a:chExt cx="12195174" cy="2092323"/>
          </a:xfrm>
        </p:grpSpPr>
        <p:sp>
          <p:nvSpPr>
            <p:cNvPr id="5" name="Rectangle 308">
              <a:extLst>
                <a:ext uri="{FF2B5EF4-FFF2-40B4-BE49-F238E27FC236}">
                  <a16:creationId xmlns:a16="http://schemas.microsoft.com/office/drawing/2014/main" id="{3D733B69-69BB-FB2A-8171-ED36AC9F76DF}"/>
                </a:ext>
              </a:extLst>
            </p:cNvPr>
            <p:cNvSpPr/>
            <p:nvPr/>
          </p:nvSpPr>
          <p:spPr>
            <a:xfrm>
              <a:off x="-3175" y="4762500"/>
              <a:ext cx="2032000" cy="2092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309">
              <a:extLst>
                <a:ext uri="{FF2B5EF4-FFF2-40B4-BE49-F238E27FC236}">
                  <a16:creationId xmlns:a16="http://schemas.microsoft.com/office/drawing/2014/main" id="{8EA13EB4-EC22-63BE-080C-9F8730BDCD16}"/>
                </a:ext>
              </a:extLst>
            </p:cNvPr>
            <p:cNvSpPr/>
            <p:nvPr/>
          </p:nvSpPr>
          <p:spPr>
            <a:xfrm>
              <a:off x="2027238" y="4762500"/>
              <a:ext cx="2032000" cy="2092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Rectangle 310">
              <a:extLst>
                <a:ext uri="{FF2B5EF4-FFF2-40B4-BE49-F238E27FC236}">
                  <a16:creationId xmlns:a16="http://schemas.microsoft.com/office/drawing/2014/main" id="{1D0CD5AD-9CFE-5F42-26FE-2CB46C9D5B5E}"/>
                </a:ext>
              </a:extLst>
            </p:cNvPr>
            <p:cNvSpPr/>
            <p:nvPr/>
          </p:nvSpPr>
          <p:spPr>
            <a:xfrm>
              <a:off x="4059238" y="4762500"/>
              <a:ext cx="2032000" cy="2092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Rectangle 311">
              <a:extLst>
                <a:ext uri="{FF2B5EF4-FFF2-40B4-BE49-F238E27FC236}">
                  <a16:creationId xmlns:a16="http://schemas.microsoft.com/office/drawing/2014/main" id="{7CEC1F50-E282-5224-4CEB-E2FE1A62F4D6}"/>
                </a:ext>
              </a:extLst>
            </p:cNvPr>
            <p:cNvSpPr/>
            <p:nvPr/>
          </p:nvSpPr>
          <p:spPr>
            <a:xfrm>
              <a:off x="6089650" y="4762500"/>
              <a:ext cx="2032000" cy="2092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 name="Rectangle 312">
              <a:extLst>
                <a:ext uri="{FF2B5EF4-FFF2-40B4-BE49-F238E27FC236}">
                  <a16:creationId xmlns:a16="http://schemas.microsoft.com/office/drawing/2014/main" id="{76CF18F6-471A-6E65-6930-F3125303EE71}"/>
                </a:ext>
              </a:extLst>
            </p:cNvPr>
            <p:cNvSpPr/>
            <p:nvPr/>
          </p:nvSpPr>
          <p:spPr>
            <a:xfrm>
              <a:off x="8118474" y="4762500"/>
              <a:ext cx="2032000" cy="2092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0" name="Rectangle 313">
              <a:extLst>
                <a:ext uri="{FF2B5EF4-FFF2-40B4-BE49-F238E27FC236}">
                  <a16:creationId xmlns:a16="http://schemas.microsoft.com/office/drawing/2014/main" id="{B0BFEBBB-2046-AE0E-593F-F3393A1A2978}"/>
                </a:ext>
              </a:extLst>
            </p:cNvPr>
            <p:cNvSpPr/>
            <p:nvPr/>
          </p:nvSpPr>
          <p:spPr>
            <a:xfrm>
              <a:off x="10148887" y="4762500"/>
              <a:ext cx="2043112" cy="20923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30724" name="Grup 99">
            <a:extLst>
              <a:ext uri="{FF2B5EF4-FFF2-40B4-BE49-F238E27FC236}">
                <a16:creationId xmlns:a16="http://schemas.microsoft.com/office/drawing/2014/main" id="{1E2E57FC-1DEE-B840-8BBC-350F0745A04A}"/>
              </a:ext>
            </a:extLst>
          </p:cNvPr>
          <p:cNvGrpSpPr>
            <a:grpSpLocks/>
          </p:cNvGrpSpPr>
          <p:nvPr/>
        </p:nvGrpSpPr>
        <p:grpSpPr bwMode="auto">
          <a:xfrm>
            <a:off x="3705225" y="623888"/>
            <a:ext cx="4452938" cy="530225"/>
            <a:chOff x="2786108" y="1413042"/>
            <a:chExt cx="1259556" cy="495339"/>
          </a:xfrm>
        </p:grpSpPr>
        <p:sp>
          <p:nvSpPr>
            <p:cNvPr id="152" name="Dikdörtgen 151">
              <a:extLst>
                <a:ext uri="{FF2B5EF4-FFF2-40B4-BE49-F238E27FC236}">
                  <a16:creationId xmlns:a16="http://schemas.microsoft.com/office/drawing/2014/main" id="{CAF93F5F-AE2D-F3C7-AFDE-0D55F621E4F1}"/>
                </a:ext>
              </a:extLst>
            </p:cNvPr>
            <p:cNvSpPr/>
            <p:nvPr/>
          </p:nvSpPr>
          <p:spPr>
            <a:xfrm>
              <a:off x="2801375" y="1413042"/>
              <a:ext cx="1244289" cy="495339"/>
            </a:xfrm>
            <a:prstGeom prst="rect">
              <a:avLst/>
            </a:prstGeom>
            <a:solidFill>
              <a:schemeClr val="accent3">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3" name="Dikdörtgen 152">
              <a:extLst>
                <a:ext uri="{FF2B5EF4-FFF2-40B4-BE49-F238E27FC236}">
                  <a16:creationId xmlns:a16="http://schemas.microsoft.com/office/drawing/2014/main" id="{06D552EA-A05A-FDBB-EF49-DBACA28E9855}"/>
                </a:ext>
              </a:extLst>
            </p:cNvPr>
            <p:cNvSpPr/>
            <p:nvPr/>
          </p:nvSpPr>
          <p:spPr>
            <a:xfrm>
              <a:off x="2786108" y="1460500"/>
              <a:ext cx="1244289" cy="419703"/>
            </a:xfrm>
            <a:prstGeom prst="rect">
              <a:avLst/>
            </a:prstGeom>
          </p:spPr>
          <p:style>
            <a:lnRef idx="0">
              <a:scrgbClr r="0" g="0" b="0"/>
            </a:lnRef>
            <a:fillRef idx="0">
              <a:scrgbClr r="0" g="0" b="0"/>
            </a:fillRef>
            <a:effectRef idx="0">
              <a:scrgbClr r="0" g="0" b="0"/>
            </a:effectRef>
            <a:fontRef idx="minor">
              <a:schemeClr val="lt1"/>
            </a:fontRef>
          </p:style>
          <p:txBody>
            <a:bodyPr lIns="12700" tIns="12700" rIns="12700" bIns="12700" anchor="ctr"/>
            <a:lstStyle>
              <a:lvl1pPr defTabSz="889000">
                <a:defRPr>
                  <a:solidFill>
                    <a:schemeClr val="tx1"/>
                  </a:solidFill>
                  <a:latin typeface="Lato Light" panose="020F0502020204030203" pitchFamily="34" charset="0"/>
                </a:defRPr>
              </a:lvl1pPr>
              <a:lvl2pPr marL="742950" indent="-285750" defTabSz="889000">
                <a:defRPr>
                  <a:solidFill>
                    <a:schemeClr val="tx1"/>
                  </a:solidFill>
                  <a:latin typeface="Lato Light" panose="020F0502020204030203" pitchFamily="34" charset="0"/>
                </a:defRPr>
              </a:lvl2pPr>
              <a:lvl3pPr marL="1143000" indent="-228600" defTabSz="889000">
                <a:defRPr>
                  <a:solidFill>
                    <a:schemeClr val="tx1"/>
                  </a:solidFill>
                  <a:latin typeface="Lato Light" panose="020F0502020204030203" pitchFamily="34" charset="0"/>
                </a:defRPr>
              </a:lvl3pPr>
              <a:lvl4pPr marL="1600200" indent="-228600" defTabSz="889000">
                <a:defRPr>
                  <a:solidFill>
                    <a:schemeClr val="tx1"/>
                  </a:solidFill>
                  <a:latin typeface="Lato Light" panose="020F0502020204030203" pitchFamily="34" charset="0"/>
                </a:defRPr>
              </a:lvl4pPr>
              <a:lvl5pPr marL="2057400" indent="-228600" defTabSz="889000">
                <a:defRPr>
                  <a:solidFill>
                    <a:schemeClr val="tx1"/>
                  </a:solidFill>
                  <a:latin typeface="Lato Light" panose="020F0502020204030203" pitchFamily="34" charset="0"/>
                </a:defRPr>
              </a:lvl5pPr>
              <a:lvl6pPr marL="2514600" indent="-228600" defTabSz="889000" eaLnBrk="0" fontAlgn="base" hangingPunct="0">
                <a:spcBef>
                  <a:spcPct val="0"/>
                </a:spcBef>
                <a:spcAft>
                  <a:spcPct val="0"/>
                </a:spcAft>
                <a:defRPr>
                  <a:solidFill>
                    <a:schemeClr val="tx1"/>
                  </a:solidFill>
                  <a:latin typeface="Lato Light" panose="020F0502020204030203" pitchFamily="34" charset="0"/>
                </a:defRPr>
              </a:lvl6pPr>
              <a:lvl7pPr marL="2971800" indent="-228600" defTabSz="889000" eaLnBrk="0" fontAlgn="base" hangingPunct="0">
                <a:spcBef>
                  <a:spcPct val="0"/>
                </a:spcBef>
                <a:spcAft>
                  <a:spcPct val="0"/>
                </a:spcAft>
                <a:defRPr>
                  <a:solidFill>
                    <a:schemeClr val="tx1"/>
                  </a:solidFill>
                  <a:latin typeface="Lato Light" panose="020F0502020204030203" pitchFamily="34" charset="0"/>
                </a:defRPr>
              </a:lvl7pPr>
              <a:lvl8pPr marL="3429000" indent="-228600" defTabSz="889000" eaLnBrk="0" fontAlgn="base" hangingPunct="0">
                <a:spcBef>
                  <a:spcPct val="0"/>
                </a:spcBef>
                <a:spcAft>
                  <a:spcPct val="0"/>
                </a:spcAft>
                <a:defRPr>
                  <a:solidFill>
                    <a:schemeClr val="tx1"/>
                  </a:solidFill>
                  <a:latin typeface="Lato Light" panose="020F0502020204030203" pitchFamily="34" charset="0"/>
                </a:defRPr>
              </a:lvl8pPr>
              <a:lvl9pPr marL="3886200" indent="-228600" defTabSz="889000" eaLnBrk="0" fontAlgn="base" hangingPunct="0">
                <a:spcBef>
                  <a:spcPct val="0"/>
                </a:spcBef>
                <a:spcAft>
                  <a:spcPct val="0"/>
                </a:spcAft>
                <a:defRPr>
                  <a:solidFill>
                    <a:schemeClr val="tx1"/>
                  </a:solidFill>
                  <a:latin typeface="Lato Light" panose="020F0502020204030203" pitchFamily="34" charset="0"/>
                </a:defRPr>
              </a:lvl9pPr>
            </a:lstStyle>
            <a:p>
              <a:pPr algn="ctr" eaLnBrk="1" hangingPunct="1">
                <a:lnSpc>
                  <a:spcPct val="90000"/>
                </a:lnSpc>
                <a:spcAft>
                  <a:spcPct val="35000"/>
                </a:spcAft>
                <a:defRPr/>
              </a:pPr>
              <a:r>
                <a:rPr lang="tr-TR" altLang="tr-TR" sz="1600" b="1">
                  <a:solidFill>
                    <a:srgbClr val="FFFFFF"/>
                  </a:solidFill>
                  <a:latin typeface="Open Sans" panose="020B0606030504020204" pitchFamily="34" charset="0"/>
                  <a:cs typeface="Open Sans" panose="020B0606030504020204" pitchFamily="34" charset="0"/>
                </a:rPr>
                <a:t>VİZYON YÖNETİM KURULU</a:t>
              </a:r>
            </a:p>
          </p:txBody>
        </p:sp>
      </p:grpSp>
      <p:cxnSp>
        <p:nvCxnSpPr>
          <p:cNvPr id="182" name="Düz Bağlayıcı 181">
            <a:extLst>
              <a:ext uri="{FF2B5EF4-FFF2-40B4-BE49-F238E27FC236}">
                <a16:creationId xmlns:a16="http://schemas.microsoft.com/office/drawing/2014/main" id="{068CE010-CCAD-65FE-EAEA-D21F2630B9B5}"/>
              </a:ext>
            </a:extLst>
          </p:cNvPr>
          <p:cNvCxnSpPr/>
          <p:nvPr/>
        </p:nvCxnSpPr>
        <p:spPr bwMode="auto">
          <a:xfrm>
            <a:off x="10915650" y="2266950"/>
            <a:ext cx="358775"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4" name="Straight Connector 6">
            <a:extLst>
              <a:ext uri="{FF2B5EF4-FFF2-40B4-BE49-F238E27FC236}">
                <a16:creationId xmlns:a16="http://schemas.microsoft.com/office/drawing/2014/main" id="{0E3DDDAA-CD54-15F1-86E4-067C0FC303EB}"/>
              </a:ext>
            </a:extLst>
          </p:cNvPr>
          <p:cNvCxnSpPr/>
          <p:nvPr/>
        </p:nvCxnSpPr>
        <p:spPr>
          <a:xfrm>
            <a:off x="11113" y="684213"/>
            <a:ext cx="124301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727" name="İçerik Yer Tutucusu 2">
            <a:extLst>
              <a:ext uri="{FF2B5EF4-FFF2-40B4-BE49-F238E27FC236}">
                <a16:creationId xmlns:a16="http://schemas.microsoft.com/office/drawing/2014/main" id="{FDF4F023-3C53-C6A7-6EE9-C89B6DD3C991}"/>
              </a:ext>
            </a:extLst>
          </p:cNvPr>
          <p:cNvSpPr txBox="1">
            <a:spLocks noChangeArrowheads="1"/>
          </p:cNvSpPr>
          <p:nvPr/>
        </p:nvSpPr>
        <p:spPr bwMode="auto">
          <a:xfrm>
            <a:off x="519113" y="106363"/>
            <a:ext cx="364490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lnSpc>
                <a:spcPct val="80000"/>
              </a:lnSpc>
              <a:buFont typeface="Arial" panose="020B0604020202020204" pitchFamily="34" charset="0"/>
              <a:buNone/>
            </a:pPr>
            <a:r>
              <a:rPr lang="tr-TR" altLang="tr-TR" sz="2500" b="1">
                <a:solidFill>
                  <a:srgbClr val="AD119B"/>
                </a:solidFill>
                <a:latin typeface="Open Sans" panose="020B0606030504020204" pitchFamily="34" charset="0"/>
                <a:cs typeface="Open Sans" panose="020B0606030504020204" pitchFamily="34" charset="0"/>
              </a:rPr>
              <a:t>Organizasyon Şeması</a:t>
            </a:r>
          </a:p>
          <a:p>
            <a:pPr eaLnBrk="1" hangingPunct="1">
              <a:lnSpc>
                <a:spcPct val="80000"/>
              </a:lnSpc>
              <a:buFont typeface="Arial" panose="020B0604020202020204" pitchFamily="34" charset="0"/>
              <a:buNone/>
            </a:pPr>
            <a:endParaRPr lang="tr-TR" altLang="tr-TR" sz="2400">
              <a:solidFill>
                <a:srgbClr val="AD119B"/>
              </a:solidFill>
            </a:endParaRPr>
          </a:p>
        </p:txBody>
      </p:sp>
      <p:sp>
        <p:nvSpPr>
          <p:cNvPr id="87" name="Rectangle 7">
            <a:extLst>
              <a:ext uri="{FF2B5EF4-FFF2-40B4-BE49-F238E27FC236}">
                <a16:creationId xmlns:a16="http://schemas.microsoft.com/office/drawing/2014/main" id="{E761893F-7C8C-EDC6-FAB4-CDF455EDAB2F}"/>
              </a:ext>
            </a:extLst>
          </p:cNvPr>
          <p:cNvSpPr/>
          <p:nvPr/>
        </p:nvSpPr>
        <p:spPr>
          <a:xfrm>
            <a:off x="684213" y="669925"/>
            <a:ext cx="623887" cy="269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nvGrpSpPr>
          <p:cNvPr id="30729" name="Grup 107">
            <a:extLst>
              <a:ext uri="{FF2B5EF4-FFF2-40B4-BE49-F238E27FC236}">
                <a16:creationId xmlns:a16="http://schemas.microsoft.com/office/drawing/2014/main" id="{21778FB6-0BC3-9C6B-6471-D8498AF926AE}"/>
              </a:ext>
            </a:extLst>
          </p:cNvPr>
          <p:cNvGrpSpPr>
            <a:grpSpLocks/>
          </p:cNvGrpSpPr>
          <p:nvPr/>
        </p:nvGrpSpPr>
        <p:grpSpPr bwMode="auto">
          <a:xfrm>
            <a:off x="5995988" y="3044825"/>
            <a:ext cx="1544637" cy="517525"/>
            <a:chOff x="2443649" y="5330070"/>
            <a:chExt cx="1694737" cy="268718"/>
          </a:xfrm>
        </p:grpSpPr>
        <p:sp>
          <p:nvSpPr>
            <p:cNvPr id="115" name="Dikdörtgen 114">
              <a:extLst>
                <a:ext uri="{FF2B5EF4-FFF2-40B4-BE49-F238E27FC236}">
                  <a16:creationId xmlns:a16="http://schemas.microsoft.com/office/drawing/2014/main" id="{3994E492-E3B4-8775-9036-FD0FA10E8DA1}"/>
                </a:ext>
              </a:extLst>
            </p:cNvPr>
            <p:cNvSpPr/>
            <p:nvPr/>
          </p:nvSpPr>
          <p:spPr>
            <a:xfrm>
              <a:off x="2443649" y="5330070"/>
              <a:ext cx="1694737" cy="268718"/>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6" name="Dikdörtgen 115">
              <a:extLst>
                <a:ext uri="{FF2B5EF4-FFF2-40B4-BE49-F238E27FC236}">
                  <a16:creationId xmlns:a16="http://schemas.microsoft.com/office/drawing/2014/main" id="{611483B0-2D3E-63D3-4646-86D57995768C}"/>
                </a:ext>
              </a:extLst>
            </p:cNvPr>
            <p:cNvSpPr/>
            <p:nvPr/>
          </p:nvSpPr>
          <p:spPr>
            <a:xfrm>
              <a:off x="2499385" y="5365515"/>
              <a:ext cx="1595457" cy="208545"/>
            </a:xfrm>
            <a:prstGeom prst="rect">
              <a:avLst/>
            </a:prstGeom>
          </p:spPr>
          <p:style>
            <a:lnRef idx="0">
              <a:scrgbClr r="0" g="0" b="0"/>
            </a:lnRef>
            <a:fillRef idx="0">
              <a:scrgbClr r="0" g="0" b="0"/>
            </a:fillRef>
            <a:effectRef idx="0">
              <a:scrgbClr r="0" g="0" b="0"/>
            </a:effectRef>
            <a:fontRef idx="minor">
              <a:schemeClr val="lt1"/>
            </a:fontRef>
          </p:style>
          <p:txBody>
            <a:bodyPr lIns="6350" tIns="6350" rIns="6350" bIns="6350" anchor="ctr"/>
            <a:lstStyle>
              <a:lvl1pPr defTabSz="444500">
                <a:defRPr>
                  <a:solidFill>
                    <a:schemeClr val="tx1"/>
                  </a:solidFill>
                  <a:latin typeface="Lato Light" panose="020F0502020204030203" pitchFamily="34" charset="0"/>
                </a:defRPr>
              </a:lvl1pPr>
              <a:lvl2pPr marL="742950" indent="-285750" defTabSz="444500">
                <a:defRPr>
                  <a:solidFill>
                    <a:schemeClr val="tx1"/>
                  </a:solidFill>
                  <a:latin typeface="Lato Light" panose="020F0502020204030203" pitchFamily="34" charset="0"/>
                </a:defRPr>
              </a:lvl2pPr>
              <a:lvl3pPr marL="1143000" indent="-228600" defTabSz="444500">
                <a:defRPr>
                  <a:solidFill>
                    <a:schemeClr val="tx1"/>
                  </a:solidFill>
                  <a:latin typeface="Lato Light" panose="020F0502020204030203" pitchFamily="34" charset="0"/>
                </a:defRPr>
              </a:lvl3pPr>
              <a:lvl4pPr marL="1600200" indent="-228600" defTabSz="444500">
                <a:defRPr>
                  <a:solidFill>
                    <a:schemeClr val="tx1"/>
                  </a:solidFill>
                  <a:latin typeface="Lato Light" panose="020F0502020204030203" pitchFamily="34" charset="0"/>
                </a:defRPr>
              </a:lvl4pPr>
              <a:lvl5pPr marL="2057400" indent="-228600" defTabSz="444500">
                <a:defRPr>
                  <a:solidFill>
                    <a:schemeClr val="tx1"/>
                  </a:solidFill>
                  <a:latin typeface="Lato Light" panose="020F0502020204030203" pitchFamily="34" charset="0"/>
                </a:defRPr>
              </a:lvl5pPr>
              <a:lvl6pPr marL="2514600" indent="-228600" defTabSz="444500" eaLnBrk="0" fontAlgn="base" hangingPunct="0">
                <a:spcBef>
                  <a:spcPct val="0"/>
                </a:spcBef>
                <a:spcAft>
                  <a:spcPct val="0"/>
                </a:spcAft>
                <a:defRPr>
                  <a:solidFill>
                    <a:schemeClr val="tx1"/>
                  </a:solidFill>
                  <a:latin typeface="Lato Light" panose="020F0502020204030203" pitchFamily="34" charset="0"/>
                </a:defRPr>
              </a:lvl6pPr>
              <a:lvl7pPr marL="2971800" indent="-228600" defTabSz="444500" eaLnBrk="0" fontAlgn="base" hangingPunct="0">
                <a:spcBef>
                  <a:spcPct val="0"/>
                </a:spcBef>
                <a:spcAft>
                  <a:spcPct val="0"/>
                </a:spcAft>
                <a:defRPr>
                  <a:solidFill>
                    <a:schemeClr val="tx1"/>
                  </a:solidFill>
                  <a:latin typeface="Lato Light" panose="020F0502020204030203" pitchFamily="34" charset="0"/>
                </a:defRPr>
              </a:lvl7pPr>
              <a:lvl8pPr marL="3429000" indent="-228600" defTabSz="444500" eaLnBrk="0" fontAlgn="base" hangingPunct="0">
                <a:spcBef>
                  <a:spcPct val="0"/>
                </a:spcBef>
                <a:spcAft>
                  <a:spcPct val="0"/>
                </a:spcAft>
                <a:defRPr>
                  <a:solidFill>
                    <a:schemeClr val="tx1"/>
                  </a:solidFill>
                  <a:latin typeface="Lato Light" panose="020F0502020204030203" pitchFamily="34" charset="0"/>
                </a:defRPr>
              </a:lvl8pPr>
              <a:lvl9pPr marL="3886200" indent="-228600" defTabSz="444500" eaLnBrk="0" fontAlgn="base" hangingPunct="0">
                <a:spcBef>
                  <a:spcPct val="0"/>
                </a:spcBef>
                <a:spcAft>
                  <a:spcPct val="0"/>
                </a:spcAft>
                <a:defRPr>
                  <a:solidFill>
                    <a:schemeClr val="tx1"/>
                  </a:solidFill>
                  <a:latin typeface="Lato Light" panose="020F0502020204030203" pitchFamily="34" charset="0"/>
                </a:defRPr>
              </a:lvl9pPr>
            </a:lstStyle>
            <a:p>
              <a:pPr eaLnBrk="1" hangingPunct="1">
                <a:lnSpc>
                  <a:spcPct val="90000"/>
                </a:lnSpc>
                <a:spcAft>
                  <a:spcPct val="35000"/>
                </a:spcAft>
                <a:defRPr/>
              </a:pPr>
              <a:r>
                <a:rPr lang="tr-TR" altLang="tr-TR" sz="1200">
                  <a:solidFill>
                    <a:srgbClr val="083E6B"/>
                  </a:solidFill>
                  <a:latin typeface="Open Sans" panose="020B0606030504020204" pitchFamily="34" charset="0"/>
                  <a:cs typeface="Open Sans" panose="020B0606030504020204" pitchFamily="34" charset="0"/>
                </a:rPr>
                <a:t>Şube Müdürlükleri</a:t>
              </a:r>
            </a:p>
          </p:txBody>
        </p:sp>
      </p:grpSp>
      <p:grpSp>
        <p:nvGrpSpPr>
          <p:cNvPr id="30730" name="Grup 28723">
            <a:extLst>
              <a:ext uri="{FF2B5EF4-FFF2-40B4-BE49-F238E27FC236}">
                <a16:creationId xmlns:a16="http://schemas.microsoft.com/office/drawing/2014/main" id="{317501F7-8C5D-74BC-BE41-762879E310F9}"/>
              </a:ext>
            </a:extLst>
          </p:cNvPr>
          <p:cNvGrpSpPr>
            <a:grpSpLocks/>
          </p:cNvGrpSpPr>
          <p:nvPr/>
        </p:nvGrpSpPr>
        <p:grpSpPr bwMode="auto">
          <a:xfrm>
            <a:off x="971550" y="2995613"/>
            <a:ext cx="1500188" cy="1709737"/>
            <a:chOff x="971288" y="2995075"/>
            <a:chExt cx="1499817" cy="1710275"/>
          </a:xfrm>
        </p:grpSpPr>
        <p:grpSp>
          <p:nvGrpSpPr>
            <p:cNvPr id="30796" name="Grup 103">
              <a:extLst>
                <a:ext uri="{FF2B5EF4-FFF2-40B4-BE49-F238E27FC236}">
                  <a16:creationId xmlns:a16="http://schemas.microsoft.com/office/drawing/2014/main" id="{7F1DB65E-A74D-797B-2A8C-F432824FFBA1}"/>
                </a:ext>
              </a:extLst>
            </p:cNvPr>
            <p:cNvGrpSpPr>
              <a:grpSpLocks/>
            </p:cNvGrpSpPr>
            <p:nvPr/>
          </p:nvGrpSpPr>
          <p:grpSpPr bwMode="auto">
            <a:xfrm>
              <a:off x="994076" y="2995075"/>
              <a:ext cx="1477029" cy="458486"/>
              <a:chOff x="369876" y="4948152"/>
              <a:chExt cx="834390" cy="254170"/>
            </a:xfrm>
          </p:grpSpPr>
          <p:sp>
            <p:nvSpPr>
              <p:cNvPr id="144" name="Dikdörtgen 143">
                <a:extLst>
                  <a:ext uri="{FF2B5EF4-FFF2-40B4-BE49-F238E27FC236}">
                    <a16:creationId xmlns:a16="http://schemas.microsoft.com/office/drawing/2014/main" id="{41FD7F2B-ACC0-2FE6-6829-897E97F679C6}"/>
                  </a:ext>
                </a:extLst>
              </p:cNvPr>
              <p:cNvSpPr/>
              <p:nvPr/>
            </p:nvSpPr>
            <p:spPr>
              <a:xfrm>
                <a:off x="369555" y="4948152"/>
                <a:ext cx="834711" cy="254417"/>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5" name="Dikdörtgen 144">
                <a:extLst>
                  <a:ext uri="{FF2B5EF4-FFF2-40B4-BE49-F238E27FC236}">
                    <a16:creationId xmlns:a16="http://schemas.microsoft.com/office/drawing/2014/main" id="{E9EF9BF3-E8D5-5ACA-540A-955C490F01C5}"/>
                  </a:ext>
                </a:extLst>
              </p:cNvPr>
              <p:cNvSpPr/>
              <p:nvPr/>
            </p:nvSpPr>
            <p:spPr>
              <a:xfrm>
                <a:off x="405418" y="4986006"/>
                <a:ext cx="796158" cy="199837"/>
              </a:xfrm>
              <a:prstGeom prst="rect">
                <a:avLst/>
              </a:prstGeom>
            </p:spPr>
            <p:style>
              <a:lnRef idx="0">
                <a:scrgbClr r="0" g="0" b="0"/>
              </a:lnRef>
              <a:fillRef idx="0">
                <a:scrgbClr r="0" g="0" b="0"/>
              </a:fillRef>
              <a:effectRef idx="0">
                <a:scrgbClr r="0" g="0" b="0"/>
              </a:effectRef>
              <a:fontRef idx="minor">
                <a:schemeClr val="lt1"/>
              </a:fontRef>
            </p:style>
            <p:txBody>
              <a:bodyPr lIns="6350" tIns="6350" rIns="6350" bIns="6350" spcCol="1270" anchor="ctr"/>
              <a:lstStyle/>
              <a:p>
                <a:pPr defTabSz="444500" eaLnBrk="1" fontAlgn="auto" hangingPunct="1">
                  <a:lnSpc>
                    <a:spcPct val="90000"/>
                  </a:lnSpc>
                  <a:spcAft>
                    <a:spcPct val="35000"/>
                  </a:spcAft>
                  <a:defRPr/>
                </a:pPr>
                <a:r>
                  <a:rPr lang="tr-TR" sz="120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Denetmenler (Kontrolörler)</a:t>
                </a:r>
              </a:p>
            </p:txBody>
          </p:sp>
        </p:grpSp>
        <p:grpSp>
          <p:nvGrpSpPr>
            <p:cNvPr id="30797" name="Grup 104">
              <a:extLst>
                <a:ext uri="{FF2B5EF4-FFF2-40B4-BE49-F238E27FC236}">
                  <a16:creationId xmlns:a16="http://schemas.microsoft.com/office/drawing/2014/main" id="{DB7F3136-3495-9FEB-281A-11649E96265A}"/>
                </a:ext>
              </a:extLst>
            </p:cNvPr>
            <p:cNvGrpSpPr>
              <a:grpSpLocks/>
            </p:cNvGrpSpPr>
            <p:nvPr/>
          </p:nvGrpSpPr>
          <p:grpSpPr bwMode="auto">
            <a:xfrm>
              <a:off x="971288" y="3661466"/>
              <a:ext cx="1499817" cy="405716"/>
              <a:chOff x="368483" y="5306182"/>
              <a:chExt cx="1193223" cy="286725"/>
            </a:xfrm>
          </p:grpSpPr>
          <p:sp>
            <p:nvSpPr>
              <p:cNvPr id="142" name="Dikdörtgen 141">
                <a:extLst>
                  <a:ext uri="{FF2B5EF4-FFF2-40B4-BE49-F238E27FC236}">
                    <a16:creationId xmlns:a16="http://schemas.microsoft.com/office/drawing/2014/main" id="{E7D5CC55-B31B-DF52-D117-5A351FE4C146}"/>
                  </a:ext>
                </a:extLst>
              </p:cNvPr>
              <p:cNvSpPr/>
              <p:nvPr/>
            </p:nvSpPr>
            <p:spPr>
              <a:xfrm>
                <a:off x="368483" y="5306584"/>
                <a:ext cx="1193223" cy="286176"/>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3" name="Dikdörtgen 142">
                <a:extLst>
                  <a:ext uri="{FF2B5EF4-FFF2-40B4-BE49-F238E27FC236}">
                    <a16:creationId xmlns:a16="http://schemas.microsoft.com/office/drawing/2014/main" id="{ECEE012D-86DB-8299-C449-09EC5504567C}"/>
                  </a:ext>
                </a:extLst>
              </p:cNvPr>
              <p:cNvSpPr/>
              <p:nvPr/>
            </p:nvSpPr>
            <p:spPr>
              <a:xfrm>
                <a:off x="441718" y="5320051"/>
                <a:ext cx="1099785" cy="253631"/>
              </a:xfrm>
              <a:prstGeom prst="rect">
                <a:avLst/>
              </a:prstGeom>
            </p:spPr>
            <p:style>
              <a:lnRef idx="0">
                <a:scrgbClr r="0" g="0" b="0"/>
              </a:lnRef>
              <a:fillRef idx="0">
                <a:scrgbClr r="0" g="0" b="0"/>
              </a:fillRef>
              <a:effectRef idx="0">
                <a:scrgbClr r="0" g="0" b="0"/>
              </a:effectRef>
              <a:fontRef idx="minor">
                <a:schemeClr val="lt1"/>
              </a:fontRef>
            </p:style>
            <p:txBody>
              <a:bodyPr lIns="6350" tIns="6350" rIns="6350" bIns="6350" anchor="ctr"/>
              <a:lstStyle>
                <a:lvl1pPr defTabSz="444500">
                  <a:defRPr>
                    <a:solidFill>
                      <a:schemeClr val="tx1"/>
                    </a:solidFill>
                    <a:latin typeface="Lato Light" panose="020F0502020204030203" pitchFamily="34" charset="0"/>
                  </a:defRPr>
                </a:lvl1pPr>
                <a:lvl2pPr marL="742950" indent="-285750" defTabSz="444500">
                  <a:defRPr>
                    <a:solidFill>
                      <a:schemeClr val="tx1"/>
                    </a:solidFill>
                    <a:latin typeface="Lato Light" panose="020F0502020204030203" pitchFamily="34" charset="0"/>
                  </a:defRPr>
                </a:lvl2pPr>
                <a:lvl3pPr marL="1143000" indent="-228600" defTabSz="444500">
                  <a:defRPr>
                    <a:solidFill>
                      <a:schemeClr val="tx1"/>
                    </a:solidFill>
                    <a:latin typeface="Lato Light" panose="020F0502020204030203" pitchFamily="34" charset="0"/>
                  </a:defRPr>
                </a:lvl3pPr>
                <a:lvl4pPr marL="1600200" indent="-228600" defTabSz="444500">
                  <a:defRPr>
                    <a:solidFill>
                      <a:schemeClr val="tx1"/>
                    </a:solidFill>
                    <a:latin typeface="Lato Light" panose="020F0502020204030203" pitchFamily="34" charset="0"/>
                  </a:defRPr>
                </a:lvl4pPr>
                <a:lvl5pPr marL="2057400" indent="-228600" defTabSz="444500">
                  <a:defRPr>
                    <a:solidFill>
                      <a:schemeClr val="tx1"/>
                    </a:solidFill>
                    <a:latin typeface="Lato Light" panose="020F0502020204030203" pitchFamily="34" charset="0"/>
                  </a:defRPr>
                </a:lvl5pPr>
                <a:lvl6pPr marL="2514600" indent="-228600" defTabSz="444500" eaLnBrk="0" fontAlgn="base" hangingPunct="0">
                  <a:spcBef>
                    <a:spcPct val="0"/>
                  </a:spcBef>
                  <a:spcAft>
                    <a:spcPct val="0"/>
                  </a:spcAft>
                  <a:defRPr>
                    <a:solidFill>
                      <a:schemeClr val="tx1"/>
                    </a:solidFill>
                    <a:latin typeface="Lato Light" panose="020F0502020204030203" pitchFamily="34" charset="0"/>
                  </a:defRPr>
                </a:lvl6pPr>
                <a:lvl7pPr marL="2971800" indent="-228600" defTabSz="444500" eaLnBrk="0" fontAlgn="base" hangingPunct="0">
                  <a:spcBef>
                    <a:spcPct val="0"/>
                  </a:spcBef>
                  <a:spcAft>
                    <a:spcPct val="0"/>
                  </a:spcAft>
                  <a:defRPr>
                    <a:solidFill>
                      <a:schemeClr val="tx1"/>
                    </a:solidFill>
                    <a:latin typeface="Lato Light" panose="020F0502020204030203" pitchFamily="34" charset="0"/>
                  </a:defRPr>
                </a:lvl7pPr>
                <a:lvl8pPr marL="3429000" indent="-228600" defTabSz="444500" eaLnBrk="0" fontAlgn="base" hangingPunct="0">
                  <a:spcBef>
                    <a:spcPct val="0"/>
                  </a:spcBef>
                  <a:spcAft>
                    <a:spcPct val="0"/>
                  </a:spcAft>
                  <a:defRPr>
                    <a:solidFill>
                      <a:schemeClr val="tx1"/>
                    </a:solidFill>
                    <a:latin typeface="Lato Light" panose="020F0502020204030203" pitchFamily="34" charset="0"/>
                  </a:defRPr>
                </a:lvl8pPr>
                <a:lvl9pPr marL="3886200" indent="-228600" defTabSz="444500" eaLnBrk="0" fontAlgn="base" hangingPunct="0">
                  <a:spcBef>
                    <a:spcPct val="0"/>
                  </a:spcBef>
                  <a:spcAft>
                    <a:spcPct val="0"/>
                  </a:spcAft>
                  <a:defRPr>
                    <a:solidFill>
                      <a:schemeClr val="tx1"/>
                    </a:solidFill>
                    <a:latin typeface="Lato Light" panose="020F0502020204030203" pitchFamily="34" charset="0"/>
                  </a:defRPr>
                </a:lvl9pPr>
              </a:lstStyle>
              <a:p>
                <a:pPr eaLnBrk="1" hangingPunct="1">
                  <a:lnSpc>
                    <a:spcPct val="90000"/>
                  </a:lnSpc>
                  <a:spcAft>
                    <a:spcPct val="35000"/>
                  </a:spcAft>
                  <a:defRPr/>
                </a:pPr>
                <a:r>
                  <a:rPr lang="tr-TR" altLang="tr-TR" sz="1200">
                    <a:solidFill>
                      <a:srgbClr val="083E6B"/>
                    </a:solidFill>
                    <a:latin typeface="Open Sans" panose="020B0606030504020204" pitchFamily="34" charset="0"/>
                    <a:cs typeface="Open Sans" panose="020B0606030504020204" pitchFamily="34" charset="0"/>
                  </a:rPr>
                  <a:t>Değerleme Uzmanları</a:t>
                </a:r>
              </a:p>
            </p:txBody>
          </p:sp>
        </p:grpSp>
        <p:grpSp>
          <p:nvGrpSpPr>
            <p:cNvPr id="30798" name="Grup 104">
              <a:extLst>
                <a:ext uri="{FF2B5EF4-FFF2-40B4-BE49-F238E27FC236}">
                  <a16:creationId xmlns:a16="http://schemas.microsoft.com/office/drawing/2014/main" id="{7FEADCCB-A326-9787-6825-6A988265B7D3}"/>
                </a:ext>
              </a:extLst>
            </p:cNvPr>
            <p:cNvGrpSpPr>
              <a:grpSpLocks/>
            </p:cNvGrpSpPr>
            <p:nvPr/>
          </p:nvGrpSpPr>
          <p:grpSpPr bwMode="auto">
            <a:xfrm>
              <a:off x="981973" y="4299634"/>
              <a:ext cx="1483669" cy="405716"/>
              <a:chOff x="368482" y="5306182"/>
              <a:chExt cx="1345960" cy="286725"/>
            </a:xfrm>
          </p:grpSpPr>
          <p:sp>
            <p:nvSpPr>
              <p:cNvPr id="154" name="Dikdörtgen 153">
                <a:extLst>
                  <a:ext uri="{FF2B5EF4-FFF2-40B4-BE49-F238E27FC236}">
                    <a16:creationId xmlns:a16="http://schemas.microsoft.com/office/drawing/2014/main" id="{AB46A679-AAB9-B9E7-ADF7-F3F9EC8045EE}"/>
                  </a:ext>
                </a:extLst>
              </p:cNvPr>
              <p:cNvSpPr/>
              <p:nvPr/>
            </p:nvSpPr>
            <p:spPr>
              <a:xfrm>
                <a:off x="368867" y="5306731"/>
                <a:ext cx="1346210" cy="286176"/>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5" name="Dikdörtgen 154">
                <a:extLst>
                  <a:ext uri="{FF2B5EF4-FFF2-40B4-BE49-F238E27FC236}">
                    <a16:creationId xmlns:a16="http://schemas.microsoft.com/office/drawing/2014/main" id="{46513062-2784-4AFE-36EC-2CDFD675C509}"/>
                  </a:ext>
                </a:extLst>
              </p:cNvPr>
              <p:cNvSpPr/>
              <p:nvPr/>
            </p:nvSpPr>
            <p:spPr>
              <a:xfrm>
                <a:off x="442297" y="5320198"/>
                <a:ext cx="1012178" cy="253631"/>
              </a:xfrm>
              <a:prstGeom prst="rect">
                <a:avLst/>
              </a:prstGeom>
            </p:spPr>
            <p:style>
              <a:lnRef idx="0">
                <a:scrgbClr r="0" g="0" b="0"/>
              </a:lnRef>
              <a:fillRef idx="0">
                <a:scrgbClr r="0" g="0" b="0"/>
              </a:fillRef>
              <a:effectRef idx="0">
                <a:scrgbClr r="0" g="0" b="0"/>
              </a:effectRef>
              <a:fontRef idx="minor">
                <a:schemeClr val="lt1"/>
              </a:fontRef>
            </p:style>
            <p:txBody>
              <a:bodyPr lIns="6350" tIns="6350" rIns="6350" bIns="6350" spcCol="1270" anchor="ctr"/>
              <a:lstStyle/>
              <a:p>
                <a:pPr defTabSz="444500" eaLnBrk="1" fontAlgn="auto" hangingPunct="1">
                  <a:lnSpc>
                    <a:spcPct val="90000"/>
                  </a:lnSpc>
                  <a:spcAft>
                    <a:spcPct val="35000"/>
                  </a:spcAft>
                  <a:defRPr/>
                </a:pPr>
                <a:r>
                  <a:rPr lang="tr-TR" sz="120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Operasyon</a:t>
                </a:r>
              </a:p>
            </p:txBody>
          </p:sp>
        </p:grpSp>
      </p:grpSp>
      <p:grpSp>
        <p:nvGrpSpPr>
          <p:cNvPr id="30731" name="Grup 28725">
            <a:extLst>
              <a:ext uri="{FF2B5EF4-FFF2-40B4-BE49-F238E27FC236}">
                <a16:creationId xmlns:a16="http://schemas.microsoft.com/office/drawing/2014/main" id="{15C73E23-251D-27F5-3F42-B91CA422EB68}"/>
              </a:ext>
            </a:extLst>
          </p:cNvPr>
          <p:cNvGrpSpPr>
            <a:grpSpLocks/>
          </p:cNvGrpSpPr>
          <p:nvPr/>
        </p:nvGrpSpPr>
        <p:grpSpPr bwMode="auto">
          <a:xfrm>
            <a:off x="9372600" y="2863850"/>
            <a:ext cx="1619250" cy="2273300"/>
            <a:chOff x="9372757" y="2864005"/>
            <a:chExt cx="1618976" cy="2272646"/>
          </a:xfrm>
        </p:grpSpPr>
        <p:grpSp>
          <p:nvGrpSpPr>
            <p:cNvPr id="30784" name="Grup 112">
              <a:extLst>
                <a:ext uri="{FF2B5EF4-FFF2-40B4-BE49-F238E27FC236}">
                  <a16:creationId xmlns:a16="http://schemas.microsoft.com/office/drawing/2014/main" id="{0ED27FBB-8A78-4CB6-EEEA-27D18C8527B8}"/>
                </a:ext>
              </a:extLst>
            </p:cNvPr>
            <p:cNvGrpSpPr>
              <a:grpSpLocks/>
            </p:cNvGrpSpPr>
            <p:nvPr/>
          </p:nvGrpSpPr>
          <p:grpSpPr bwMode="auto">
            <a:xfrm>
              <a:off x="9377211" y="2864005"/>
              <a:ext cx="1600141" cy="440197"/>
              <a:chOff x="5096685" y="5054698"/>
              <a:chExt cx="1384883" cy="332368"/>
            </a:xfrm>
          </p:grpSpPr>
          <p:sp>
            <p:nvSpPr>
              <p:cNvPr id="126" name="Dikdörtgen 125">
                <a:extLst>
                  <a:ext uri="{FF2B5EF4-FFF2-40B4-BE49-F238E27FC236}">
                    <a16:creationId xmlns:a16="http://schemas.microsoft.com/office/drawing/2014/main" id="{E2041110-A8DA-0447-1978-A4E63D5422F5}"/>
                  </a:ext>
                </a:extLst>
              </p:cNvPr>
              <p:cNvSpPr/>
              <p:nvPr/>
            </p:nvSpPr>
            <p:spPr>
              <a:xfrm>
                <a:off x="5096952" y="5054698"/>
                <a:ext cx="1384700" cy="331926"/>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tr-TR"/>
              </a:p>
            </p:txBody>
          </p:sp>
          <p:sp>
            <p:nvSpPr>
              <p:cNvPr id="127" name="Dikdörtgen 126">
                <a:extLst>
                  <a:ext uri="{FF2B5EF4-FFF2-40B4-BE49-F238E27FC236}">
                    <a16:creationId xmlns:a16="http://schemas.microsoft.com/office/drawing/2014/main" id="{B41A6779-839F-EE47-7802-20B721B37BAD}"/>
                  </a:ext>
                </a:extLst>
              </p:cNvPr>
              <p:cNvSpPr/>
              <p:nvPr/>
            </p:nvSpPr>
            <p:spPr>
              <a:xfrm>
                <a:off x="5123052" y="5138578"/>
                <a:ext cx="1342115" cy="208502"/>
              </a:xfrm>
              <a:prstGeom prst="rect">
                <a:avLst/>
              </a:prstGeom>
            </p:spPr>
            <p:style>
              <a:lnRef idx="0">
                <a:scrgbClr r="0" g="0" b="0"/>
              </a:lnRef>
              <a:fillRef idx="0">
                <a:scrgbClr r="0" g="0" b="0"/>
              </a:fillRef>
              <a:effectRef idx="0">
                <a:scrgbClr r="0" g="0" b="0"/>
              </a:effectRef>
              <a:fontRef idx="minor">
                <a:schemeClr val="lt1"/>
              </a:fontRef>
            </p:style>
            <p:txBody>
              <a:bodyPr lIns="6350" tIns="6350" rIns="6350" bIns="6350" anchor="ctr"/>
              <a:lstStyle>
                <a:lvl1pPr defTabSz="444500">
                  <a:defRPr>
                    <a:solidFill>
                      <a:schemeClr val="tx1"/>
                    </a:solidFill>
                    <a:latin typeface="Lato Light" panose="020F0502020204030203" pitchFamily="34" charset="0"/>
                  </a:defRPr>
                </a:lvl1pPr>
                <a:lvl2pPr marL="742950" indent="-285750" defTabSz="444500">
                  <a:defRPr>
                    <a:solidFill>
                      <a:schemeClr val="tx1"/>
                    </a:solidFill>
                    <a:latin typeface="Lato Light" panose="020F0502020204030203" pitchFamily="34" charset="0"/>
                  </a:defRPr>
                </a:lvl2pPr>
                <a:lvl3pPr marL="1143000" indent="-228600" defTabSz="444500">
                  <a:defRPr>
                    <a:solidFill>
                      <a:schemeClr val="tx1"/>
                    </a:solidFill>
                    <a:latin typeface="Lato Light" panose="020F0502020204030203" pitchFamily="34" charset="0"/>
                  </a:defRPr>
                </a:lvl3pPr>
                <a:lvl4pPr marL="1600200" indent="-228600" defTabSz="444500">
                  <a:defRPr>
                    <a:solidFill>
                      <a:schemeClr val="tx1"/>
                    </a:solidFill>
                    <a:latin typeface="Lato Light" panose="020F0502020204030203" pitchFamily="34" charset="0"/>
                  </a:defRPr>
                </a:lvl4pPr>
                <a:lvl5pPr marL="2057400" indent="-228600" defTabSz="444500">
                  <a:defRPr>
                    <a:solidFill>
                      <a:schemeClr val="tx1"/>
                    </a:solidFill>
                    <a:latin typeface="Lato Light" panose="020F0502020204030203" pitchFamily="34" charset="0"/>
                  </a:defRPr>
                </a:lvl5pPr>
                <a:lvl6pPr marL="2514600" indent="-228600" defTabSz="444500" eaLnBrk="0" fontAlgn="base" hangingPunct="0">
                  <a:spcBef>
                    <a:spcPct val="0"/>
                  </a:spcBef>
                  <a:spcAft>
                    <a:spcPct val="0"/>
                  </a:spcAft>
                  <a:defRPr>
                    <a:solidFill>
                      <a:schemeClr val="tx1"/>
                    </a:solidFill>
                    <a:latin typeface="Lato Light" panose="020F0502020204030203" pitchFamily="34" charset="0"/>
                  </a:defRPr>
                </a:lvl6pPr>
                <a:lvl7pPr marL="2971800" indent="-228600" defTabSz="444500" eaLnBrk="0" fontAlgn="base" hangingPunct="0">
                  <a:spcBef>
                    <a:spcPct val="0"/>
                  </a:spcBef>
                  <a:spcAft>
                    <a:spcPct val="0"/>
                  </a:spcAft>
                  <a:defRPr>
                    <a:solidFill>
                      <a:schemeClr val="tx1"/>
                    </a:solidFill>
                    <a:latin typeface="Lato Light" panose="020F0502020204030203" pitchFamily="34" charset="0"/>
                  </a:defRPr>
                </a:lvl7pPr>
                <a:lvl8pPr marL="3429000" indent="-228600" defTabSz="444500" eaLnBrk="0" fontAlgn="base" hangingPunct="0">
                  <a:spcBef>
                    <a:spcPct val="0"/>
                  </a:spcBef>
                  <a:spcAft>
                    <a:spcPct val="0"/>
                  </a:spcAft>
                  <a:defRPr>
                    <a:solidFill>
                      <a:schemeClr val="tx1"/>
                    </a:solidFill>
                    <a:latin typeface="Lato Light" panose="020F0502020204030203" pitchFamily="34" charset="0"/>
                  </a:defRPr>
                </a:lvl8pPr>
                <a:lvl9pPr marL="3886200" indent="-228600" defTabSz="444500" eaLnBrk="0" fontAlgn="base" hangingPunct="0">
                  <a:spcBef>
                    <a:spcPct val="0"/>
                  </a:spcBef>
                  <a:spcAft>
                    <a:spcPct val="0"/>
                  </a:spcAft>
                  <a:defRPr>
                    <a:solidFill>
                      <a:schemeClr val="tx1"/>
                    </a:solidFill>
                    <a:latin typeface="Lato Light" panose="020F0502020204030203" pitchFamily="34" charset="0"/>
                  </a:defRPr>
                </a:lvl9pPr>
              </a:lstStyle>
              <a:p>
                <a:pPr eaLnBrk="1" hangingPunct="1">
                  <a:lnSpc>
                    <a:spcPct val="90000"/>
                  </a:lnSpc>
                  <a:spcAft>
                    <a:spcPct val="35000"/>
                  </a:spcAft>
                  <a:defRPr/>
                </a:pPr>
                <a:r>
                  <a:rPr lang="tr-TR" altLang="tr-TR" sz="1200">
                    <a:solidFill>
                      <a:srgbClr val="083E6B"/>
                    </a:solidFill>
                    <a:latin typeface="Open Sans" panose="020B0606030504020204" pitchFamily="34" charset="0"/>
                    <a:cs typeface="Open Sans" panose="020B0606030504020204" pitchFamily="34" charset="0"/>
                  </a:rPr>
                  <a:t>İnsan Kaynakları</a:t>
                </a:r>
              </a:p>
            </p:txBody>
          </p:sp>
        </p:grpSp>
        <p:grpSp>
          <p:nvGrpSpPr>
            <p:cNvPr id="30785" name="Grup 113">
              <a:extLst>
                <a:ext uri="{FF2B5EF4-FFF2-40B4-BE49-F238E27FC236}">
                  <a16:creationId xmlns:a16="http://schemas.microsoft.com/office/drawing/2014/main" id="{35ACA4B3-CEB8-E804-E0CD-DA904540C8A9}"/>
                </a:ext>
              </a:extLst>
            </p:cNvPr>
            <p:cNvGrpSpPr>
              <a:grpSpLocks/>
            </p:cNvGrpSpPr>
            <p:nvPr/>
          </p:nvGrpSpPr>
          <p:grpSpPr bwMode="auto">
            <a:xfrm>
              <a:off x="9372757" y="4089888"/>
              <a:ext cx="1618976" cy="433301"/>
              <a:chOff x="5095765" y="5635358"/>
              <a:chExt cx="1273762" cy="287498"/>
            </a:xfrm>
          </p:grpSpPr>
          <p:sp>
            <p:nvSpPr>
              <p:cNvPr id="124" name="Dikdörtgen 123">
                <a:extLst>
                  <a:ext uri="{FF2B5EF4-FFF2-40B4-BE49-F238E27FC236}">
                    <a16:creationId xmlns:a16="http://schemas.microsoft.com/office/drawing/2014/main" id="{A44CA53B-BF42-C1E8-5AC5-D8D42F4ECB7A}"/>
                  </a:ext>
                </a:extLst>
              </p:cNvPr>
              <p:cNvSpPr/>
              <p:nvPr/>
            </p:nvSpPr>
            <p:spPr>
              <a:xfrm>
                <a:off x="5095765" y="5634903"/>
                <a:ext cx="1273762" cy="287473"/>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5" name="Dikdörtgen 124">
                <a:extLst>
                  <a:ext uri="{FF2B5EF4-FFF2-40B4-BE49-F238E27FC236}">
                    <a16:creationId xmlns:a16="http://schemas.microsoft.com/office/drawing/2014/main" id="{260B9729-9A41-0880-59DA-4B09B32179EF}"/>
                  </a:ext>
                </a:extLst>
              </p:cNvPr>
              <p:cNvSpPr/>
              <p:nvPr/>
            </p:nvSpPr>
            <p:spPr>
              <a:xfrm>
                <a:off x="5129483" y="5677023"/>
                <a:ext cx="1205078" cy="215868"/>
              </a:xfrm>
              <a:prstGeom prst="rect">
                <a:avLst/>
              </a:prstGeom>
            </p:spPr>
            <p:style>
              <a:lnRef idx="0">
                <a:scrgbClr r="0" g="0" b="0"/>
              </a:lnRef>
              <a:fillRef idx="0">
                <a:scrgbClr r="0" g="0" b="0"/>
              </a:fillRef>
              <a:effectRef idx="0">
                <a:scrgbClr r="0" g="0" b="0"/>
              </a:effectRef>
              <a:fontRef idx="minor">
                <a:schemeClr val="lt1"/>
              </a:fontRef>
            </p:style>
            <p:txBody>
              <a:bodyPr lIns="6350" tIns="6350" rIns="6350" bIns="6350" spcCol="1270" anchor="ctr"/>
              <a:lstStyle/>
              <a:p>
                <a:pPr defTabSz="444500" eaLnBrk="1" fontAlgn="auto" hangingPunct="1">
                  <a:lnSpc>
                    <a:spcPct val="90000"/>
                  </a:lnSpc>
                  <a:spcAft>
                    <a:spcPct val="35000"/>
                  </a:spcAft>
                  <a:defRPr/>
                </a:pPr>
                <a:r>
                  <a:rPr lang="tr-TR" sz="120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Muhaberat</a:t>
                </a:r>
              </a:p>
            </p:txBody>
          </p:sp>
        </p:grpSp>
        <p:grpSp>
          <p:nvGrpSpPr>
            <p:cNvPr id="30786" name="Grup 114">
              <a:extLst>
                <a:ext uri="{FF2B5EF4-FFF2-40B4-BE49-F238E27FC236}">
                  <a16:creationId xmlns:a16="http://schemas.microsoft.com/office/drawing/2014/main" id="{9739272C-6F46-F4DD-A2EA-CADBEE157D67}"/>
                </a:ext>
              </a:extLst>
            </p:cNvPr>
            <p:cNvGrpSpPr>
              <a:grpSpLocks/>
            </p:cNvGrpSpPr>
            <p:nvPr/>
          </p:nvGrpSpPr>
          <p:grpSpPr bwMode="auto">
            <a:xfrm>
              <a:off x="9381335" y="3438086"/>
              <a:ext cx="1610047" cy="472603"/>
              <a:chOff x="5095511" y="6077215"/>
              <a:chExt cx="1353911" cy="274181"/>
            </a:xfrm>
          </p:grpSpPr>
          <p:sp>
            <p:nvSpPr>
              <p:cNvPr id="122" name="Dikdörtgen 121">
                <a:extLst>
                  <a:ext uri="{FF2B5EF4-FFF2-40B4-BE49-F238E27FC236}">
                    <a16:creationId xmlns:a16="http://schemas.microsoft.com/office/drawing/2014/main" id="{8B1DC1C0-4E61-F517-EA94-A495B826AAD0}"/>
                  </a:ext>
                </a:extLst>
              </p:cNvPr>
              <p:cNvSpPr/>
              <p:nvPr/>
            </p:nvSpPr>
            <p:spPr>
              <a:xfrm>
                <a:off x="5094972" y="6077464"/>
                <a:ext cx="1354746" cy="274376"/>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3" name="Dikdörtgen 122">
                <a:extLst>
                  <a:ext uri="{FF2B5EF4-FFF2-40B4-BE49-F238E27FC236}">
                    <a16:creationId xmlns:a16="http://schemas.microsoft.com/office/drawing/2014/main" id="{67E52412-CAD1-9081-9067-B97DEA722630}"/>
                  </a:ext>
                </a:extLst>
              </p:cNvPr>
              <p:cNvSpPr/>
              <p:nvPr/>
            </p:nvSpPr>
            <p:spPr>
              <a:xfrm>
                <a:off x="5124336" y="6112451"/>
                <a:ext cx="955663" cy="236626"/>
              </a:xfrm>
              <a:prstGeom prst="rect">
                <a:avLst/>
              </a:prstGeom>
            </p:spPr>
            <p:style>
              <a:lnRef idx="0">
                <a:scrgbClr r="0" g="0" b="0"/>
              </a:lnRef>
              <a:fillRef idx="0">
                <a:scrgbClr r="0" g="0" b="0"/>
              </a:fillRef>
              <a:effectRef idx="0">
                <a:scrgbClr r="0" g="0" b="0"/>
              </a:effectRef>
              <a:fontRef idx="minor">
                <a:schemeClr val="lt1"/>
              </a:fontRef>
            </p:style>
            <p:txBody>
              <a:bodyPr lIns="6350" tIns="6350" rIns="6350" bIns="6350" anchor="ctr"/>
              <a:lstStyle>
                <a:lvl1pPr defTabSz="444500">
                  <a:defRPr>
                    <a:solidFill>
                      <a:schemeClr val="tx1"/>
                    </a:solidFill>
                    <a:latin typeface="Lato Light" panose="020F0502020204030203" pitchFamily="34" charset="0"/>
                  </a:defRPr>
                </a:lvl1pPr>
                <a:lvl2pPr marL="742950" indent="-285750" defTabSz="444500">
                  <a:defRPr>
                    <a:solidFill>
                      <a:schemeClr val="tx1"/>
                    </a:solidFill>
                    <a:latin typeface="Lato Light" panose="020F0502020204030203" pitchFamily="34" charset="0"/>
                  </a:defRPr>
                </a:lvl2pPr>
                <a:lvl3pPr marL="1143000" indent="-228600" defTabSz="444500">
                  <a:defRPr>
                    <a:solidFill>
                      <a:schemeClr val="tx1"/>
                    </a:solidFill>
                    <a:latin typeface="Lato Light" panose="020F0502020204030203" pitchFamily="34" charset="0"/>
                  </a:defRPr>
                </a:lvl3pPr>
                <a:lvl4pPr marL="1600200" indent="-228600" defTabSz="444500">
                  <a:defRPr>
                    <a:solidFill>
                      <a:schemeClr val="tx1"/>
                    </a:solidFill>
                    <a:latin typeface="Lato Light" panose="020F0502020204030203" pitchFamily="34" charset="0"/>
                  </a:defRPr>
                </a:lvl4pPr>
                <a:lvl5pPr marL="2057400" indent="-228600" defTabSz="444500">
                  <a:defRPr>
                    <a:solidFill>
                      <a:schemeClr val="tx1"/>
                    </a:solidFill>
                    <a:latin typeface="Lato Light" panose="020F0502020204030203" pitchFamily="34" charset="0"/>
                  </a:defRPr>
                </a:lvl5pPr>
                <a:lvl6pPr marL="2514600" indent="-228600" defTabSz="444500" eaLnBrk="0" fontAlgn="base" hangingPunct="0">
                  <a:spcBef>
                    <a:spcPct val="0"/>
                  </a:spcBef>
                  <a:spcAft>
                    <a:spcPct val="0"/>
                  </a:spcAft>
                  <a:defRPr>
                    <a:solidFill>
                      <a:schemeClr val="tx1"/>
                    </a:solidFill>
                    <a:latin typeface="Lato Light" panose="020F0502020204030203" pitchFamily="34" charset="0"/>
                  </a:defRPr>
                </a:lvl6pPr>
                <a:lvl7pPr marL="2971800" indent="-228600" defTabSz="444500" eaLnBrk="0" fontAlgn="base" hangingPunct="0">
                  <a:spcBef>
                    <a:spcPct val="0"/>
                  </a:spcBef>
                  <a:spcAft>
                    <a:spcPct val="0"/>
                  </a:spcAft>
                  <a:defRPr>
                    <a:solidFill>
                      <a:schemeClr val="tx1"/>
                    </a:solidFill>
                    <a:latin typeface="Lato Light" panose="020F0502020204030203" pitchFamily="34" charset="0"/>
                  </a:defRPr>
                </a:lvl7pPr>
                <a:lvl8pPr marL="3429000" indent="-228600" defTabSz="444500" eaLnBrk="0" fontAlgn="base" hangingPunct="0">
                  <a:spcBef>
                    <a:spcPct val="0"/>
                  </a:spcBef>
                  <a:spcAft>
                    <a:spcPct val="0"/>
                  </a:spcAft>
                  <a:defRPr>
                    <a:solidFill>
                      <a:schemeClr val="tx1"/>
                    </a:solidFill>
                    <a:latin typeface="Lato Light" panose="020F0502020204030203" pitchFamily="34" charset="0"/>
                  </a:defRPr>
                </a:lvl8pPr>
                <a:lvl9pPr marL="3886200" indent="-228600" defTabSz="444500" eaLnBrk="0" fontAlgn="base" hangingPunct="0">
                  <a:spcBef>
                    <a:spcPct val="0"/>
                  </a:spcBef>
                  <a:spcAft>
                    <a:spcPct val="0"/>
                  </a:spcAft>
                  <a:defRPr>
                    <a:solidFill>
                      <a:schemeClr val="tx1"/>
                    </a:solidFill>
                    <a:latin typeface="Lato Light" panose="020F0502020204030203" pitchFamily="34" charset="0"/>
                  </a:defRPr>
                </a:lvl9pPr>
              </a:lstStyle>
              <a:p>
                <a:pPr eaLnBrk="1" hangingPunct="1">
                  <a:lnSpc>
                    <a:spcPct val="90000"/>
                  </a:lnSpc>
                  <a:spcAft>
                    <a:spcPct val="35000"/>
                  </a:spcAft>
                  <a:defRPr/>
                </a:pPr>
                <a:r>
                  <a:rPr lang="tr-TR" altLang="tr-TR" sz="1200">
                    <a:solidFill>
                      <a:srgbClr val="083E6B"/>
                    </a:solidFill>
                    <a:latin typeface="Open Sans" panose="020B0606030504020204" pitchFamily="34" charset="0"/>
                    <a:cs typeface="Open Sans" panose="020B0606030504020204" pitchFamily="34" charset="0"/>
                  </a:rPr>
                  <a:t>Satın Alma / Reklam</a:t>
                </a:r>
              </a:p>
            </p:txBody>
          </p:sp>
        </p:grpSp>
        <p:grpSp>
          <p:nvGrpSpPr>
            <p:cNvPr id="30787" name="Grup 113">
              <a:extLst>
                <a:ext uri="{FF2B5EF4-FFF2-40B4-BE49-F238E27FC236}">
                  <a16:creationId xmlns:a16="http://schemas.microsoft.com/office/drawing/2014/main" id="{1972C7C1-3D10-D6C9-793E-65AB5ABCA396}"/>
                </a:ext>
              </a:extLst>
            </p:cNvPr>
            <p:cNvGrpSpPr>
              <a:grpSpLocks/>
            </p:cNvGrpSpPr>
            <p:nvPr/>
          </p:nvGrpSpPr>
          <p:grpSpPr bwMode="auto">
            <a:xfrm>
              <a:off x="9378891" y="4652846"/>
              <a:ext cx="1612841" cy="483805"/>
              <a:chOff x="5095765" y="5635365"/>
              <a:chExt cx="1359463" cy="287498"/>
            </a:xfrm>
          </p:grpSpPr>
          <p:sp>
            <p:nvSpPr>
              <p:cNvPr id="157" name="Dikdörtgen 156">
                <a:extLst>
                  <a:ext uri="{FF2B5EF4-FFF2-40B4-BE49-F238E27FC236}">
                    <a16:creationId xmlns:a16="http://schemas.microsoft.com/office/drawing/2014/main" id="{1A4C2C68-42EA-71B8-B984-0E442478E453}"/>
                  </a:ext>
                </a:extLst>
              </p:cNvPr>
              <p:cNvSpPr/>
              <p:nvPr/>
            </p:nvSpPr>
            <p:spPr>
              <a:xfrm>
                <a:off x="5095946" y="5635221"/>
                <a:ext cx="1359283" cy="287642"/>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8" name="Dikdörtgen 157">
                <a:extLst>
                  <a:ext uri="{FF2B5EF4-FFF2-40B4-BE49-F238E27FC236}">
                    <a16:creationId xmlns:a16="http://schemas.microsoft.com/office/drawing/2014/main" id="{34F3999E-5A5B-A80E-AF7B-FCDC7179ECAD}"/>
                  </a:ext>
                </a:extLst>
              </p:cNvPr>
              <p:cNvSpPr/>
              <p:nvPr/>
            </p:nvSpPr>
            <p:spPr>
              <a:xfrm>
                <a:off x="5128055" y="5676717"/>
                <a:ext cx="1238874" cy="216911"/>
              </a:xfrm>
              <a:prstGeom prst="rect">
                <a:avLst/>
              </a:prstGeom>
            </p:spPr>
            <p:style>
              <a:lnRef idx="0">
                <a:scrgbClr r="0" g="0" b="0"/>
              </a:lnRef>
              <a:fillRef idx="0">
                <a:scrgbClr r="0" g="0" b="0"/>
              </a:fillRef>
              <a:effectRef idx="0">
                <a:scrgbClr r="0" g="0" b="0"/>
              </a:effectRef>
              <a:fontRef idx="minor">
                <a:schemeClr val="lt1"/>
              </a:fontRef>
            </p:style>
            <p:txBody>
              <a:bodyPr lIns="6350" tIns="6350" rIns="6350" bIns="6350" anchor="ctr"/>
              <a:lstStyle>
                <a:lvl1pPr defTabSz="444500">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defTabSz="44450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defTabSz="4445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defTabSz="4445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defTabSz="4445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defTabSz="4445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defTabSz="4445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defTabSz="4445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defTabSz="4445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eaLnBrk="1" hangingPunct="1">
                  <a:spcBef>
                    <a:spcPct val="0"/>
                  </a:spcBef>
                  <a:spcAft>
                    <a:spcPct val="35000"/>
                  </a:spcAft>
                  <a:buFontTx/>
                  <a:buNone/>
                </a:pPr>
                <a:r>
                  <a:rPr lang="tr-TR" altLang="tr-TR" sz="1200">
                    <a:solidFill>
                      <a:srgbClr val="083E6B"/>
                    </a:solidFill>
                    <a:latin typeface="Open Sans" panose="020B0606030504020204" pitchFamily="34" charset="0"/>
                    <a:cs typeface="Open Sans" panose="020B0606030504020204" pitchFamily="34" charset="0"/>
                  </a:rPr>
                  <a:t>Bilgi İşlem </a:t>
                </a:r>
              </a:p>
            </p:txBody>
          </p:sp>
        </p:grpSp>
      </p:grpSp>
      <p:cxnSp>
        <p:nvCxnSpPr>
          <p:cNvPr id="163" name="Düz Ok Bağlayıcısı 162">
            <a:extLst>
              <a:ext uri="{FF2B5EF4-FFF2-40B4-BE49-F238E27FC236}">
                <a16:creationId xmlns:a16="http://schemas.microsoft.com/office/drawing/2014/main" id="{20B32FE5-7BAB-A7E6-6675-2EF8049196D0}"/>
              </a:ext>
            </a:extLst>
          </p:cNvPr>
          <p:cNvCxnSpPr>
            <a:cxnSpLocks/>
          </p:cNvCxnSpPr>
          <p:nvPr/>
        </p:nvCxnSpPr>
        <p:spPr>
          <a:xfrm>
            <a:off x="7326313" y="3079750"/>
            <a:ext cx="0" cy="41116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65" name="Düz Ok Bağlayıcısı 164">
            <a:extLst>
              <a:ext uri="{FF2B5EF4-FFF2-40B4-BE49-F238E27FC236}">
                <a16:creationId xmlns:a16="http://schemas.microsoft.com/office/drawing/2014/main" id="{4F3194D7-CA0E-6AA6-A7FF-265B47ABCF2E}"/>
              </a:ext>
            </a:extLst>
          </p:cNvPr>
          <p:cNvCxnSpPr>
            <a:cxnSpLocks/>
          </p:cNvCxnSpPr>
          <p:nvPr/>
        </p:nvCxnSpPr>
        <p:spPr>
          <a:xfrm>
            <a:off x="10194925" y="1595438"/>
            <a:ext cx="0" cy="53498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nvGrpSpPr>
          <p:cNvPr id="30734" name="Grup 28721">
            <a:extLst>
              <a:ext uri="{FF2B5EF4-FFF2-40B4-BE49-F238E27FC236}">
                <a16:creationId xmlns:a16="http://schemas.microsoft.com/office/drawing/2014/main" id="{3222B433-103E-2498-6B83-A072C72DC297}"/>
              </a:ext>
            </a:extLst>
          </p:cNvPr>
          <p:cNvGrpSpPr>
            <a:grpSpLocks/>
          </p:cNvGrpSpPr>
          <p:nvPr/>
        </p:nvGrpSpPr>
        <p:grpSpPr bwMode="auto">
          <a:xfrm>
            <a:off x="1735138" y="1154113"/>
            <a:ext cx="8450262" cy="1866900"/>
            <a:chOff x="1735581" y="1153471"/>
            <a:chExt cx="8449730" cy="1867190"/>
          </a:xfrm>
        </p:grpSpPr>
        <p:cxnSp>
          <p:nvCxnSpPr>
            <p:cNvPr id="18" name="Düz Ok Bağlayıcısı 17">
              <a:extLst>
                <a:ext uri="{FF2B5EF4-FFF2-40B4-BE49-F238E27FC236}">
                  <a16:creationId xmlns:a16="http://schemas.microsoft.com/office/drawing/2014/main" id="{52620C71-5542-1FA2-AFBD-05B5D8317AFD}"/>
                </a:ext>
              </a:extLst>
            </p:cNvPr>
            <p:cNvCxnSpPr>
              <a:cxnSpLocks/>
            </p:cNvCxnSpPr>
            <p:nvPr/>
          </p:nvCxnSpPr>
          <p:spPr>
            <a:xfrm>
              <a:off x="6767639" y="2609434"/>
              <a:ext cx="0" cy="41122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61" name="Düz Ok Bağlayıcısı 160">
              <a:extLst>
                <a:ext uri="{FF2B5EF4-FFF2-40B4-BE49-F238E27FC236}">
                  <a16:creationId xmlns:a16="http://schemas.microsoft.com/office/drawing/2014/main" id="{EAF26738-9284-51E5-6E82-58408139F958}"/>
                </a:ext>
              </a:extLst>
            </p:cNvPr>
            <p:cNvCxnSpPr>
              <a:cxnSpLocks/>
            </p:cNvCxnSpPr>
            <p:nvPr/>
          </p:nvCxnSpPr>
          <p:spPr>
            <a:xfrm>
              <a:off x="5096106" y="1609154"/>
              <a:ext cx="0" cy="52078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62" name="Düz Ok Bağlayıcısı 161">
              <a:extLst>
                <a:ext uri="{FF2B5EF4-FFF2-40B4-BE49-F238E27FC236}">
                  <a16:creationId xmlns:a16="http://schemas.microsoft.com/office/drawing/2014/main" id="{15FD0321-4CD5-D733-61F7-CDDA4BF3C505}"/>
                </a:ext>
              </a:extLst>
            </p:cNvPr>
            <p:cNvCxnSpPr>
              <a:cxnSpLocks/>
              <a:endCxn id="109" idx="0"/>
            </p:cNvCxnSpPr>
            <p:nvPr/>
          </p:nvCxnSpPr>
          <p:spPr>
            <a:xfrm>
              <a:off x="6753352" y="1588514"/>
              <a:ext cx="3175" cy="53665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64" name="Düz Ok Bağlayıcısı 163">
              <a:extLst>
                <a:ext uri="{FF2B5EF4-FFF2-40B4-BE49-F238E27FC236}">
                  <a16:creationId xmlns:a16="http://schemas.microsoft.com/office/drawing/2014/main" id="{91C3783D-235D-BDA2-AE54-AC937F73C5E1}"/>
                </a:ext>
              </a:extLst>
            </p:cNvPr>
            <p:cNvCxnSpPr>
              <a:cxnSpLocks/>
            </p:cNvCxnSpPr>
            <p:nvPr/>
          </p:nvCxnSpPr>
          <p:spPr>
            <a:xfrm>
              <a:off x="8443934" y="1615505"/>
              <a:ext cx="0" cy="50807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66" name="Düz Bağlayıcı 165">
              <a:extLst>
                <a:ext uri="{FF2B5EF4-FFF2-40B4-BE49-F238E27FC236}">
                  <a16:creationId xmlns:a16="http://schemas.microsoft.com/office/drawing/2014/main" id="{C9E73D5D-92F6-18EB-910F-DA7FF9F0E4C3}"/>
                </a:ext>
              </a:extLst>
            </p:cNvPr>
            <p:cNvCxnSpPr>
              <a:cxnSpLocks/>
            </p:cNvCxnSpPr>
            <p:nvPr/>
          </p:nvCxnSpPr>
          <p:spPr bwMode="auto">
            <a:xfrm>
              <a:off x="1735581" y="1590101"/>
              <a:ext cx="8449730" cy="1905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8" name="Düz Ok Bağlayıcısı 167">
              <a:extLst>
                <a:ext uri="{FF2B5EF4-FFF2-40B4-BE49-F238E27FC236}">
                  <a16:creationId xmlns:a16="http://schemas.microsoft.com/office/drawing/2014/main" id="{2CDFC344-C99E-13B4-90B3-1DDD53D16B6C}"/>
                </a:ext>
              </a:extLst>
            </p:cNvPr>
            <p:cNvCxnSpPr>
              <a:cxnSpLocks/>
            </p:cNvCxnSpPr>
            <p:nvPr/>
          </p:nvCxnSpPr>
          <p:spPr>
            <a:xfrm>
              <a:off x="3416637" y="1582163"/>
              <a:ext cx="0" cy="54142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69" name="Düz Ok Bağlayıcısı 168">
              <a:extLst>
                <a:ext uri="{FF2B5EF4-FFF2-40B4-BE49-F238E27FC236}">
                  <a16:creationId xmlns:a16="http://schemas.microsoft.com/office/drawing/2014/main" id="{21844BA1-AEF4-9C7F-78BD-7F9C59E52F0B}"/>
                </a:ext>
              </a:extLst>
            </p:cNvPr>
            <p:cNvCxnSpPr>
              <a:cxnSpLocks/>
            </p:cNvCxnSpPr>
            <p:nvPr/>
          </p:nvCxnSpPr>
          <p:spPr>
            <a:xfrm>
              <a:off x="1735581" y="1590101"/>
              <a:ext cx="0" cy="54142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70" name="Düz Ok Bağlayıcısı 169">
              <a:extLst>
                <a:ext uri="{FF2B5EF4-FFF2-40B4-BE49-F238E27FC236}">
                  <a16:creationId xmlns:a16="http://schemas.microsoft.com/office/drawing/2014/main" id="{5F64977D-EB99-DCCC-D9A1-069771948C77}"/>
                </a:ext>
              </a:extLst>
            </p:cNvPr>
            <p:cNvCxnSpPr>
              <a:cxnSpLocks/>
            </p:cNvCxnSpPr>
            <p:nvPr/>
          </p:nvCxnSpPr>
          <p:spPr>
            <a:xfrm>
              <a:off x="5916793" y="1153471"/>
              <a:ext cx="0" cy="45568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grpSp>
        <p:nvGrpSpPr>
          <p:cNvPr id="30735" name="Grup 28722">
            <a:extLst>
              <a:ext uri="{FF2B5EF4-FFF2-40B4-BE49-F238E27FC236}">
                <a16:creationId xmlns:a16="http://schemas.microsoft.com/office/drawing/2014/main" id="{E2285D27-313F-4600-9670-279E1FA23968}"/>
              </a:ext>
            </a:extLst>
          </p:cNvPr>
          <p:cNvGrpSpPr>
            <a:grpSpLocks/>
          </p:cNvGrpSpPr>
          <p:nvPr/>
        </p:nvGrpSpPr>
        <p:grpSpPr bwMode="auto">
          <a:xfrm>
            <a:off x="995363" y="2081213"/>
            <a:ext cx="9982200" cy="566737"/>
            <a:chOff x="996156" y="2081919"/>
            <a:chExt cx="9981194" cy="565641"/>
          </a:xfrm>
        </p:grpSpPr>
        <p:grpSp>
          <p:nvGrpSpPr>
            <p:cNvPr id="30764" name="Grup 101">
              <a:extLst>
                <a:ext uri="{FF2B5EF4-FFF2-40B4-BE49-F238E27FC236}">
                  <a16:creationId xmlns:a16="http://schemas.microsoft.com/office/drawing/2014/main" id="{DA23CAC0-22E6-EDEF-B8EC-78F11E684373}"/>
                </a:ext>
              </a:extLst>
            </p:cNvPr>
            <p:cNvGrpSpPr>
              <a:grpSpLocks/>
            </p:cNvGrpSpPr>
            <p:nvPr/>
          </p:nvGrpSpPr>
          <p:grpSpPr bwMode="auto">
            <a:xfrm>
              <a:off x="996156" y="2135510"/>
              <a:ext cx="1513985" cy="490216"/>
              <a:chOff x="1387309" y="2839774"/>
              <a:chExt cx="1274214" cy="643788"/>
            </a:xfrm>
          </p:grpSpPr>
          <p:sp>
            <p:nvSpPr>
              <p:cNvPr id="148" name="Dikdörtgen 147">
                <a:extLst>
                  <a:ext uri="{FF2B5EF4-FFF2-40B4-BE49-F238E27FC236}">
                    <a16:creationId xmlns:a16="http://schemas.microsoft.com/office/drawing/2014/main" id="{99D486FC-A7CF-2DA6-2C6D-EC7AF3AA6A99}"/>
                  </a:ext>
                </a:extLst>
              </p:cNvPr>
              <p:cNvSpPr/>
              <p:nvPr/>
            </p:nvSpPr>
            <p:spPr>
              <a:xfrm>
                <a:off x="1387309" y="2840141"/>
                <a:ext cx="1245107" cy="601348"/>
              </a:xfrm>
              <a:prstGeom prst="rect">
                <a:avLst/>
              </a:prstGeom>
              <a:solidFill>
                <a:schemeClr val="accent3">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lvl1pPr>
                  <a:defRPr>
                    <a:solidFill>
                      <a:schemeClr val="tx1"/>
                    </a:solidFill>
                    <a:latin typeface="Lato Light" panose="020F0502020204030203" pitchFamily="34" charset="0"/>
                  </a:defRPr>
                </a:lvl1pPr>
                <a:lvl2pPr marL="742950" indent="-285750">
                  <a:defRPr>
                    <a:solidFill>
                      <a:schemeClr val="tx1"/>
                    </a:solidFill>
                    <a:latin typeface="Lato Light" panose="020F0502020204030203" pitchFamily="34" charset="0"/>
                  </a:defRPr>
                </a:lvl2pPr>
                <a:lvl3pPr marL="1143000" indent="-228600">
                  <a:defRPr>
                    <a:solidFill>
                      <a:schemeClr val="tx1"/>
                    </a:solidFill>
                    <a:latin typeface="Lato Light" panose="020F0502020204030203" pitchFamily="34" charset="0"/>
                  </a:defRPr>
                </a:lvl3pPr>
                <a:lvl4pPr marL="1600200" indent="-228600">
                  <a:defRPr>
                    <a:solidFill>
                      <a:schemeClr val="tx1"/>
                    </a:solidFill>
                    <a:latin typeface="Lato Light" panose="020F0502020204030203" pitchFamily="34" charset="0"/>
                  </a:defRPr>
                </a:lvl4pPr>
                <a:lvl5pPr marL="2057400" indent="-228600">
                  <a:defRPr>
                    <a:solidFill>
                      <a:schemeClr val="tx1"/>
                    </a:solidFill>
                    <a:latin typeface="Lato Light" panose="020F0502020204030203" pitchFamily="34" charset="0"/>
                  </a:defRPr>
                </a:lvl5pPr>
                <a:lvl6pPr marL="2514600" indent="-228600" eaLnBrk="0" fontAlgn="base" hangingPunct="0">
                  <a:spcBef>
                    <a:spcPct val="0"/>
                  </a:spcBef>
                  <a:spcAft>
                    <a:spcPct val="0"/>
                  </a:spcAft>
                  <a:defRPr>
                    <a:solidFill>
                      <a:schemeClr val="tx1"/>
                    </a:solidFill>
                    <a:latin typeface="Lato Light" panose="020F0502020204030203" pitchFamily="34" charset="0"/>
                  </a:defRPr>
                </a:lvl6pPr>
                <a:lvl7pPr marL="2971800" indent="-228600" eaLnBrk="0" fontAlgn="base" hangingPunct="0">
                  <a:spcBef>
                    <a:spcPct val="0"/>
                  </a:spcBef>
                  <a:spcAft>
                    <a:spcPct val="0"/>
                  </a:spcAft>
                  <a:defRPr>
                    <a:solidFill>
                      <a:schemeClr val="tx1"/>
                    </a:solidFill>
                    <a:latin typeface="Lato Light" panose="020F0502020204030203" pitchFamily="34" charset="0"/>
                  </a:defRPr>
                </a:lvl7pPr>
                <a:lvl8pPr marL="3429000" indent="-228600" eaLnBrk="0" fontAlgn="base" hangingPunct="0">
                  <a:spcBef>
                    <a:spcPct val="0"/>
                  </a:spcBef>
                  <a:spcAft>
                    <a:spcPct val="0"/>
                  </a:spcAft>
                  <a:defRPr>
                    <a:solidFill>
                      <a:schemeClr val="tx1"/>
                    </a:solidFill>
                    <a:latin typeface="Lato Light" panose="020F0502020204030203" pitchFamily="34" charset="0"/>
                  </a:defRPr>
                </a:lvl8pPr>
                <a:lvl9pPr marL="3886200" indent="-228600" eaLnBrk="0" fontAlgn="base" hangingPunct="0">
                  <a:spcBef>
                    <a:spcPct val="0"/>
                  </a:spcBef>
                  <a:spcAft>
                    <a:spcPct val="0"/>
                  </a:spcAft>
                  <a:defRPr>
                    <a:solidFill>
                      <a:schemeClr val="tx1"/>
                    </a:solidFill>
                    <a:latin typeface="Lato Light" panose="020F0502020204030203" pitchFamily="34" charset="0"/>
                  </a:defRPr>
                </a:lvl9pPr>
              </a:lstStyle>
              <a:p>
                <a:pPr algn="ctr">
                  <a:defRPr/>
                </a:pPr>
                <a:r>
                  <a:rPr lang="tr-TR" altLang="tr-TR" sz="1200" b="1">
                    <a:solidFill>
                      <a:srgbClr val="FFFFFF"/>
                    </a:solidFill>
                    <a:latin typeface="Open Sans" panose="020B0606030504020204" pitchFamily="34" charset="0"/>
                    <a:cs typeface="Open Sans" panose="020B0606030504020204" pitchFamily="34" charset="0"/>
                  </a:rPr>
                  <a:t>Süreç Takip Müdürlüğü</a:t>
                </a:r>
              </a:p>
              <a:p>
                <a:pPr>
                  <a:defRPr/>
                </a:pPr>
                <a:endParaRPr lang="tr-TR" altLang="tr-TR">
                  <a:solidFill>
                    <a:srgbClr val="FFFFFF"/>
                  </a:solidFill>
                </a:endParaRPr>
              </a:p>
            </p:txBody>
          </p:sp>
          <p:sp>
            <p:nvSpPr>
              <p:cNvPr id="149" name="Dikdörtgen 148">
                <a:extLst>
                  <a:ext uri="{FF2B5EF4-FFF2-40B4-BE49-F238E27FC236}">
                    <a16:creationId xmlns:a16="http://schemas.microsoft.com/office/drawing/2014/main" id="{350BFBEA-C109-806B-A5D3-AAA85F404DB8}"/>
                  </a:ext>
                </a:extLst>
              </p:cNvPr>
              <p:cNvSpPr/>
              <p:nvPr/>
            </p:nvSpPr>
            <p:spPr>
              <a:xfrm>
                <a:off x="1416700" y="2881757"/>
                <a:ext cx="1245107" cy="601348"/>
              </a:xfrm>
              <a:prstGeom prst="rect">
                <a:avLst/>
              </a:prstGeom>
            </p:spPr>
            <p:style>
              <a:lnRef idx="0">
                <a:scrgbClr r="0" g="0" b="0"/>
              </a:lnRef>
              <a:fillRef idx="0">
                <a:scrgbClr r="0" g="0" b="0"/>
              </a:fillRef>
              <a:effectRef idx="0">
                <a:scrgbClr r="0" g="0" b="0"/>
              </a:effectRef>
              <a:fontRef idx="minor">
                <a:schemeClr val="lt1"/>
              </a:fontRef>
            </p:style>
            <p:txBody>
              <a:bodyPr lIns="7620" tIns="7620" rIns="7620" bIns="7620" spcCol="1270" anchor="ctr"/>
              <a:lstStyle/>
              <a:p>
                <a:pPr algn="ctr" defTabSz="533400" eaLnBrk="1" fontAlgn="auto" hangingPunct="1">
                  <a:lnSpc>
                    <a:spcPct val="90000"/>
                  </a:lnSpc>
                  <a:spcAft>
                    <a:spcPct val="35000"/>
                  </a:spcAft>
                  <a:defRPr/>
                </a:pPr>
                <a:endParaRPr lang="tr-TR" sz="1200" b="1">
                  <a:latin typeface="Open Sans" panose="020B0606030504020204" pitchFamily="34" charset="0"/>
                  <a:ea typeface="Open Sans" panose="020B0606030504020204" pitchFamily="34" charset="0"/>
                  <a:cs typeface="Open Sans" panose="020B0606030504020204" pitchFamily="34" charset="0"/>
                </a:endParaRPr>
              </a:p>
            </p:txBody>
          </p:sp>
        </p:grpSp>
        <p:sp>
          <p:nvSpPr>
            <p:cNvPr id="100" name="Dikdörtgen 99">
              <a:extLst>
                <a:ext uri="{FF2B5EF4-FFF2-40B4-BE49-F238E27FC236}">
                  <a16:creationId xmlns:a16="http://schemas.microsoft.com/office/drawing/2014/main" id="{43B5514C-6034-1D45-ABD9-281B559F04C0}"/>
                </a:ext>
              </a:extLst>
            </p:cNvPr>
            <p:cNvSpPr/>
            <p:nvPr/>
          </p:nvSpPr>
          <p:spPr bwMode="auto">
            <a:xfrm>
              <a:off x="4342269" y="2123114"/>
              <a:ext cx="1473052" cy="486420"/>
            </a:xfrm>
            <a:prstGeom prst="rect">
              <a:avLst/>
            </a:prstGeom>
            <a:solidFill>
              <a:schemeClr val="accent3">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lvl1pPr>
                <a:lnSpc>
                  <a:spcPct val="90000"/>
                </a:lnSpc>
                <a:spcBef>
                  <a:spcPts val="1000"/>
                </a:spcBef>
                <a:buFont typeface="Arial" panose="020B0604020202020204" pitchFamily="34" charset="0"/>
                <a:buChar char="•"/>
                <a:defRPr sz="2800">
                  <a:solidFill>
                    <a:schemeClr val="tx1"/>
                  </a:solidFill>
                  <a:latin typeface="Lato Light" panose="020F0502020204030203"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anose="020F0502020204030203"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anose="020F0502020204030203"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anose="020F0502020204030203"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anose="020F0502020204030203" pitchFamily="34" charset="0"/>
                </a:defRPr>
              </a:lvl9pPr>
            </a:lstStyle>
            <a:p>
              <a:pPr algn="ctr">
                <a:lnSpc>
                  <a:spcPct val="100000"/>
                </a:lnSpc>
                <a:spcBef>
                  <a:spcPct val="0"/>
                </a:spcBef>
                <a:buFontTx/>
                <a:buNone/>
              </a:pPr>
              <a:r>
                <a:rPr lang="tr-TR" altLang="tr-TR" sz="1200" b="1">
                  <a:solidFill>
                    <a:srgbClr val="FFFFFF"/>
                  </a:solidFill>
                  <a:latin typeface="Open Sans" panose="020B0606030504020204" pitchFamily="34" charset="0"/>
                  <a:cs typeface="Open Sans" panose="020B0606030504020204" pitchFamily="34" charset="0"/>
                </a:rPr>
                <a:t>İş Geliştirme Müdürlüğü</a:t>
              </a:r>
            </a:p>
            <a:p>
              <a:pPr algn="ctr">
                <a:lnSpc>
                  <a:spcPct val="100000"/>
                </a:lnSpc>
                <a:spcBef>
                  <a:spcPct val="0"/>
                </a:spcBef>
                <a:buFontTx/>
                <a:buNone/>
              </a:pPr>
              <a:endParaRPr lang="tr-TR" altLang="tr-TR" sz="1800">
                <a:solidFill>
                  <a:srgbClr val="FFFFFF"/>
                </a:solidFill>
              </a:endParaRPr>
            </a:p>
          </p:txBody>
        </p:sp>
        <p:grpSp>
          <p:nvGrpSpPr>
            <p:cNvPr id="30766" name="Grup 101">
              <a:extLst>
                <a:ext uri="{FF2B5EF4-FFF2-40B4-BE49-F238E27FC236}">
                  <a16:creationId xmlns:a16="http://schemas.microsoft.com/office/drawing/2014/main" id="{EB08DAB5-D25E-0AA2-1F0C-E8FC027C5FC5}"/>
                </a:ext>
              </a:extLst>
            </p:cNvPr>
            <p:cNvGrpSpPr>
              <a:grpSpLocks/>
            </p:cNvGrpSpPr>
            <p:nvPr/>
          </p:nvGrpSpPr>
          <p:grpSpPr bwMode="auto">
            <a:xfrm>
              <a:off x="7591669" y="2125814"/>
              <a:ext cx="1615121" cy="521746"/>
              <a:chOff x="1416879" y="2857486"/>
              <a:chExt cx="1316867" cy="626076"/>
            </a:xfrm>
          </p:grpSpPr>
          <p:sp>
            <p:nvSpPr>
              <p:cNvPr id="103" name="Dikdörtgen 102">
                <a:extLst>
                  <a:ext uri="{FF2B5EF4-FFF2-40B4-BE49-F238E27FC236}">
                    <a16:creationId xmlns:a16="http://schemas.microsoft.com/office/drawing/2014/main" id="{0EF5A479-91DB-E590-37EF-FE4C987EE5BD}"/>
                  </a:ext>
                </a:extLst>
              </p:cNvPr>
              <p:cNvSpPr/>
              <p:nvPr/>
            </p:nvSpPr>
            <p:spPr>
              <a:xfrm>
                <a:off x="1489261" y="2858049"/>
                <a:ext cx="1245036" cy="579883"/>
              </a:xfrm>
              <a:prstGeom prst="rect">
                <a:avLst/>
              </a:prstGeom>
              <a:solidFill>
                <a:schemeClr val="accent3">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lvl1pPr>
                  <a:defRPr>
                    <a:solidFill>
                      <a:schemeClr val="tx1"/>
                    </a:solidFill>
                    <a:latin typeface="Lato Light" panose="020F0502020204030203" pitchFamily="34" charset="0"/>
                  </a:defRPr>
                </a:lvl1pPr>
                <a:lvl2pPr marL="742950" indent="-285750">
                  <a:defRPr>
                    <a:solidFill>
                      <a:schemeClr val="tx1"/>
                    </a:solidFill>
                    <a:latin typeface="Lato Light" panose="020F0502020204030203" pitchFamily="34" charset="0"/>
                  </a:defRPr>
                </a:lvl2pPr>
                <a:lvl3pPr marL="1143000" indent="-228600">
                  <a:defRPr>
                    <a:solidFill>
                      <a:schemeClr val="tx1"/>
                    </a:solidFill>
                    <a:latin typeface="Lato Light" panose="020F0502020204030203" pitchFamily="34" charset="0"/>
                  </a:defRPr>
                </a:lvl3pPr>
                <a:lvl4pPr marL="1600200" indent="-228600">
                  <a:defRPr>
                    <a:solidFill>
                      <a:schemeClr val="tx1"/>
                    </a:solidFill>
                    <a:latin typeface="Lato Light" panose="020F0502020204030203" pitchFamily="34" charset="0"/>
                  </a:defRPr>
                </a:lvl4pPr>
                <a:lvl5pPr marL="2057400" indent="-228600">
                  <a:defRPr>
                    <a:solidFill>
                      <a:schemeClr val="tx1"/>
                    </a:solidFill>
                    <a:latin typeface="Lato Light" panose="020F0502020204030203" pitchFamily="34" charset="0"/>
                  </a:defRPr>
                </a:lvl5pPr>
                <a:lvl6pPr marL="2514600" indent="-228600" eaLnBrk="0" fontAlgn="base" hangingPunct="0">
                  <a:spcBef>
                    <a:spcPct val="0"/>
                  </a:spcBef>
                  <a:spcAft>
                    <a:spcPct val="0"/>
                  </a:spcAft>
                  <a:defRPr>
                    <a:solidFill>
                      <a:schemeClr val="tx1"/>
                    </a:solidFill>
                    <a:latin typeface="Lato Light" panose="020F0502020204030203" pitchFamily="34" charset="0"/>
                  </a:defRPr>
                </a:lvl6pPr>
                <a:lvl7pPr marL="2971800" indent="-228600" eaLnBrk="0" fontAlgn="base" hangingPunct="0">
                  <a:spcBef>
                    <a:spcPct val="0"/>
                  </a:spcBef>
                  <a:spcAft>
                    <a:spcPct val="0"/>
                  </a:spcAft>
                  <a:defRPr>
                    <a:solidFill>
                      <a:schemeClr val="tx1"/>
                    </a:solidFill>
                    <a:latin typeface="Lato Light" panose="020F0502020204030203" pitchFamily="34" charset="0"/>
                  </a:defRPr>
                </a:lvl7pPr>
                <a:lvl8pPr marL="3429000" indent="-228600" eaLnBrk="0" fontAlgn="base" hangingPunct="0">
                  <a:spcBef>
                    <a:spcPct val="0"/>
                  </a:spcBef>
                  <a:spcAft>
                    <a:spcPct val="0"/>
                  </a:spcAft>
                  <a:defRPr>
                    <a:solidFill>
                      <a:schemeClr val="tx1"/>
                    </a:solidFill>
                    <a:latin typeface="Lato Light" panose="020F0502020204030203" pitchFamily="34" charset="0"/>
                  </a:defRPr>
                </a:lvl8pPr>
                <a:lvl9pPr marL="3886200" indent="-228600" eaLnBrk="0" fontAlgn="base" hangingPunct="0">
                  <a:spcBef>
                    <a:spcPct val="0"/>
                  </a:spcBef>
                  <a:spcAft>
                    <a:spcPct val="0"/>
                  </a:spcAft>
                  <a:defRPr>
                    <a:solidFill>
                      <a:schemeClr val="tx1"/>
                    </a:solidFill>
                    <a:latin typeface="Lato Light" panose="020F0502020204030203" pitchFamily="34" charset="0"/>
                  </a:defRPr>
                </a:lvl9pPr>
              </a:lstStyle>
              <a:p>
                <a:pPr algn="ctr">
                  <a:defRPr/>
                </a:pPr>
                <a:r>
                  <a:rPr lang="tr-TR" altLang="tr-TR" sz="1200" b="1">
                    <a:solidFill>
                      <a:srgbClr val="FFFFFF"/>
                    </a:solidFill>
                    <a:latin typeface="Open Sans" panose="020B0606030504020204" pitchFamily="34" charset="0"/>
                    <a:cs typeface="Open Sans" panose="020B0606030504020204" pitchFamily="34" charset="0"/>
                  </a:rPr>
                  <a:t>Pazarlama Koordinatörlüğü</a:t>
                </a:r>
              </a:p>
              <a:p>
                <a:pPr algn="ctr">
                  <a:defRPr/>
                </a:pPr>
                <a:endParaRPr lang="tr-TR" altLang="tr-TR">
                  <a:solidFill>
                    <a:srgbClr val="FFFFFF"/>
                  </a:solidFill>
                </a:endParaRPr>
              </a:p>
            </p:txBody>
          </p:sp>
          <p:sp>
            <p:nvSpPr>
              <p:cNvPr id="104" name="Dikdörtgen 103">
                <a:extLst>
                  <a:ext uri="{FF2B5EF4-FFF2-40B4-BE49-F238E27FC236}">
                    <a16:creationId xmlns:a16="http://schemas.microsoft.com/office/drawing/2014/main" id="{E3368DC8-B72E-5E56-0B51-4460E420DAF5}"/>
                  </a:ext>
                </a:extLst>
              </p:cNvPr>
              <p:cNvSpPr/>
              <p:nvPr/>
            </p:nvSpPr>
            <p:spPr>
              <a:xfrm>
                <a:off x="1416784" y="2882765"/>
                <a:ext cx="1245036" cy="600797"/>
              </a:xfrm>
              <a:prstGeom prst="rect">
                <a:avLst/>
              </a:prstGeom>
            </p:spPr>
            <p:style>
              <a:lnRef idx="0">
                <a:scrgbClr r="0" g="0" b="0"/>
              </a:lnRef>
              <a:fillRef idx="0">
                <a:scrgbClr r="0" g="0" b="0"/>
              </a:fillRef>
              <a:effectRef idx="0">
                <a:scrgbClr r="0" g="0" b="0"/>
              </a:effectRef>
              <a:fontRef idx="minor">
                <a:schemeClr val="lt1"/>
              </a:fontRef>
            </p:style>
            <p:txBody>
              <a:bodyPr lIns="7620" tIns="7620" rIns="7620" bIns="7620" spcCol="1270" anchor="ctr"/>
              <a:lstStyle/>
              <a:p>
                <a:pPr algn="ctr" defTabSz="533400" eaLnBrk="1" fontAlgn="auto" hangingPunct="1">
                  <a:lnSpc>
                    <a:spcPct val="90000"/>
                  </a:lnSpc>
                  <a:spcAft>
                    <a:spcPct val="35000"/>
                  </a:spcAft>
                  <a:defRPr/>
                </a:pPr>
                <a:endParaRPr lang="tr-TR" sz="1200" b="1">
                  <a:latin typeface="Open Sans" panose="020B0606030504020204" pitchFamily="34" charset="0"/>
                  <a:ea typeface="Open Sans" panose="020B0606030504020204" pitchFamily="34" charset="0"/>
                  <a:cs typeface="Open Sans" panose="020B0606030504020204" pitchFamily="34" charset="0"/>
                </a:endParaRPr>
              </a:p>
            </p:txBody>
          </p:sp>
        </p:grpSp>
        <p:sp>
          <p:nvSpPr>
            <p:cNvPr id="107" name="Dikdörtgen 106">
              <a:extLst>
                <a:ext uri="{FF2B5EF4-FFF2-40B4-BE49-F238E27FC236}">
                  <a16:creationId xmlns:a16="http://schemas.microsoft.com/office/drawing/2014/main" id="{193FCFED-AF17-E44A-414C-FF3142913F26}"/>
                </a:ext>
              </a:extLst>
            </p:cNvPr>
            <p:cNvSpPr/>
            <p:nvPr/>
          </p:nvSpPr>
          <p:spPr bwMode="auto">
            <a:xfrm>
              <a:off x="9390010" y="2138958"/>
              <a:ext cx="1587340" cy="449978"/>
            </a:xfrm>
            <a:prstGeom prst="rect">
              <a:avLst/>
            </a:prstGeom>
            <a:solidFill>
              <a:schemeClr val="accent3">
                <a:lumMod val="75000"/>
              </a:schemeClr>
            </a:solidFill>
          </p:spPr>
          <p:style>
            <a:lnRef idx="0">
              <a:scrgbClr r="0" g="0" b="0"/>
            </a:lnRef>
            <a:fillRef idx="0">
              <a:scrgbClr r="0" g="0" b="0"/>
            </a:fillRef>
            <a:effectRef idx="0">
              <a:scrgbClr r="0" g="0" b="0"/>
            </a:effectRef>
            <a:fontRef idx="minor">
              <a:schemeClr val="lt1"/>
            </a:fontRef>
          </p:style>
          <p:txBody>
            <a:bodyPr lIns="7620" tIns="7620" rIns="7620" bIns="7620" spcCol="1270" anchor="ctr"/>
            <a:lstStyle/>
            <a:p>
              <a:pPr algn="ctr" defTabSz="533400" eaLnBrk="1" fontAlgn="auto" hangingPunct="1">
                <a:lnSpc>
                  <a:spcPct val="90000"/>
                </a:lnSpc>
                <a:spcAft>
                  <a:spcPct val="35000"/>
                </a:spcAft>
                <a:defRPr/>
              </a:pPr>
              <a:r>
                <a:rPr lang="tr-TR" sz="1200" b="1">
                  <a:latin typeface="Open Sans" panose="020B0606030504020204" pitchFamily="34" charset="0"/>
                  <a:ea typeface="Open Sans" panose="020B0606030504020204" pitchFamily="34" charset="0"/>
                  <a:cs typeface="Open Sans" panose="020B0606030504020204" pitchFamily="34" charset="0"/>
                </a:rPr>
                <a:t>Muhasebe</a:t>
              </a:r>
            </a:p>
          </p:txBody>
        </p:sp>
        <p:grpSp>
          <p:nvGrpSpPr>
            <p:cNvPr id="30768" name="Grup 107">
              <a:extLst>
                <a:ext uri="{FF2B5EF4-FFF2-40B4-BE49-F238E27FC236}">
                  <a16:creationId xmlns:a16="http://schemas.microsoft.com/office/drawing/2014/main" id="{6E065B84-8136-A53C-3689-4D107B0F5D27}"/>
                </a:ext>
              </a:extLst>
            </p:cNvPr>
            <p:cNvGrpSpPr>
              <a:grpSpLocks/>
            </p:cNvGrpSpPr>
            <p:nvPr/>
          </p:nvGrpSpPr>
          <p:grpSpPr bwMode="auto">
            <a:xfrm>
              <a:off x="5958244" y="2081919"/>
              <a:ext cx="1562101" cy="530147"/>
              <a:chOff x="1416879" y="2881444"/>
              <a:chExt cx="1272968" cy="614721"/>
            </a:xfrm>
          </p:grpSpPr>
          <p:sp>
            <p:nvSpPr>
              <p:cNvPr id="109" name="Dikdörtgen 108">
                <a:extLst>
                  <a:ext uri="{FF2B5EF4-FFF2-40B4-BE49-F238E27FC236}">
                    <a16:creationId xmlns:a16="http://schemas.microsoft.com/office/drawing/2014/main" id="{3739455E-B843-BD6E-BA8D-34CF3BC5B372}"/>
                  </a:ext>
                </a:extLst>
              </p:cNvPr>
              <p:cNvSpPr/>
              <p:nvPr/>
            </p:nvSpPr>
            <p:spPr>
              <a:xfrm>
                <a:off x="1445285" y="2932885"/>
                <a:ext cx="1244381" cy="564018"/>
              </a:xfrm>
              <a:prstGeom prst="rect">
                <a:avLst/>
              </a:prstGeom>
              <a:solidFill>
                <a:schemeClr val="accent3">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lgn="ctr">
                  <a:defRPr/>
                </a:pPr>
                <a:r>
                  <a:rPr lang="tr-TR" sz="1200" b="1">
                    <a:latin typeface="Open Sans" panose="020B0606030504020204" pitchFamily="34" charset="0"/>
                    <a:ea typeface="Open Sans" panose="020B0606030504020204" pitchFamily="34" charset="0"/>
                    <a:cs typeface="Open Sans" panose="020B0606030504020204" pitchFamily="34" charset="0"/>
                  </a:rPr>
                  <a:t>Bölge Müdürlükleri</a:t>
                </a:r>
              </a:p>
              <a:p>
                <a:pPr algn="ctr">
                  <a:defRPr/>
                </a:pPr>
                <a:endParaRPr lang="tr-TR"/>
              </a:p>
            </p:txBody>
          </p:sp>
          <p:sp>
            <p:nvSpPr>
              <p:cNvPr id="110" name="Dikdörtgen 109">
                <a:extLst>
                  <a:ext uri="{FF2B5EF4-FFF2-40B4-BE49-F238E27FC236}">
                    <a16:creationId xmlns:a16="http://schemas.microsoft.com/office/drawing/2014/main" id="{7C66B699-A9C8-695B-AD70-DC7CF6168296}"/>
                  </a:ext>
                </a:extLst>
              </p:cNvPr>
              <p:cNvSpPr/>
              <p:nvPr/>
            </p:nvSpPr>
            <p:spPr>
              <a:xfrm>
                <a:off x="1416828" y="2881444"/>
                <a:ext cx="1244381" cy="602600"/>
              </a:xfrm>
              <a:prstGeom prst="rect">
                <a:avLst/>
              </a:prstGeom>
            </p:spPr>
            <p:style>
              <a:lnRef idx="0">
                <a:scrgbClr r="0" g="0" b="0"/>
              </a:lnRef>
              <a:fillRef idx="0">
                <a:scrgbClr r="0" g="0" b="0"/>
              </a:fillRef>
              <a:effectRef idx="0">
                <a:scrgbClr r="0" g="0" b="0"/>
              </a:effectRef>
              <a:fontRef idx="minor">
                <a:schemeClr val="lt1"/>
              </a:fontRef>
            </p:style>
            <p:txBody>
              <a:bodyPr lIns="7620" tIns="7620" rIns="7620" bIns="7620" spcCol="1270" anchor="ctr"/>
              <a:lstStyle/>
              <a:p>
                <a:pPr algn="ctr" defTabSz="533400" eaLnBrk="1" fontAlgn="auto" hangingPunct="1">
                  <a:lnSpc>
                    <a:spcPct val="90000"/>
                  </a:lnSpc>
                  <a:spcAft>
                    <a:spcPct val="35000"/>
                  </a:spcAft>
                  <a:defRPr/>
                </a:pPr>
                <a:endParaRPr lang="tr-TR" sz="1200" b="1">
                  <a:latin typeface="Open Sans" panose="020B0606030504020204" pitchFamily="34" charset="0"/>
                  <a:ea typeface="Open Sans" panose="020B0606030504020204" pitchFamily="34" charset="0"/>
                  <a:cs typeface="Open Sans" panose="020B0606030504020204" pitchFamily="34" charset="0"/>
                </a:endParaRPr>
              </a:p>
            </p:txBody>
          </p:sp>
        </p:grpSp>
        <p:sp>
          <p:nvSpPr>
            <p:cNvPr id="172" name="Dikdörtgen 171">
              <a:extLst>
                <a:ext uri="{FF2B5EF4-FFF2-40B4-BE49-F238E27FC236}">
                  <a16:creationId xmlns:a16="http://schemas.microsoft.com/office/drawing/2014/main" id="{110AE859-6830-EC3E-9058-6A44ECA40B42}"/>
                </a:ext>
              </a:extLst>
            </p:cNvPr>
            <p:cNvSpPr/>
            <p:nvPr/>
          </p:nvSpPr>
          <p:spPr bwMode="auto">
            <a:xfrm>
              <a:off x="2691435" y="2145296"/>
              <a:ext cx="1450829" cy="440472"/>
            </a:xfrm>
            <a:prstGeom prst="rect">
              <a:avLst/>
            </a:prstGeom>
            <a:solidFill>
              <a:schemeClr val="accent3">
                <a:lumMod val="75000"/>
              </a:schemeClr>
            </a:solidFill>
          </p:spPr>
          <p:style>
            <a:lnRef idx="0">
              <a:scrgbClr r="0" g="0" b="0"/>
            </a:lnRef>
            <a:fillRef idx="0">
              <a:scrgbClr r="0" g="0" b="0"/>
            </a:fillRef>
            <a:effectRef idx="0">
              <a:scrgbClr r="0" g="0" b="0"/>
            </a:effectRef>
            <a:fontRef idx="minor">
              <a:schemeClr val="lt1"/>
            </a:fontRef>
          </p:style>
          <p:txBody>
            <a:bodyPr lIns="7620" tIns="7620" rIns="7620" bIns="7620" spcCol="1270" anchor="ctr"/>
            <a:lstStyle/>
            <a:p>
              <a:pPr algn="ctr" defTabSz="533400" eaLnBrk="1" fontAlgn="auto" hangingPunct="1">
                <a:lnSpc>
                  <a:spcPct val="90000"/>
                </a:lnSpc>
                <a:spcAft>
                  <a:spcPct val="35000"/>
                </a:spcAft>
                <a:defRPr/>
              </a:pPr>
              <a:r>
                <a:rPr lang="tr-TR" sz="1200" b="1">
                  <a:latin typeface="Open Sans" panose="020B0606030504020204" pitchFamily="34" charset="0"/>
                  <a:ea typeface="Open Sans" panose="020B0606030504020204" pitchFamily="34" charset="0"/>
                  <a:cs typeface="Open Sans" panose="020B0606030504020204" pitchFamily="34" charset="0"/>
                </a:rPr>
                <a:t>Teknik Müdür</a:t>
              </a:r>
            </a:p>
          </p:txBody>
        </p:sp>
      </p:grpSp>
      <p:grpSp>
        <p:nvGrpSpPr>
          <p:cNvPr id="30736" name="Grup 62">
            <a:extLst>
              <a:ext uri="{FF2B5EF4-FFF2-40B4-BE49-F238E27FC236}">
                <a16:creationId xmlns:a16="http://schemas.microsoft.com/office/drawing/2014/main" id="{B1A7830A-190C-CAF3-B90C-7275FC096ACA}"/>
              </a:ext>
            </a:extLst>
          </p:cNvPr>
          <p:cNvGrpSpPr>
            <a:grpSpLocks/>
          </p:cNvGrpSpPr>
          <p:nvPr/>
        </p:nvGrpSpPr>
        <p:grpSpPr bwMode="auto">
          <a:xfrm>
            <a:off x="685800" y="2363788"/>
            <a:ext cx="330200" cy="2166937"/>
            <a:chOff x="686281" y="2364293"/>
            <a:chExt cx="330084" cy="2165762"/>
          </a:xfrm>
        </p:grpSpPr>
        <p:cxnSp>
          <p:nvCxnSpPr>
            <p:cNvPr id="167" name="Düz Ok Bağlayıcısı 166">
              <a:extLst>
                <a:ext uri="{FF2B5EF4-FFF2-40B4-BE49-F238E27FC236}">
                  <a16:creationId xmlns:a16="http://schemas.microsoft.com/office/drawing/2014/main" id="{DC028D91-61DA-79E8-3CC1-54F63F91A342}"/>
                </a:ext>
              </a:extLst>
            </p:cNvPr>
            <p:cNvCxnSpPr>
              <a:cxnSpLocks/>
            </p:cNvCxnSpPr>
            <p:nvPr/>
          </p:nvCxnSpPr>
          <p:spPr>
            <a:xfrm flipV="1">
              <a:off x="697390" y="4512602"/>
              <a:ext cx="309453" cy="1110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73" name="Düz Bağlayıcı 172">
              <a:extLst>
                <a:ext uri="{FF2B5EF4-FFF2-40B4-BE49-F238E27FC236}">
                  <a16:creationId xmlns:a16="http://schemas.microsoft.com/office/drawing/2014/main" id="{FC2D821C-9E02-703E-6242-38C7DE15FEEE}"/>
                </a:ext>
              </a:extLst>
            </p:cNvPr>
            <p:cNvCxnSpPr>
              <a:cxnSpLocks/>
            </p:cNvCxnSpPr>
            <p:nvPr/>
          </p:nvCxnSpPr>
          <p:spPr bwMode="auto">
            <a:xfrm flipH="1">
              <a:off x="695803" y="2364293"/>
              <a:ext cx="1587" cy="216576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74" name="Düz Ok Bağlayıcısı 173">
              <a:extLst>
                <a:ext uri="{FF2B5EF4-FFF2-40B4-BE49-F238E27FC236}">
                  <a16:creationId xmlns:a16="http://schemas.microsoft.com/office/drawing/2014/main" id="{6C36A7AD-2996-5E68-E18B-37FD443DEF56}"/>
                </a:ext>
              </a:extLst>
            </p:cNvPr>
            <p:cNvCxnSpPr>
              <a:cxnSpLocks/>
            </p:cNvCxnSpPr>
            <p:nvPr/>
          </p:nvCxnSpPr>
          <p:spPr>
            <a:xfrm flipV="1">
              <a:off x="713260" y="3876360"/>
              <a:ext cx="303105"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75" name="Düz Ok Bağlayıcısı 174">
              <a:extLst>
                <a:ext uri="{FF2B5EF4-FFF2-40B4-BE49-F238E27FC236}">
                  <a16:creationId xmlns:a16="http://schemas.microsoft.com/office/drawing/2014/main" id="{54CF149F-F143-A16E-194C-0BB768A1628E}"/>
                </a:ext>
              </a:extLst>
            </p:cNvPr>
            <p:cNvCxnSpPr>
              <a:cxnSpLocks/>
            </p:cNvCxnSpPr>
            <p:nvPr/>
          </p:nvCxnSpPr>
          <p:spPr>
            <a:xfrm flipV="1">
              <a:off x="703738" y="3235357"/>
              <a:ext cx="303105" cy="158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76" name="Düz Bağlayıcı 175">
              <a:extLst>
                <a:ext uri="{FF2B5EF4-FFF2-40B4-BE49-F238E27FC236}">
                  <a16:creationId xmlns:a16="http://schemas.microsoft.com/office/drawing/2014/main" id="{4087B9ED-E6AD-AB43-AC88-AA86BEFC4784}"/>
                </a:ext>
              </a:extLst>
            </p:cNvPr>
            <p:cNvCxnSpPr>
              <a:cxnSpLocks/>
              <a:endCxn id="148" idx="1"/>
            </p:cNvCxnSpPr>
            <p:nvPr/>
          </p:nvCxnSpPr>
          <p:spPr bwMode="auto">
            <a:xfrm flipV="1">
              <a:off x="686281" y="2364293"/>
              <a:ext cx="309454" cy="6347"/>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30737" name="Grup 28720">
            <a:extLst>
              <a:ext uri="{FF2B5EF4-FFF2-40B4-BE49-F238E27FC236}">
                <a16:creationId xmlns:a16="http://schemas.microsoft.com/office/drawing/2014/main" id="{A8A6F97F-91B8-A7AA-C885-58A64E22816E}"/>
              </a:ext>
            </a:extLst>
          </p:cNvPr>
          <p:cNvGrpSpPr>
            <a:grpSpLocks/>
          </p:cNvGrpSpPr>
          <p:nvPr/>
        </p:nvGrpSpPr>
        <p:grpSpPr bwMode="auto">
          <a:xfrm>
            <a:off x="10947400" y="2266950"/>
            <a:ext cx="363538" cy="2595563"/>
            <a:chOff x="10947979" y="2267519"/>
            <a:chExt cx="363523" cy="2594939"/>
          </a:xfrm>
        </p:grpSpPr>
        <p:cxnSp>
          <p:nvCxnSpPr>
            <p:cNvPr id="171" name="Düz Bağlayıcı 170">
              <a:extLst>
                <a:ext uri="{FF2B5EF4-FFF2-40B4-BE49-F238E27FC236}">
                  <a16:creationId xmlns:a16="http://schemas.microsoft.com/office/drawing/2014/main" id="{207E0629-74B7-768B-1303-F565AF960E03}"/>
                </a:ext>
              </a:extLst>
            </p:cNvPr>
            <p:cNvCxnSpPr>
              <a:cxnSpLocks/>
            </p:cNvCxnSpPr>
            <p:nvPr/>
          </p:nvCxnSpPr>
          <p:spPr bwMode="auto">
            <a:xfrm>
              <a:off x="11274991" y="2267519"/>
              <a:ext cx="17462" cy="258859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87" name="Düz Ok Bağlayıcısı 186">
              <a:extLst>
                <a:ext uri="{FF2B5EF4-FFF2-40B4-BE49-F238E27FC236}">
                  <a16:creationId xmlns:a16="http://schemas.microsoft.com/office/drawing/2014/main" id="{403F69CF-36B4-31B9-66D1-9746E6309BF9}"/>
                </a:ext>
              </a:extLst>
            </p:cNvPr>
            <p:cNvCxnSpPr>
              <a:cxnSpLocks/>
            </p:cNvCxnSpPr>
            <p:nvPr/>
          </p:nvCxnSpPr>
          <p:spPr>
            <a:xfrm flipH="1">
              <a:off x="10947979" y="3080124"/>
              <a:ext cx="334949"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97" name="Düz Ok Bağlayıcısı 196">
              <a:extLst>
                <a:ext uri="{FF2B5EF4-FFF2-40B4-BE49-F238E27FC236}">
                  <a16:creationId xmlns:a16="http://schemas.microsoft.com/office/drawing/2014/main" id="{A79E9163-41E8-94D6-21A9-7C02F42D1304}"/>
                </a:ext>
              </a:extLst>
            </p:cNvPr>
            <p:cNvCxnSpPr>
              <a:cxnSpLocks/>
            </p:cNvCxnSpPr>
            <p:nvPr/>
          </p:nvCxnSpPr>
          <p:spPr>
            <a:xfrm flipH="1">
              <a:off x="10965441" y="3651486"/>
              <a:ext cx="336536"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98" name="Düz Ok Bağlayıcısı 197">
              <a:extLst>
                <a:ext uri="{FF2B5EF4-FFF2-40B4-BE49-F238E27FC236}">
                  <a16:creationId xmlns:a16="http://schemas.microsoft.com/office/drawing/2014/main" id="{3FB1D8F8-7F47-76F9-BC17-3D4BD16FF2F8}"/>
                </a:ext>
              </a:extLst>
            </p:cNvPr>
            <p:cNvCxnSpPr>
              <a:cxnSpLocks/>
            </p:cNvCxnSpPr>
            <p:nvPr/>
          </p:nvCxnSpPr>
          <p:spPr>
            <a:xfrm flipH="1">
              <a:off x="10976553" y="4291095"/>
              <a:ext cx="334949"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99" name="Düz Ok Bağlayıcısı 198">
              <a:extLst>
                <a:ext uri="{FF2B5EF4-FFF2-40B4-BE49-F238E27FC236}">
                  <a16:creationId xmlns:a16="http://schemas.microsoft.com/office/drawing/2014/main" id="{9CC0CAC6-A748-0781-31F5-7E680D6BFF36}"/>
                </a:ext>
              </a:extLst>
            </p:cNvPr>
            <p:cNvCxnSpPr>
              <a:cxnSpLocks/>
            </p:cNvCxnSpPr>
            <p:nvPr/>
          </p:nvCxnSpPr>
          <p:spPr>
            <a:xfrm flipH="1">
              <a:off x="10960678" y="4862458"/>
              <a:ext cx="334949"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grpSp>
        <p:nvGrpSpPr>
          <p:cNvPr id="30738" name="Grup 28724">
            <a:extLst>
              <a:ext uri="{FF2B5EF4-FFF2-40B4-BE49-F238E27FC236}">
                <a16:creationId xmlns:a16="http://schemas.microsoft.com/office/drawing/2014/main" id="{79CE34A8-BE1A-C390-FE6C-43CBDF3C028C}"/>
              </a:ext>
            </a:extLst>
          </p:cNvPr>
          <p:cNvGrpSpPr>
            <a:grpSpLocks/>
          </p:cNvGrpSpPr>
          <p:nvPr/>
        </p:nvGrpSpPr>
        <p:grpSpPr bwMode="auto">
          <a:xfrm>
            <a:off x="2732088" y="2995613"/>
            <a:ext cx="1500187" cy="1709737"/>
            <a:chOff x="2732318" y="2995075"/>
            <a:chExt cx="1499817" cy="1710275"/>
          </a:xfrm>
        </p:grpSpPr>
        <p:grpSp>
          <p:nvGrpSpPr>
            <p:cNvPr id="30745" name="Grup 103">
              <a:extLst>
                <a:ext uri="{FF2B5EF4-FFF2-40B4-BE49-F238E27FC236}">
                  <a16:creationId xmlns:a16="http://schemas.microsoft.com/office/drawing/2014/main" id="{B2F511F7-7875-2818-DF52-11640F7D2C2F}"/>
                </a:ext>
              </a:extLst>
            </p:cNvPr>
            <p:cNvGrpSpPr>
              <a:grpSpLocks/>
            </p:cNvGrpSpPr>
            <p:nvPr/>
          </p:nvGrpSpPr>
          <p:grpSpPr bwMode="auto">
            <a:xfrm>
              <a:off x="2755106" y="2995075"/>
              <a:ext cx="1477029" cy="458486"/>
              <a:chOff x="369876" y="4948152"/>
              <a:chExt cx="834390" cy="254170"/>
            </a:xfrm>
          </p:grpSpPr>
          <p:sp>
            <p:nvSpPr>
              <p:cNvPr id="214" name="Dikdörtgen 213">
                <a:extLst>
                  <a:ext uri="{FF2B5EF4-FFF2-40B4-BE49-F238E27FC236}">
                    <a16:creationId xmlns:a16="http://schemas.microsoft.com/office/drawing/2014/main" id="{FBF000AF-6A0D-3D54-A01E-B132BCF001A0}"/>
                  </a:ext>
                </a:extLst>
              </p:cNvPr>
              <p:cNvSpPr/>
              <p:nvPr/>
            </p:nvSpPr>
            <p:spPr>
              <a:xfrm>
                <a:off x="369555" y="4948152"/>
                <a:ext cx="834711" cy="254417"/>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5" name="Dikdörtgen 214">
                <a:extLst>
                  <a:ext uri="{FF2B5EF4-FFF2-40B4-BE49-F238E27FC236}">
                    <a16:creationId xmlns:a16="http://schemas.microsoft.com/office/drawing/2014/main" id="{C6CF99C4-1095-369B-F5DC-8C48B4EE2EE0}"/>
                  </a:ext>
                </a:extLst>
              </p:cNvPr>
              <p:cNvSpPr/>
              <p:nvPr/>
            </p:nvSpPr>
            <p:spPr>
              <a:xfrm>
                <a:off x="405418" y="4986006"/>
                <a:ext cx="796159" cy="199837"/>
              </a:xfrm>
              <a:prstGeom prst="rect">
                <a:avLst/>
              </a:prstGeom>
            </p:spPr>
            <p:style>
              <a:lnRef idx="0">
                <a:scrgbClr r="0" g="0" b="0"/>
              </a:lnRef>
              <a:fillRef idx="0">
                <a:scrgbClr r="0" g="0" b="0"/>
              </a:fillRef>
              <a:effectRef idx="0">
                <a:scrgbClr r="0" g="0" b="0"/>
              </a:effectRef>
              <a:fontRef idx="minor">
                <a:schemeClr val="lt1"/>
              </a:fontRef>
            </p:style>
            <p:txBody>
              <a:bodyPr lIns="6350" tIns="6350" rIns="6350" bIns="6350" anchor="ctr"/>
              <a:lstStyle>
                <a:lvl1pPr defTabSz="444500">
                  <a:defRPr>
                    <a:solidFill>
                      <a:schemeClr val="tx1"/>
                    </a:solidFill>
                    <a:latin typeface="Lato Light" panose="020F0502020204030203" pitchFamily="34" charset="0"/>
                  </a:defRPr>
                </a:lvl1pPr>
                <a:lvl2pPr marL="742950" indent="-285750" defTabSz="444500">
                  <a:defRPr>
                    <a:solidFill>
                      <a:schemeClr val="tx1"/>
                    </a:solidFill>
                    <a:latin typeface="Lato Light" panose="020F0502020204030203" pitchFamily="34" charset="0"/>
                  </a:defRPr>
                </a:lvl2pPr>
                <a:lvl3pPr marL="1143000" indent="-228600" defTabSz="444500">
                  <a:defRPr>
                    <a:solidFill>
                      <a:schemeClr val="tx1"/>
                    </a:solidFill>
                    <a:latin typeface="Lato Light" panose="020F0502020204030203" pitchFamily="34" charset="0"/>
                  </a:defRPr>
                </a:lvl3pPr>
                <a:lvl4pPr marL="1600200" indent="-228600" defTabSz="444500">
                  <a:defRPr>
                    <a:solidFill>
                      <a:schemeClr val="tx1"/>
                    </a:solidFill>
                    <a:latin typeface="Lato Light" panose="020F0502020204030203" pitchFamily="34" charset="0"/>
                  </a:defRPr>
                </a:lvl4pPr>
                <a:lvl5pPr marL="2057400" indent="-228600" defTabSz="444500">
                  <a:defRPr>
                    <a:solidFill>
                      <a:schemeClr val="tx1"/>
                    </a:solidFill>
                    <a:latin typeface="Lato Light" panose="020F0502020204030203" pitchFamily="34" charset="0"/>
                  </a:defRPr>
                </a:lvl5pPr>
                <a:lvl6pPr marL="2514600" indent="-228600" defTabSz="444500" eaLnBrk="0" fontAlgn="base" hangingPunct="0">
                  <a:spcBef>
                    <a:spcPct val="0"/>
                  </a:spcBef>
                  <a:spcAft>
                    <a:spcPct val="0"/>
                  </a:spcAft>
                  <a:defRPr>
                    <a:solidFill>
                      <a:schemeClr val="tx1"/>
                    </a:solidFill>
                    <a:latin typeface="Lato Light" panose="020F0502020204030203" pitchFamily="34" charset="0"/>
                  </a:defRPr>
                </a:lvl6pPr>
                <a:lvl7pPr marL="2971800" indent="-228600" defTabSz="444500" eaLnBrk="0" fontAlgn="base" hangingPunct="0">
                  <a:spcBef>
                    <a:spcPct val="0"/>
                  </a:spcBef>
                  <a:spcAft>
                    <a:spcPct val="0"/>
                  </a:spcAft>
                  <a:defRPr>
                    <a:solidFill>
                      <a:schemeClr val="tx1"/>
                    </a:solidFill>
                    <a:latin typeface="Lato Light" panose="020F0502020204030203" pitchFamily="34" charset="0"/>
                  </a:defRPr>
                </a:lvl7pPr>
                <a:lvl8pPr marL="3429000" indent="-228600" defTabSz="444500" eaLnBrk="0" fontAlgn="base" hangingPunct="0">
                  <a:spcBef>
                    <a:spcPct val="0"/>
                  </a:spcBef>
                  <a:spcAft>
                    <a:spcPct val="0"/>
                  </a:spcAft>
                  <a:defRPr>
                    <a:solidFill>
                      <a:schemeClr val="tx1"/>
                    </a:solidFill>
                    <a:latin typeface="Lato Light" panose="020F0502020204030203" pitchFamily="34" charset="0"/>
                  </a:defRPr>
                </a:lvl8pPr>
                <a:lvl9pPr marL="3886200" indent="-228600" defTabSz="444500" eaLnBrk="0" fontAlgn="base" hangingPunct="0">
                  <a:spcBef>
                    <a:spcPct val="0"/>
                  </a:spcBef>
                  <a:spcAft>
                    <a:spcPct val="0"/>
                  </a:spcAft>
                  <a:defRPr>
                    <a:solidFill>
                      <a:schemeClr val="tx1"/>
                    </a:solidFill>
                    <a:latin typeface="Lato Light" panose="020F0502020204030203" pitchFamily="34" charset="0"/>
                  </a:defRPr>
                </a:lvl9pPr>
              </a:lstStyle>
              <a:p>
                <a:pPr eaLnBrk="1" hangingPunct="1">
                  <a:lnSpc>
                    <a:spcPct val="90000"/>
                  </a:lnSpc>
                  <a:spcAft>
                    <a:spcPct val="35000"/>
                  </a:spcAft>
                  <a:defRPr/>
                </a:pPr>
                <a:r>
                  <a:rPr lang="tr-TR" altLang="tr-TR" sz="1200">
                    <a:solidFill>
                      <a:srgbClr val="083E6B"/>
                    </a:solidFill>
                    <a:latin typeface="Open Sans" panose="020B0606030504020204" pitchFamily="34" charset="0"/>
                    <a:cs typeface="Open Sans" panose="020B0606030504020204" pitchFamily="34" charset="0"/>
                  </a:rPr>
                  <a:t>Kentsel Dönüşüm Departmanı</a:t>
                </a:r>
              </a:p>
            </p:txBody>
          </p:sp>
        </p:grpSp>
        <p:grpSp>
          <p:nvGrpSpPr>
            <p:cNvPr id="30746" name="Grup 104">
              <a:extLst>
                <a:ext uri="{FF2B5EF4-FFF2-40B4-BE49-F238E27FC236}">
                  <a16:creationId xmlns:a16="http://schemas.microsoft.com/office/drawing/2014/main" id="{3D942263-052C-1F27-6FBD-2CDF48D2A835}"/>
                </a:ext>
              </a:extLst>
            </p:cNvPr>
            <p:cNvGrpSpPr>
              <a:grpSpLocks/>
            </p:cNvGrpSpPr>
            <p:nvPr/>
          </p:nvGrpSpPr>
          <p:grpSpPr bwMode="auto">
            <a:xfrm>
              <a:off x="2732318" y="3661466"/>
              <a:ext cx="1499817" cy="405716"/>
              <a:chOff x="368483" y="5306182"/>
              <a:chExt cx="1193223" cy="286725"/>
            </a:xfrm>
          </p:grpSpPr>
          <p:sp>
            <p:nvSpPr>
              <p:cNvPr id="217" name="Dikdörtgen 216">
                <a:extLst>
                  <a:ext uri="{FF2B5EF4-FFF2-40B4-BE49-F238E27FC236}">
                    <a16:creationId xmlns:a16="http://schemas.microsoft.com/office/drawing/2014/main" id="{BFF39624-A714-025F-C706-56352619AAA1}"/>
                  </a:ext>
                </a:extLst>
              </p:cNvPr>
              <p:cNvSpPr/>
              <p:nvPr/>
            </p:nvSpPr>
            <p:spPr>
              <a:xfrm>
                <a:off x="368483" y="5306584"/>
                <a:ext cx="1193223" cy="286176"/>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8" name="Dikdörtgen 217">
                <a:extLst>
                  <a:ext uri="{FF2B5EF4-FFF2-40B4-BE49-F238E27FC236}">
                    <a16:creationId xmlns:a16="http://schemas.microsoft.com/office/drawing/2014/main" id="{1DEBA616-B165-7A99-BCD3-400AB46087F9}"/>
                  </a:ext>
                </a:extLst>
              </p:cNvPr>
              <p:cNvSpPr/>
              <p:nvPr/>
            </p:nvSpPr>
            <p:spPr>
              <a:xfrm>
                <a:off x="441718" y="5320051"/>
                <a:ext cx="1099785" cy="253631"/>
              </a:xfrm>
              <a:prstGeom prst="rect">
                <a:avLst/>
              </a:prstGeom>
            </p:spPr>
            <p:style>
              <a:lnRef idx="0">
                <a:scrgbClr r="0" g="0" b="0"/>
              </a:lnRef>
              <a:fillRef idx="0">
                <a:scrgbClr r="0" g="0" b="0"/>
              </a:fillRef>
              <a:effectRef idx="0">
                <a:scrgbClr r="0" g="0" b="0"/>
              </a:effectRef>
              <a:fontRef idx="minor">
                <a:schemeClr val="lt1"/>
              </a:fontRef>
            </p:style>
            <p:txBody>
              <a:bodyPr lIns="6350" tIns="6350" rIns="6350" bIns="6350" anchor="ctr"/>
              <a:lstStyle>
                <a:lvl1pPr defTabSz="444500">
                  <a:defRPr>
                    <a:solidFill>
                      <a:schemeClr val="tx1"/>
                    </a:solidFill>
                    <a:latin typeface="Lato Light" panose="020F0502020204030203" pitchFamily="34" charset="0"/>
                  </a:defRPr>
                </a:lvl1pPr>
                <a:lvl2pPr marL="742950" indent="-285750" defTabSz="444500">
                  <a:defRPr>
                    <a:solidFill>
                      <a:schemeClr val="tx1"/>
                    </a:solidFill>
                    <a:latin typeface="Lato Light" panose="020F0502020204030203" pitchFamily="34" charset="0"/>
                  </a:defRPr>
                </a:lvl2pPr>
                <a:lvl3pPr marL="1143000" indent="-228600" defTabSz="444500">
                  <a:defRPr>
                    <a:solidFill>
                      <a:schemeClr val="tx1"/>
                    </a:solidFill>
                    <a:latin typeface="Lato Light" panose="020F0502020204030203" pitchFamily="34" charset="0"/>
                  </a:defRPr>
                </a:lvl3pPr>
                <a:lvl4pPr marL="1600200" indent="-228600" defTabSz="444500">
                  <a:defRPr>
                    <a:solidFill>
                      <a:schemeClr val="tx1"/>
                    </a:solidFill>
                    <a:latin typeface="Lato Light" panose="020F0502020204030203" pitchFamily="34" charset="0"/>
                  </a:defRPr>
                </a:lvl4pPr>
                <a:lvl5pPr marL="2057400" indent="-228600" defTabSz="444500">
                  <a:defRPr>
                    <a:solidFill>
                      <a:schemeClr val="tx1"/>
                    </a:solidFill>
                    <a:latin typeface="Lato Light" panose="020F0502020204030203" pitchFamily="34" charset="0"/>
                  </a:defRPr>
                </a:lvl5pPr>
                <a:lvl6pPr marL="2514600" indent="-228600" defTabSz="444500" eaLnBrk="0" fontAlgn="base" hangingPunct="0">
                  <a:spcBef>
                    <a:spcPct val="0"/>
                  </a:spcBef>
                  <a:spcAft>
                    <a:spcPct val="0"/>
                  </a:spcAft>
                  <a:defRPr>
                    <a:solidFill>
                      <a:schemeClr val="tx1"/>
                    </a:solidFill>
                    <a:latin typeface="Lato Light" panose="020F0502020204030203" pitchFamily="34" charset="0"/>
                  </a:defRPr>
                </a:lvl6pPr>
                <a:lvl7pPr marL="2971800" indent="-228600" defTabSz="444500" eaLnBrk="0" fontAlgn="base" hangingPunct="0">
                  <a:spcBef>
                    <a:spcPct val="0"/>
                  </a:spcBef>
                  <a:spcAft>
                    <a:spcPct val="0"/>
                  </a:spcAft>
                  <a:defRPr>
                    <a:solidFill>
                      <a:schemeClr val="tx1"/>
                    </a:solidFill>
                    <a:latin typeface="Lato Light" panose="020F0502020204030203" pitchFamily="34" charset="0"/>
                  </a:defRPr>
                </a:lvl7pPr>
                <a:lvl8pPr marL="3429000" indent="-228600" defTabSz="444500" eaLnBrk="0" fontAlgn="base" hangingPunct="0">
                  <a:spcBef>
                    <a:spcPct val="0"/>
                  </a:spcBef>
                  <a:spcAft>
                    <a:spcPct val="0"/>
                  </a:spcAft>
                  <a:defRPr>
                    <a:solidFill>
                      <a:schemeClr val="tx1"/>
                    </a:solidFill>
                    <a:latin typeface="Lato Light" panose="020F0502020204030203" pitchFamily="34" charset="0"/>
                  </a:defRPr>
                </a:lvl8pPr>
                <a:lvl9pPr marL="3886200" indent="-228600" defTabSz="444500" eaLnBrk="0" fontAlgn="base" hangingPunct="0">
                  <a:spcBef>
                    <a:spcPct val="0"/>
                  </a:spcBef>
                  <a:spcAft>
                    <a:spcPct val="0"/>
                  </a:spcAft>
                  <a:defRPr>
                    <a:solidFill>
                      <a:schemeClr val="tx1"/>
                    </a:solidFill>
                    <a:latin typeface="Lato Light" panose="020F0502020204030203" pitchFamily="34" charset="0"/>
                  </a:defRPr>
                </a:lvl9pPr>
              </a:lstStyle>
              <a:p>
                <a:pPr eaLnBrk="1" hangingPunct="1">
                  <a:lnSpc>
                    <a:spcPct val="90000"/>
                  </a:lnSpc>
                  <a:spcAft>
                    <a:spcPct val="35000"/>
                  </a:spcAft>
                  <a:defRPr/>
                </a:pPr>
                <a:r>
                  <a:rPr lang="tr-TR" altLang="tr-TR" sz="1200">
                    <a:solidFill>
                      <a:srgbClr val="083E6B"/>
                    </a:solidFill>
                    <a:latin typeface="Open Sans" panose="020B0606030504020204" pitchFamily="34" charset="0"/>
                    <a:cs typeface="Open Sans" panose="020B0606030504020204" pitchFamily="34" charset="0"/>
                  </a:rPr>
                  <a:t>Makine ve Teçhizat Departmanı</a:t>
                </a:r>
              </a:p>
            </p:txBody>
          </p:sp>
        </p:grpSp>
        <p:grpSp>
          <p:nvGrpSpPr>
            <p:cNvPr id="30747" name="Grup 104">
              <a:extLst>
                <a:ext uri="{FF2B5EF4-FFF2-40B4-BE49-F238E27FC236}">
                  <a16:creationId xmlns:a16="http://schemas.microsoft.com/office/drawing/2014/main" id="{B5564E22-CD46-EB5D-D243-7CF77EE9970D}"/>
                </a:ext>
              </a:extLst>
            </p:cNvPr>
            <p:cNvGrpSpPr>
              <a:grpSpLocks/>
            </p:cNvGrpSpPr>
            <p:nvPr/>
          </p:nvGrpSpPr>
          <p:grpSpPr bwMode="auto">
            <a:xfrm>
              <a:off x="2743003" y="4299634"/>
              <a:ext cx="1483669" cy="405716"/>
              <a:chOff x="368482" y="5306182"/>
              <a:chExt cx="1345960" cy="286725"/>
            </a:xfrm>
          </p:grpSpPr>
          <p:sp>
            <p:nvSpPr>
              <p:cNvPr id="220" name="Dikdörtgen 219">
                <a:extLst>
                  <a:ext uri="{FF2B5EF4-FFF2-40B4-BE49-F238E27FC236}">
                    <a16:creationId xmlns:a16="http://schemas.microsoft.com/office/drawing/2014/main" id="{B498787C-A3DA-16A7-D7FF-07A22D5EA211}"/>
                  </a:ext>
                </a:extLst>
              </p:cNvPr>
              <p:cNvSpPr/>
              <p:nvPr/>
            </p:nvSpPr>
            <p:spPr>
              <a:xfrm>
                <a:off x="368867" y="5306731"/>
                <a:ext cx="1346212" cy="286176"/>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21" name="Dikdörtgen 220">
                <a:extLst>
                  <a:ext uri="{FF2B5EF4-FFF2-40B4-BE49-F238E27FC236}">
                    <a16:creationId xmlns:a16="http://schemas.microsoft.com/office/drawing/2014/main" id="{DD3A56F9-E0AA-C905-9DE8-634BAFC71938}"/>
                  </a:ext>
                </a:extLst>
              </p:cNvPr>
              <p:cNvSpPr/>
              <p:nvPr/>
            </p:nvSpPr>
            <p:spPr>
              <a:xfrm>
                <a:off x="442297" y="5320198"/>
                <a:ext cx="1012178" cy="253631"/>
              </a:xfrm>
              <a:prstGeom prst="rect">
                <a:avLst/>
              </a:prstGeom>
            </p:spPr>
            <p:style>
              <a:lnRef idx="0">
                <a:scrgbClr r="0" g="0" b="0"/>
              </a:lnRef>
              <a:fillRef idx="0">
                <a:scrgbClr r="0" g="0" b="0"/>
              </a:fillRef>
              <a:effectRef idx="0">
                <a:scrgbClr r="0" g="0" b="0"/>
              </a:effectRef>
              <a:fontRef idx="minor">
                <a:schemeClr val="lt1"/>
              </a:fontRef>
            </p:style>
            <p:txBody>
              <a:bodyPr lIns="6350" tIns="6350" rIns="6350" bIns="6350" spcCol="1270" anchor="ctr"/>
              <a:lstStyle/>
              <a:p>
                <a:pPr defTabSz="444500" eaLnBrk="1" fontAlgn="auto" hangingPunct="1">
                  <a:lnSpc>
                    <a:spcPct val="90000"/>
                  </a:lnSpc>
                  <a:spcAft>
                    <a:spcPct val="35000"/>
                  </a:spcAft>
                  <a:defRPr/>
                </a:pPr>
                <a:r>
                  <a:rPr lang="tr-TR" sz="120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Özel Projeler</a:t>
                </a:r>
              </a:p>
            </p:txBody>
          </p:sp>
        </p:grpSp>
      </p:grpSp>
      <p:grpSp>
        <p:nvGrpSpPr>
          <p:cNvPr id="30739" name="Grup 28719">
            <a:extLst>
              <a:ext uri="{FF2B5EF4-FFF2-40B4-BE49-F238E27FC236}">
                <a16:creationId xmlns:a16="http://schemas.microsoft.com/office/drawing/2014/main" id="{F5A03B18-75C8-2611-8DF0-080389C51048}"/>
              </a:ext>
            </a:extLst>
          </p:cNvPr>
          <p:cNvGrpSpPr>
            <a:grpSpLocks/>
          </p:cNvGrpSpPr>
          <p:nvPr/>
        </p:nvGrpSpPr>
        <p:grpSpPr bwMode="auto">
          <a:xfrm>
            <a:off x="2606675" y="2363788"/>
            <a:ext cx="147638" cy="2166937"/>
            <a:chOff x="2607075" y="2364293"/>
            <a:chExt cx="148031" cy="2165762"/>
          </a:xfrm>
        </p:grpSpPr>
        <p:cxnSp>
          <p:nvCxnSpPr>
            <p:cNvPr id="233" name="Düz Ok Bağlayıcısı 232">
              <a:extLst>
                <a:ext uri="{FF2B5EF4-FFF2-40B4-BE49-F238E27FC236}">
                  <a16:creationId xmlns:a16="http://schemas.microsoft.com/office/drawing/2014/main" id="{5AE22FDB-87E8-4513-4B53-973ACDBC208F}"/>
                </a:ext>
              </a:extLst>
            </p:cNvPr>
            <p:cNvCxnSpPr>
              <a:cxnSpLocks/>
              <a:endCxn id="220" idx="1"/>
            </p:cNvCxnSpPr>
            <p:nvPr/>
          </p:nvCxnSpPr>
          <p:spPr>
            <a:xfrm flipV="1">
              <a:off x="2608667" y="4503083"/>
              <a:ext cx="133705" cy="2062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34" name="Düz Bağlayıcı 233">
              <a:extLst>
                <a:ext uri="{FF2B5EF4-FFF2-40B4-BE49-F238E27FC236}">
                  <a16:creationId xmlns:a16="http://schemas.microsoft.com/office/drawing/2014/main" id="{69C8EA4A-1B04-D0C5-6B29-AC08B11EF936}"/>
                </a:ext>
              </a:extLst>
            </p:cNvPr>
            <p:cNvCxnSpPr>
              <a:cxnSpLocks/>
            </p:cNvCxnSpPr>
            <p:nvPr/>
          </p:nvCxnSpPr>
          <p:spPr bwMode="auto">
            <a:xfrm flipH="1">
              <a:off x="2607075" y="2364293"/>
              <a:ext cx="1592" cy="216576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5" name="Düz Ok Bağlayıcısı 234">
              <a:extLst>
                <a:ext uri="{FF2B5EF4-FFF2-40B4-BE49-F238E27FC236}">
                  <a16:creationId xmlns:a16="http://schemas.microsoft.com/office/drawing/2014/main" id="{53092E30-AC54-0427-E7D0-63D684A5F778}"/>
                </a:ext>
              </a:extLst>
            </p:cNvPr>
            <p:cNvCxnSpPr>
              <a:cxnSpLocks/>
              <a:endCxn id="217" idx="1"/>
            </p:cNvCxnSpPr>
            <p:nvPr/>
          </p:nvCxnSpPr>
          <p:spPr>
            <a:xfrm flipV="1">
              <a:off x="2624584" y="3863667"/>
              <a:ext cx="108237" cy="1269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36" name="Düz Ok Bağlayıcısı 235">
              <a:extLst>
                <a:ext uri="{FF2B5EF4-FFF2-40B4-BE49-F238E27FC236}">
                  <a16:creationId xmlns:a16="http://schemas.microsoft.com/office/drawing/2014/main" id="{DDB71FEA-42C2-28C7-2B91-DB8E80D86A81}"/>
                </a:ext>
              </a:extLst>
            </p:cNvPr>
            <p:cNvCxnSpPr>
              <a:cxnSpLocks/>
              <a:endCxn id="214" idx="1"/>
            </p:cNvCxnSpPr>
            <p:nvPr/>
          </p:nvCxnSpPr>
          <p:spPr>
            <a:xfrm flipV="1">
              <a:off x="2615034" y="3224251"/>
              <a:ext cx="140072" cy="1269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cxnSp>
        <p:nvCxnSpPr>
          <p:cNvPr id="237" name="Düz Bağlayıcı 236">
            <a:extLst>
              <a:ext uri="{FF2B5EF4-FFF2-40B4-BE49-F238E27FC236}">
                <a16:creationId xmlns:a16="http://schemas.microsoft.com/office/drawing/2014/main" id="{A3245306-211C-7095-EA3B-B97B619AFB2E}"/>
              </a:ext>
            </a:extLst>
          </p:cNvPr>
          <p:cNvCxnSpPr>
            <a:cxnSpLocks/>
            <a:endCxn id="172" idx="1"/>
          </p:cNvCxnSpPr>
          <p:nvPr/>
        </p:nvCxnSpPr>
        <p:spPr bwMode="auto">
          <a:xfrm flipV="1">
            <a:off x="2597150" y="2365375"/>
            <a:ext cx="93663" cy="6350"/>
          </a:xfrm>
          <a:prstGeom prst="line">
            <a:avLst/>
          </a:prstGeom>
          <a:ln w="19050"/>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advTm="5000">
        <p159:morph option="byObject"/>
      </p:transition>
    </mc:Choice>
    <mc:Fallback xmlns="">
      <p:transition spd="slow" advTm="5000">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AlTxAudFkSzo99jhzeUJQ"/>
</p:tagLst>
</file>

<file path=ppt/theme/theme1.xml><?xml version="1.0" encoding="utf-8"?>
<a:theme xmlns:a="http://schemas.openxmlformats.org/drawingml/2006/main" name="Mazano - Light">
  <a:themeElements>
    <a:clrScheme name="3_color candy">
      <a:dk1>
        <a:sysClr val="windowText" lastClr="000000"/>
      </a:dk1>
      <a:lt1>
        <a:sysClr val="window" lastClr="FFFFFF"/>
      </a:lt1>
      <a:dk2>
        <a:srgbClr val="2D3847"/>
      </a:dk2>
      <a:lt2>
        <a:srgbClr val="E7E6E6"/>
      </a:lt2>
      <a:accent1>
        <a:srgbClr val="4BD1FB"/>
      </a:accent1>
      <a:accent2>
        <a:srgbClr val="107CD6"/>
      </a:accent2>
      <a:accent3>
        <a:srgbClr val="AA1BE3"/>
      </a:accent3>
      <a:accent4>
        <a:srgbClr val="E717CE"/>
      </a:accent4>
      <a:accent5>
        <a:srgbClr val="F94994"/>
      </a:accent5>
      <a:accent6>
        <a:srgbClr val="FB85B8"/>
      </a:accent6>
      <a:hlink>
        <a:srgbClr val="0563C1"/>
      </a:hlink>
      <a:folHlink>
        <a:srgbClr val="954F72"/>
      </a:folHlink>
    </a:clrScheme>
    <a:fontScheme name="Lato">
      <a:majorFont>
        <a:latin typeface="Lato Regular"/>
        <a:ea typeface=""/>
        <a:cs typeface=""/>
      </a:majorFont>
      <a:minorFont>
        <a:latin typeface="La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Vizyon-Sunum-2017 (2)" id="{2B66ACE1-937C-45B7-92D4-A86B65A08ABE}" vid="{2E8B9357-3949-436E-9C6F-890448F1CBC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Vizyon-Sunum-2021SON</Template>
  <TotalTime>14880</TotalTime>
  <Words>1035</Words>
  <Application>Microsoft Office PowerPoint</Application>
  <PresentationFormat>Geniş ekran</PresentationFormat>
  <Paragraphs>227</Paragraphs>
  <Slides>20</Slides>
  <Notes>3</Notes>
  <HiddenSlides>0</HiddenSlides>
  <MMClips>1</MMClips>
  <ScaleCrop>false</ScaleCrop>
  <HeadingPairs>
    <vt:vector size="6" baseType="variant">
      <vt:variant>
        <vt:lpstr>Kullanılan Yazı Tipleri</vt:lpstr>
      </vt:variant>
      <vt:variant>
        <vt:i4>5</vt:i4>
      </vt:variant>
      <vt:variant>
        <vt:lpstr>Tema</vt:lpstr>
      </vt:variant>
      <vt:variant>
        <vt:i4>1</vt:i4>
      </vt:variant>
      <vt:variant>
        <vt:lpstr>Slayt Başlıkları</vt:lpstr>
      </vt:variant>
      <vt:variant>
        <vt:i4>20</vt:i4>
      </vt:variant>
    </vt:vector>
  </HeadingPairs>
  <TitlesOfParts>
    <vt:vector size="26" baseType="lpstr">
      <vt:lpstr>Arial</vt:lpstr>
      <vt:lpstr>Calibri</vt:lpstr>
      <vt:lpstr>Lato Light</vt:lpstr>
      <vt:lpstr>Lato Regular</vt:lpstr>
      <vt:lpstr>Open Sans</vt:lpstr>
      <vt:lpstr>Mazano - Light</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vector>
  </TitlesOfParts>
  <Company>NouS/TncT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Sunusu</dc:title>
  <dc:creator>ZEKI</dc:creator>
  <cp:lastModifiedBy>Sedat Sıtkı</cp:lastModifiedBy>
  <cp:revision>57</cp:revision>
  <dcterms:created xsi:type="dcterms:W3CDTF">2021-05-04T22:45:35Z</dcterms:created>
  <dcterms:modified xsi:type="dcterms:W3CDTF">2025-10-23T15:46:50Z</dcterms:modified>
</cp:coreProperties>
</file>